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7.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8.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2.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3.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4.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6.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7.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8.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9.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1.xml" ContentType="application/vnd.openxmlformats-officedocument.presentationml.notesSlide+xml"/>
  <Override PartName="/ppt/tags/tag1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5"/>
    <p:sldMasterId id="2147483668" r:id="rId6"/>
    <p:sldMasterId id="2147483686" r:id="rId7"/>
    <p:sldMasterId id="2147483710" r:id="rId8"/>
    <p:sldMasterId id="2147483729" r:id="rId9"/>
    <p:sldMasterId id="2147483747" r:id="rId10"/>
    <p:sldMasterId id="2147483786" r:id="rId11"/>
    <p:sldMasterId id="2147483804" r:id="rId12"/>
    <p:sldMasterId id="2147483826" r:id="rId13"/>
    <p:sldMasterId id="2147483871" r:id="rId14"/>
    <p:sldMasterId id="2147483893" r:id="rId15"/>
    <p:sldMasterId id="2147483897" r:id="rId16"/>
    <p:sldMasterId id="2147483916" r:id="rId17"/>
    <p:sldMasterId id="2147483937" r:id="rId18"/>
    <p:sldMasterId id="2147483956" r:id="rId19"/>
    <p:sldMasterId id="2147483976" r:id="rId20"/>
    <p:sldMasterId id="2147483983" r:id="rId21"/>
    <p:sldMasterId id="2147484019" r:id="rId22"/>
    <p:sldMasterId id="2147484037" r:id="rId23"/>
    <p:sldMasterId id="2147484050" r:id="rId24"/>
  </p:sldMasterIdLst>
  <p:notesMasterIdLst>
    <p:notesMasterId r:id="rId66"/>
  </p:notesMasterIdLst>
  <p:handoutMasterIdLst>
    <p:handoutMasterId r:id="rId67"/>
  </p:handoutMasterIdLst>
  <p:sldIdLst>
    <p:sldId id="1831" r:id="rId25"/>
    <p:sldId id="2115" r:id="rId26"/>
    <p:sldId id="2064" r:id="rId27"/>
    <p:sldId id="2066" r:id="rId28"/>
    <p:sldId id="2087" r:id="rId29"/>
    <p:sldId id="2088" r:id="rId30"/>
    <p:sldId id="2089" r:id="rId31"/>
    <p:sldId id="2073" r:id="rId32"/>
    <p:sldId id="2051" r:id="rId33"/>
    <p:sldId id="1933" r:id="rId34"/>
    <p:sldId id="1934" r:id="rId35"/>
    <p:sldId id="2041" r:id="rId36"/>
    <p:sldId id="2095" r:id="rId37"/>
    <p:sldId id="2109" r:id="rId38"/>
    <p:sldId id="1840" r:id="rId39"/>
    <p:sldId id="2082" r:id="rId40"/>
    <p:sldId id="2084" r:id="rId41"/>
    <p:sldId id="1842" r:id="rId42"/>
    <p:sldId id="1898" r:id="rId43"/>
    <p:sldId id="1986" r:id="rId44"/>
    <p:sldId id="2114" r:id="rId45"/>
    <p:sldId id="2104" r:id="rId46"/>
    <p:sldId id="2056" r:id="rId47"/>
    <p:sldId id="2110" r:id="rId48"/>
    <p:sldId id="2105" r:id="rId49"/>
    <p:sldId id="2106" r:id="rId50"/>
    <p:sldId id="1844" r:id="rId51"/>
    <p:sldId id="2102" r:id="rId52"/>
    <p:sldId id="1991" r:id="rId53"/>
    <p:sldId id="2103" r:id="rId54"/>
    <p:sldId id="1958" r:id="rId55"/>
    <p:sldId id="1959" r:id="rId56"/>
    <p:sldId id="1847" r:id="rId57"/>
    <p:sldId id="2113" r:id="rId58"/>
    <p:sldId id="2108" r:id="rId59"/>
    <p:sldId id="2100" r:id="rId60"/>
    <p:sldId id="2081" r:id="rId61"/>
    <p:sldId id="2107" r:id="rId62"/>
    <p:sldId id="2072" r:id="rId63"/>
    <p:sldId id="2094" r:id="rId64"/>
    <p:sldId id="1976" r:id="rId65"/>
  </p:sldIdLst>
  <p:sldSz cx="12436475" cy="6994525"/>
  <p:notesSz cx="6858000" cy="9144000"/>
  <p:defaultTex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D99F2E94-C2EB-43A6-AF87-39C32079F514}">
          <p14:sldIdLst>
            <p14:sldId id="1831"/>
            <p14:sldId id="2115"/>
            <p14:sldId id="2064"/>
            <p14:sldId id="2066"/>
            <p14:sldId id="2087"/>
            <p14:sldId id="2088"/>
            <p14:sldId id="2089"/>
            <p14:sldId id="2073"/>
            <p14:sldId id="2051"/>
            <p14:sldId id="1933"/>
            <p14:sldId id="1934"/>
            <p14:sldId id="2041"/>
            <p14:sldId id="2095"/>
            <p14:sldId id="2109"/>
          </p14:sldIdLst>
        </p14:section>
        <p14:section name="Entrance port" id="{00E1D59D-B133-4AD7-8E52-6EB1CA55BE78}">
          <p14:sldIdLst>
            <p14:sldId id="1840"/>
            <p14:sldId id="2082"/>
            <p14:sldId id="2084"/>
            <p14:sldId id="1842"/>
            <p14:sldId id="1898"/>
            <p14:sldId id="1986"/>
            <p14:sldId id="2114"/>
            <p14:sldId id="2104"/>
            <p14:sldId id="2056"/>
            <p14:sldId id="2110"/>
            <p14:sldId id="2105"/>
            <p14:sldId id="2106"/>
            <p14:sldId id="1844"/>
            <p14:sldId id="2102"/>
            <p14:sldId id="1991"/>
            <p14:sldId id="2103"/>
            <p14:sldId id="1958"/>
            <p14:sldId id="1959"/>
            <p14:sldId id="1847"/>
            <p14:sldId id="2113"/>
            <p14:sldId id="2108"/>
            <p14:sldId id="2100"/>
            <p14:sldId id="2081"/>
            <p14:sldId id="2107"/>
            <p14:sldId id="2072"/>
            <p14:sldId id="2094"/>
            <p14:sldId id="1976"/>
          </p14:sldIdLst>
        </p14:section>
      </p14:sectionLst>
    </p:ext>
    <p:ext uri="{EFAFB233-063F-42B5-8137-9DF3F51BA10A}">
      <p15:sldGuideLst xmlns:p15="http://schemas.microsoft.com/office/powerpoint/2012/main">
        <p15:guide id="1" orient="horz" pos="2202">
          <p15:clr>
            <a:srgbClr val="A4A3A4"/>
          </p15:clr>
        </p15:guide>
        <p15:guide id="2" pos="3937">
          <p15:clr>
            <a:srgbClr val="A4A3A4"/>
          </p15:clr>
        </p15:guide>
      </p15:sldGuideLst>
    </p:ext>
    <p:ext uri="{2D200454-40CA-4A62-9FC3-DE9A4176ACB9}">
      <p15:notesGuideLst xmlns:p15="http://schemas.microsoft.com/office/powerpoint/2012/main">
        <p15:guide id="1" orient="horz" pos="2879">
          <p15:clr>
            <a:srgbClr val="A4A3A4"/>
          </p15:clr>
        </p15:guide>
        <p15:guide id="2" pos="217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4" name="Mitchell Derrey" initials="MD" lastIdx="8" clrIdx="4"/>
</p:cmAuthorLst>
</file>

<file path=ppt/presProps.xml><?xml version="1.0" encoding="utf-8"?>
<p:presentationPr xmlns:a="http://schemas.openxmlformats.org/drawingml/2006/main" xmlns:r="http://schemas.openxmlformats.org/officeDocument/2006/relationships" xmlns:p="http://schemas.openxmlformats.org/presentationml/2006/main">
  <p:showPr loop="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A2F32"/>
    <a:srgbClr val="DDDDDD"/>
    <a:srgbClr val="D6D7DB"/>
    <a:srgbClr val="252525"/>
    <a:srgbClr val="2D3235"/>
    <a:srgbClr val="1A283F"/>
    <a:srgbClr val="1E3250"/>
    <a:srgbClr val="000000"/>
    <a:srgbClr val="EADFE9"/>
    <a:srgbClr val="4249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6" autoAdjust="0"/>
    <p:restoredTop sz="93963" autoAdjust="0"/>
  </p:normalViewPr>
  <p:slideViewPr>
    <p:cSldViewPr>
      <p:cViewPr varScale="1">
        <p:scale>
          <a:sx n="86" d="100"/>
          <a:sy n="86" d="100"/>
        </p:scale>
        <p:origin x="288" y="77"/>
      </p:cViewPr>
      <p:guideLst>
        <p:guide orient="horz" pos="2202"/>
        <p:guide pos="3937"/>
      </p:guideLst>
    </p:cSldViewPr>
  </p:slideViewPr>
  <p:outlineViewPr>
    <p:cViewPr>
      <p:scale>
        <a:sx n="33" d="100"/>
        <a:sy n="33" d="100"/>
      </p:scale>
      <p:origin x="0" y="-62394"/>
    </p:cViewPr>
  </p:outlineViewPr>
  <p:notesTextViewPr>
    <p:cViewPr>
      <p:scale>
        <a:sx n="3" d="2"/>
        <a:sy n="3" d="2"/>
      </p:scale>
      <p:origin x="0" y="0"/>
    </p:cViewPr>
  </p:notesTextViewPr>
  <p:sorterViewPr>
    <p:cViewPr varScale="1">
      <p:scale>
        <a:sx n="1" d="1"/>
        <a:sy n="1" d="1"/>
      </p:scale>
      <p:origin x="0" y="2652"/>
    </p:cViewPr>
  </p:sorterViewPr>
  <p:notesViewPr>
    <p:cSldViewPr showGuides="1">
      <p:cViewPr varScale="1">
        <p:scale>
          <a:sx n="81" d="100"/>
          <a:sy n="81" d="100"/>
        </p:scale>
        <p:origin x="3042" y="84"/>
      </p:cViewPr>
      <p:guideLst>
        <p:guide orient="horz" pos="2879"/>
        <p:guide pos="2171"/>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21" Type="http://schemas.openxmlformats.org/officeDocument/2006/relationships/slideMaster" Target="slideMasters/slideMaster17.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commentAuthors" Target="commentAuthors.xml"/><Relationship Id="rId7" Type="http://schemas.openxmlformats.org/officeDocument/2006/relationships/slideMaster" Target="slideMasters/slideMaster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5.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notesMaster" Target="notesMasters/notesMaster1.xml"/><Relationship Id="rId5" Type="http://schemas.openxmlformats.org/officeDocument/2006/relationships/slideMaster" Target="slideMasters/slideMaster1.xml"/><Relationship Id="rId61" Type="http://schemas.openxmlformats.org/officeDocument/2006/relationships/slide" Target="slides/slide37.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slide" Target="slides/slide2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handoutMaster" Target="handoutMasters/handoutMaster1.xml"/><Relationship Id="rId20" Type="http://schemas.openxmlformats.org/officeDocument/2006/relationships/slideMaster" Target="slideMasters/slideMaster16.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6.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anose="020B0502040204020203" pitchFamily="34" charset="0"/>
              </a:rPr>
              <a:t>Microsoft Build 2017</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anose="020B0502040204020203" pitchFamily="34" charset="0"/>
              </a:rPr>
              <a:t>4/8/2020 9:07 AM</a:t>
            </a:fld>
            <a:endParaRPr lang="en-US" dirty="0">
              <a:latin typeface="Segoe UI" panose="020B0502040204020203"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780" defTabSz="913765" eaLnBrk="0" hangingPunct="0"/>
            <a:r>
              <a:rPr lang="en-US" sz="400" dirty="0">
                <a:gradFill>
                  <a:gsLst>
                    <a:gs pos="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anose="020B0502040204020203" pitchFamily="34" charset="0"/>
              </a:rPr>
              <a:t>‹#›</a:t>
            </a:fld>
            <a:endParaRPr lang="en-US" dirty="0">
              <a:latin typeface="Segoe UI" panose="020B0502040204020203" pitchFamily="34" charset="0"/>
            </a:endParaRPr>
          </a:p>
        </p:txBody>
      </p:sp>
    </p:spTree>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anose="020B0502040204020203" pitchFamily="34" charset="0"/>
              </a:defRPr>
            </a:lvl1pPr>
          </a:lstStyle>
          <a:p>
            <a:r>
              <a:rPr lang="en-US" dirty="0"/>
              <a:t>Microsoft Build 2017</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anose="020B0502040204020203" pitchFamily="34" charset="0"/>
              </a:defRPr>
            </a:lvl1pPr>
          </a:lstStyle>
          <a:p>
            <a:fld id="{D18B56EA-E28F-4F92-9F16-7A6F2501B303}" type="datetime8">
              <a:rPr lang="en-US" smtClean="0"/>
              <a:t>4/8/2020 9:0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anose="020B0502040204020203" pitchFamily="34" charset="0"/>
              </a:defRPr>
            </a:lvl1pPr>
          </a:lstStyle>
          <a:p>
            <a:fld id="{B4008EB6-D09E-4580-8CD6-DDB14511944F}" type="slidenum">
              <a:rPr lang="en-US" smtClean="0"/>
              <a:t>‹#›</a:t>
            </a:fld>
            <a:endParaRPr lang="en-US" dirty="0"/>
          </a:p>
        </p:txBody>
      </p:sp>
    </p:spTree>
  </p:cSld>
  <p:clrMap bg1="lt1" tx1="dk1" bg2="lt2" tx2="dk2" accent1="accent1" accent2="accent2" accent3="accent3" accent4="accent4" accent5="accent5" accent6="accent6" hlink="hlink" folHlink="folHlink"/>
  <p:hf/>
  <p:notesStyle>
    <a:lvl1pPr marL="0" algn="l" defTabSz="932180" rtl="0" eaLnBrk="1" latinLnBrk="0" hangingPunct="1">
      <a:lnSpc>
        <a:spcPct val="90000"/>
      </a:lnSpc>
      <a:spcAft>
        <a:spcPts val="340"/>
      </a:spcAft>
      <a:defRPr sz="900" kern="1200">
        <a:solidFill>
          <a:schemeClr val="tx1"/>
        </a:solidFill>
        <a:latin typeface="Segoe UI Light" panose="020B0502040204020203" pitchFamily="34" charset="0"/>
        <a:ea typeface="+mn-ea"/>
        <a:cs typeface="+mn-cs"/>
      </a:defRPr>
    </a:lvl1pPr>
    <a:lvl2pPr marL="217170" indent="-107950" algn="l" defTabSz="932180" rtl="0" eaLnBrk="1" latinLnBrk="0" hangingPunct="1">
      <a:lnSpc>
        <a:spcPct val="90000"/>
      </a:lnSpc>
      <a:spcAft>
        <a:spcPts val="340"/>
      </a:spcAft>
      <a:buFont typeface="Arial" panose="020B0604020202020204" pitchFamily="34" charset="0"/>
      <a:buChar char="•"/>
      <a:defRPr sz="900" kern="1200">
        <a:solidFill>
          <a:schemeClr val="tx1"/>
        </a:solidFill>
        <a:latin typeface="Segoe UI Light" panose="020B0502040204020203" pitchFamily="34" charset="0"/>
        <a:ea typeface="+mn-ea"/>
        <a:cs typeface="+mn-cs"/>
      </a:defRPr>
    </a:lvl2pPr>
    <a:lvl3pPr marL="334645" indent="-117475" algn="l" defTabSz="932180" rtl="0" eaLnBrk="1" latinLnBrk="0" hangingPunct="1">
      <a:lnSpc>
        <a:spcPct val="90000"/>
      </a:lnSpc>
      <a:spcAft>
        <a:spcPts val="340"/>
      </a:spcAft>
      <a:buFont typeface="Arial" panose="020B0604020202020204" pitchFamily="34" charset="0"/>
      <a:buChar char="•"/>
      <a:defRPr sz="900" kern="1200">
        <a:solidFill>
          <a:schemeClr val="tx1"/>
        </a:solidFill>
        <a:latin typeface="Segoe UI Light" panose="020B0502040204020203" pitchFamily="34" charset="0"/>
        <a:ea typeface="+mn-ea"/>
        <a:cs typeface="+mn-cs"/>
      </a:defRPr>
    </a:lvl3pPr>
    <a:lvl4pPr marL="492760" indent="-149860" algn="l" defTabSz="932180" rtl="0" eaLnBrk="1" latinLnBrk="0" hangingPunct="1">
      <a:lnSpc>
        <a:spcPct val="90000"/>
      </a:lnSpc>
      <a:spcAft>
        <a:spcPts val="340"/>
      </a:spcAft>
      <a:buFont typeface="Arial" panose="020B0604020202020204" pitchFamily="34" charset="0"/>
      <a:buChar char="•"/>
      <a:defRPr sz="900" kern="1200">
        <a:solidFill>
          <a:schemeClr val="tx1"/>
        </a:solidFill>
        <a:latin typeface="Segoe UI Light" panose="020B0502040204020203" pitchFamily="34" charset="0"/>
        <a:ea typeface="+mn-ea"/>
        <a:cs typeface="+mn-cs"/>
      </a:defRPr>
    </a:lvl4pPr>
    <a:lvl5pPr marL="627380" indent="-117475" algn="l" defTabSz="932180" rtl="0" eaLnBrk="1" latinLnBrk="0" hangingPunct="1">
      <a:lnSpc>
        <a:spcPct val="90000"/>
      </a:lnSpc>
      <a:spcAft>
        <a:spcPts val="340"/>
      </a:spcAft>
      <a:buFont typeface="Arial" panose="020B0604020202020204" pitchFamily="34" charset="0"/>
      <a:buChar char="•"/>
      <a:defRPr sz="900" kern="1200">
        <a:solidFill>
          <a:schemeClr val="tx1"/>
        </a:solidFill>
        <a:latin typeface="Segoe UI Light" panose="020B0502040204020203" pitchFamily="34" charset="0"/>
        <a:ea typeface="+mn-ea"/>
        <a:cs typeface="+mn-cs"/>
      </a:defRPr>
    </a:lvl5pPr>
    <a:lvl6pPr marL="2331720" algn="l" defTabSz="932180" rtl="0" eaLnBrk="1" latinLnBrk="0" hangingPunct="1">
      <a:defRPr sz="1200" kern="1200">
        <a:solidFill>
          <a:schemeClr val="tx1"/>
        </a:solidFill>
        <a:latin typeface="+mn-lt"/>
        <a:ea typeface="+mn-ea"/>
        <a:cs typeface="+mn-cs"/>
      </a:defRPr>
    </a:lvl6pPr>
    <a:lvl7pPr marL="2798445" algn="l" defTabSz="932180" rtl="0" eaLnBrk="1" latinLnBrk="0" hangingPunct="1">
      <a:defRPr sz="1200" kern="1200">
        <a:solidFill>
          <a:schemeClr val="tx1"/>
        </a:solidFill>
        <a:latin typeface="+mn-lt"/>
        <a:ea typeface="+mn-ea"/>
        <a:cs typeface="+mn-cs"/>
      </a:defRPr>
    </a:lvl7pPr>
    <a:lvl8pPr marL="3264535" algn="l" defTabSz="932180" rtl="0" eaLnBrk="1" latinLnBrk="0" hangingPunct="1">
      <a:defRPr sz="1200" kern="1200">
        <a:solidFill>
          <a:schemeClr val="tx1"/>
        </a:solidFill>
        <a:latin typeface="+mn-lt"/>
        <a:ea typeface="+mn-ea"/>
        <a:cs typeface="+mn-cs"/>
      </a:defRPr>
    </a:lvl8pPr>
    <a:lvl9pPr marL="3731260" algn="l" defTabSz="93218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dirty="0"/>
              <a:t>Microsoft Build 2017</a:t>
            </a:r>
          </a:p>
        </p:txBody>
      </p:sp>
      <p:sp>
        <p:nvSpPr>
          <p:cNvPr id="5" name="页脚占位符 4"/>
          <p:cNvSpPr>
            <a:spLocks noGrp="1"/>
          </p:cNvSpPr>
          <p:nvPr>
            <p:ph type="ftr" sz="quarter" idx="11"/>
          </p:nvPr>
        </p:nvSpPr>
        <p:spPr/>
        <p:txBody>
          <a:bodyPr/>
          <a:lstStyle/>
          <a:p>
            <a:pPr defTabSz="913765" eaLnBrk="0" hangingPunct="0"/>
            <a:r>
              <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1" i="1" dirty="0">
                <a:cs typeface="+mn-ea"/>
                <a:sym typeface="+mn-lt"/>
              </a:rPr>
              <a:t>Targeted  Marketing</a:t>
            </a:r>
          </a:p>
          <a:p>
            <a:r>
              <a:rPr lang="en-US" altLang="zh-CN" dirty="0">
                <a:cs typeface="+mn-ea"/>
                <a:sym typeface="+mn-lt"/>
              </a:rPr>
              <a:t> Measure the performance of your marketing campaigns for different market segment.</a:t>
            </a:r>
          </a:p>
          <a:p>
            <a:endParaRPr lang="en-US" altLang="zh-CN" baseline="0"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6</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b="1" i="1" dirty="0">
                <a:cs typeface="+mn-ea"/>
                <a:sym typeface="+mn-lt"/>
              </a:rPr>
              <a:t>Entry Rate</a:t>
            </a:r>
          </a:p>
          <a:p>
            <a:r>
              <a:rPr lang="en-US" altLang="zh-CN" dirty="0">
                <a:cs typeface="+mn-ea"/>
                <a:sym typeface="+mn-lt"/>
              </a:rPr>
              <a:t>It show you how many people go into the store and how many people cross by. It means you can know the attractive of you stores.</a:t>
            </a:r>
          </a:p>
          <a:p>
            <a:r>
              <a:rPr lang="en-US" altLang="zh-CN" b="1" i="1" dirty="0">
                <a:cs typeface="+mn-ea"/>
                <a:sym typeface="+mn-lt"/>
              </a:rPr>
              <a:t>Customer flow analysis</a:t>
            </a:r>
          </a:p>
          <a:p>
            <a:r>
              <a:rPr lang="en-US" altLang="zh-CN" dirty="0">
                <a:cs typeface="+mn-ea"/>
                <a:sym typeface="+mn-lt"/>
              </a:rPr>
              <a:t>You can know the relationship between customer flow and weather and temperature.</a:t>
            </a:r>
            <a:endParaRPr lang="en-US" altLang="zh-CN" b="1" i="1" dirty="0">
              <a:cs typeface="+mn-ea"/>
              <a:sym typeface="+mn-lt"/>
            </a:endParaRPr>
          </a:p>
          <a:p>
            <a:endParaRPr lang="en-US" altLang="zh-CN"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7</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8</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32180" rtl="0" eaLnBrk="1" fontAlgn="auto" latinLnBrk="0" hangingPunct="1">
              <a:lnSpc>
                <a:spcPct val="90000"/>
              </a:lnSpc>
              <a:spcBef>
                <a:spcPts val="0"/>
              </a:spcBef>
              <a:spcAft>
                <a:spcPts val="340"/>
              </a:spcAft>
              <a:buClrTx/>
              <a:buSzTx/>
              <a:buFontTx/>
              <a:buNone/>
              <a:defRPr/>
            </a:pPr>
            <a:r>
              <a:rPr lang="en-US" altLang="zh-CN" sz="900" kern="100" dirty="0">
                <a:cs typeface="+mn-ea"/>
                <a:sym typeface="+mn-lt"/>
              </a:rPr>
              <a:t>Corridor mode is suitable for monitoring store aisles. When used in combination with a fish-eye camera, the entire store floor is seamlessly covered..</a:t>
            </a:r>
            <a:endParaRPr lang="zh-CN" altLang="zh-CN" sz="900" kern="100" dirty="0">
              <a:effectLst/>
              <a:cs typeface="+mn-ea"/>
              <a:sym typeface="+mn-lt"/>
            </a:endParaRPr>
          </a:p>
          <a:p>
            <a:endParaRPr lang="en-US" altLang="zh-CN"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0</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2</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3</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5</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defTabSz="932180">
              <a:defRPr/>
            </a:pPr>
            <a:r>
              <a:rPr lang="en-US" altLang="zh-CN" dirty="0">
                <a:cs typeface="+mn-ea"/>
                <a:sym typeface="+mn-lt"/>
              </a:rPr>
              <a:t>Function: 1.</a:t>
            </a:r>
            <a:r>
              <a:rPr lang="en-US" altLang="zh-CN" baseline="0" dirty="0">
                <a:cs typeface="+mn-ea"/>
                <a:sym typeface="+mn-lt"/>
              </a:rPr>
              <a:t> </a:t>
            </a:r>
            <a:r>
              <a:rPr lang="en-US" altLang="zh-CN" dirty="0">
                <a:cs typeface="+mn-ea"/>
                <a:sym typeface="+mn-lt"/>
              </a:rPr>
              <a:t>POS Overlay -Video and corresponding POS information can be shown simultaneously in both live and playback mode;</a:t>
            </a:r>
            <a:r>
              <a:rPr lang="en-US" altLang="zh-CN" baseline="0" dirty="0">
                <a:cs typeface="+mn-ea"/>
                <a:sym typeface="+mn-lt"/>
              </a:rPr>
              <a:t> 2. </a:t>
            </a:r>
            <a:r>
              <a:rPr lang="en-US" altLang="zh-CN" dirty="0">
                <a:cs typeface="+mn-ea"/>
                <a:sym typeface="+mn-lt"/>
              </a:rPr>
              <a:t>POS search:-Text search finds bills and their associated video recordings.</a:t>
            </a:r>
          </a:p>
          <a:p>
            <a:r>
              <a:rPr lang="en-US" altLang="zh-CN" dirty="0">
                <a:cs typeface="+mn-ea"/>
                <a:sym typeface="+mn-lt"/>
              </a:rPr>
              <a:t>Value: 1. Transaction dispute.-</a:t>
            </a:r>
            <a:r>
              <a:rPr lang="en-US" altLang="zh-CN" b="0" i="0" dirty="0">
                <a:cs typeface="+mn-ea"/>
                <a:sym typeface="+mn-lt"/>
              </a:rPr>
              <a:t>Provide evidence when a transaction dispute occurs. For example, when a customer is claiming being short changed, the video with  transaction data can clarify the dispute. 2.</a:t>
            </a:r>
            <a:endParaRPr lang="zh-CN" altLang="en-US" b="0" i="0" dirty="0">
              <a:cs typeface="+mn-ea"/>
              <a:sym typeface="+mn-lt"/>
            </a:endParaRPr>
          </a:p>
          <a:p>
            <a:pPr defTabSz="932180">
              <a:defRPr/>
            </a:pPr>
            <a:endParaRPr lang="en-US" altLang="zh-CN" dirty="0">
              <a:cs typeface="+mn-ea"/>
              <a:sym typeface="+mn-lt"/>
            </a:endParaRPr>
          </a:p>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32180" rtl="0" eaLnBrk="1" fontAlgn="auto" latinLnBrk="0" hangingPunct="1">
              <a:lnSpc>
                <a:spcPct val="90000"/>
              </a:lnSpc>
              <a:spcBef>
                <a:spcPts val="0"/>
              </a:spcBef>
              <a:spcAft>
                <a:spcPts val="340"/>
              </a:spcAft>
              <a:buClrTx/>
              <a:buSzTx/>
              <a:buFontTx/>
              <a:buNone/>
              <a:defRPr/>
            </a:pPr>
            <a:r>
              <a:rPr lang="en-US" altLang="zh-CN" dirty="0">
                <a:cs typeface="+mn-ea"/>
                <a:sym typeface="+mn-lt"/>
              </a:rPr>
              <a:t>when the </a:t>
            </a:r>
            <a:r>
              <a:rPr lang="en-US" altLang="zh-CN" sz="1000" dirty="0">
                <a:cs typeface="+mn-ea"/>
                <a:sym typeface="+mn-lt"/>
              </a:rPr>
              <a:t>customer number</a:t>
            </a:r>
            <a:r>
              <a:rPr lang="en-US" altLang="zh-CN" dirty="0">
                <a:cs typeface="+mn-ea"/>
                <a:sym typeface="+mn-lt"/>
              </a:rPr>
              <a:t> or the </a:t>
            </a:r>
            <a:r>
              <a:rPr lang="en-US" altLang="zh-CN" sz="1000" dirty="0">
                <a:cs typeface="+mn-ea"/>
                <a:sym typeface="+mn-lt"/>
              </a:rPr>
              <a:t>dwell time  </a:t>
            </a:r>
            <a:r>
              <a:rPr lang="en-US" altLang="zh-CN" dirty="0">
                <a:cs typeface="+mn-ea"/>
                <a:sym typeface="+mn-lt"/>
              </a:rPr>
              <a:t>exceeds the preset value. one AI</a:t>
            </a:r>
            <a:r>
              <a:rPr lang="en-US" altLang="zh-CN" baseline="0" dirty="0">
                <a:cs typeface="+mn-ea"/>
                <a:sym typeface="+mn-lt"/>
              </a:rPr>
              <a:t> fisheye camera can manage 4 lines.</a:t>
            </a:r>
            <a:endParaRPr lang="en-US" altLang="zh-CN" dirty="0">
              <a:cs typeface="+mn-ea"/>
              <a:sym typeface="+mn-lt"/>
            </a:endParaRPr>
          </a:p>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3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dirty="0"/>
              <a:t>Microsoft Build 2017</a:t>
            </a:r>
          </a:p>
        </p:txBody>
      </p:sp>
      <p:sp>
        <p:nvSpPr>
          <p:cNvPr id="5" name="页脚占位符 4"/>
          <p:cNvSpPr>
            <a:spLocks noGrp="1"/>
          </p:cNvSpPr>
          <p:nvPr>
            <p:ph type="ftr" sz="quarter" idx="11"/>
          </p:nvPr>
        </p:nvSpPr>
        <p:spPr/>
        <p:txBody>
          <a:bodyPr/>
          <a:lstStyle/>
          <a:p>
            <a:pPr defTabSz="913765" eaLnBrk="0" hangingPunct="0"/>
            <a:r>
              <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p>
        </p:txBody>
      </p:sp>
      <p:sp>
        <p:nvSpPr>
          <p:cNvPr id="6" name="日期占位符 5"/>
          <p:cNvSpPr>
            <a:spLocks noGrp="1"/>
          </p:cNvSpPr>
          <p:nvPr>
            <p:ph type="dt" idx="12"/>
          </p:nvPr>
        </p:nvSpPr>
        <p:spPr/>
        <p:txBody>
          <a:bodyPr/>
          <a:lstStyle/>
          <a:p>
            <a:fld id="{D18B56EA-E28F-4F92-9F16-7A6F2501B303}" type="datetime8">
              <a:rPr lang="en-US" smtClean="0"/>
              <a:t>4/8/2020 11:39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2</a:t>
            </a:fld>
            <a:endParaRPr lang="en-US" dirty="0"/>
          </a:p>
        </p:txBody>
      </p:sp>
    </p:spTree>
    <p:extLst>
      <p:ext uri="{BB962C8B-B14F-4D97-AF65-F5344CB8AC3E}">
        <p14:creationId xmlns:p14="http://schemas.microsoft.com/office/powerpoint/2010/main" val="33927743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32180" rtl="0" eaLnBrk="1" fontAlgn="auto" latinLnBrk="0" hangingPunct="1">
              <a:lnSpc>
                <a:spcPct val="90000"/>
              </a:lnSpc>
              <a:spcBef>
                <a:spcPts val="0"/>
              </a:spcBef>
              <a:spcAft>
                <a:spcPts val="340"/>
              </a:spcAft>
              <a:buClrTx/>
              <a:buSzTx/>
              <a:buFontTx/>
              <a:buNone/>
              <a:defRPr/>
            </a:pPr>
            <a:r>
              <a:rPr lang="en-US" altLang="zh-CN" sz="900" dirty="0">
                <a:cs typeface="+mn-ea"/>
                <a:sym typeface="+mn-lt"/>
              </a:rPr>
              <a:t>ASI7214Y:</a:t>
            </a:r>
            <a:r>
              <a:rPr lang="en-US" altLang="zh-CN" dirty="0">
                <a:cs typeface="+mn-ea"/>
                <a:sym typeface="+mn-lt"/>
              </a:rPr>
              <a:t>Supports 30, 000 users, 30, 000 cards, 30, 000 passwords, and 5,000 face images </a:t>
            </a:r>
            <a:endParaRPr lang="zh-CN" altLang="en-US" sz="900" dirty="0">
              <a:cs typeface="+mn-ea"/>
              <a:sym typeface="+mn-lt"/>
            </a:endParaRPr>
          </a:p>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32</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dirty="0"/>
              <a:t>Microsoft Build 2017</a:t>
            </a:r>
          </a:p>
        </p:txBody>
      </p:sp>
      <p:sp>
        <p:nvSpPr>
          <p:cNvPr id="5" name="页脚占位符 4"/>
          <p:cNvSpPr>
            <a:spLocks noGrp="1"/>
          </p:cNvSpPr>
          <p:nvPr>
            <p:ph type="ftr" sz="quarter" idx="11"/>
          </p:nvPr>
        </p:nvSpPr>
        <p:spPr/>
        <p:txBody>
          <a:bodyPr/>
          <a:lstStyle/>
          <a:p>
            <a:pPr defTabSz="913765" eaLnBrk="0" hangingPunct="0"/>
            <a:r>
              <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35</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dirty="0"/>
              <a:t>Microsoft Build 2017</a:t>
            </a:r>
          </a:p>
        </p:txBody>
      </p:sp>
      <p:sp>
        <p:nvSpPr>
          <p:cNvPr id="5" name="页脚占位符 4"/>
          <p:cNvSpPr>
            <a:spLocks noGrp="1"/>
          </p:cNvSpPr>
          <p:nvPr>
            <p:ph type="ftr" sz="quarter" idx="11"/>
          </p:nvPr>
        </p:nvSpPr>
        <p:spPr/>
        <p:txBody>
          <a:bodyPr/>
          <a:lstStyle/>
          <a:p>
            <a:pPr defTabSz="913765" eaLnBrk="0" hangingPunct="0"/>
            <a:r>
              <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36</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38</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387AF94D-C1B0-42B7-9835-A7C633F5B5EA}" type="slidenum">
              <a:rPr kumimoji="0" lang="zh-CN" altLang="en-US" sz="1800" b="0" i="0" u="none" strike="noStrike" kern="0" cap="none" spc="0" normalizeH="0" baseline="0" noProof="0" smtClean="0">
                <a:ln>
                  <a:noFill/>
                </a:ln>
                <a:solidFill>
                  <a:sysClr val="windowText" lastClr="000000"/>
                </a:solidFill>
                <a:effectLst/>
                <a:uLnTx/>
                <a:uFillTx/>
                <a:latin typeface="Calibri" panose="020F0502020204030204"/>
                <a:ea typeface="宋体" panose="02010600030101010101" pitchFamily="2" charset="-122"/>
                <a:cs typeface="+mn-cs"/>
              </a:rPr>
              <a:t>41</a:t>
            </a:fld>
            <a:endParaRPr kumimoji="0" lang="zh-CN" altLang="en-US" sz="1800" b="0" i="0" u="none" strike="noStrike" kern="0" cap="none" spc="0" normalizeH="0" baseline="0" noProof="0">
              <a:ln>
                <a:noFill/>
              </a:ln>
              <a:solidFill>
                <a:sysClr val="windowText" lastClr="000000"/>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D57712A3-AE3E-624A-B516-ACEC2DCD8D5E}" type="slidenum">
              <a:rPr kumimoji="1" lang="zh-CN" altLang="en-US" smtClean="0"/>
              <a:t>5</a:t>
            </a:fld>
            <a:endParaRPr kumimoji="1"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baseline="0"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4400"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9</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1</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2</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Secure your store,</a:t>
            </a:r>
            <a:r>
              <a:rPr lang="en-US" altLang="zh-CN" baseline="0" dirty="0"/>
              <a:t> </a:t>
            </a:r>
            <a:r>
              <a:rPr lang="en-US" altLang="zh-CN" dirty="0"/>
              <a:t>win more revenue</a:t>
            </a:r>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32180" rtl="0" eaLnBrk="1" fontAlgn="auto" latinLnBrk="0" hangingPunct="1">
              <a:lnSpc>
                <a:spcPct val="90000"/>
              </a:lnSpc>
              <a:spcBef>
                <a:spcPts val="0"/>
              </a:spcBef>
              <a:spcAft>
                <a:spcPts val="340"/>
              </a:spcAft>
              <a:buClrTx/>
              <a:buSzTx/>
              <a:buFontTx/>
              <a:buNone/>
              <a:defRPr/>
            </a:pPr>
            <a:endParaRPr lang="zh-CN" altLang="en-US" dirty="0"/>
          </a:p>
        </p:txBody>
      </p:sp>
      <p:sp>
        <p:nvSpPr>
          <p:cNvPr id="4" name="页眉占位符 3"/>
          <p:cNvSpPr>
            <a:spLocks noGrp="1"/>
          </p:cNvSpPr>
          <p:nvPr>
            <p:ph type="hdr" sz="quarter" idx="10"/>
          </p:nvPr>
        </p:nvSpPr>
        <p:spPr/>
        <p:txBody>
          <a:bodyPr/>
          <a:lstStyle/>
          <a:p>
            <a:r>
              <a:rPr lang="en-US"/>
              <a:t>Microsoft Build 2017</a:t>
            </a:r>
            <a:endParaRPr lang="en-US" dirty="0"/>
          </a:p>
        </p:txBody>
      </p:sp>
      <p:sp>
        <p:nvSpPr>
          <p:cNvPr id="5" name="页脚占位符 4"/>
          <p:cNvSpPr>
            <a:spLocks noGrp="1"/>
          </p:cNvSpPr>
          <p:nvPr>
            <p:ph type="ftr" sz="quarter" idx="11"/>
          </p:nvPr>
        </p:nvSpPr>
        <p:spPr/>
        <p:txBody>
          <a:bodyPr/>
          <a:lstStyle/>
          <a:p>
            <a:pPr defTabSz="913765" eaLnBrk="0" hangingPunct="0"/>
            <a:r>
              <a:rPr lang="en-US" sz="40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6" name="日期占位符 5"/>
          <p:cNvSpPr>
            <a:spLocks noGrp="1"/>
          </p:cNvSpPr>
          <p:nvPr>
            <p:ph type="dt" idx="12"/>
          </p:nvPr>
        </p:nvSpPr>
        <p:spPr/>
        <p:txBody>
          <a:bodyPr/>
          <a:lstStyle/>
          <a:p>
            <a:fld id="{D18B56EA-E28F-4F92-9F16-7A6F2501B303}" type="datetime8">
              <a:rPr lang="en-US" smtClean="0"/>
              <a:t>4/8/2020 9:07 AM</a:t>
            </a:fld>
            <a:endParaRPr lang="en-US" dirty="0"/>
          </a:p>
        </p:txBody>
      </p:sp>
      <p:sp>
        <p:nvSpPr>
          <p:cNvPr id="7" name="灯片编号占位符 6"/>
          <p:cNvSpPr>
            <a:spLocks noGrp="1"/>
          </p:cNvSpPr>
          <p:nvPr>
            <p:ph type="sldNum" sz="quarter" idx="13"/>
          </p:nvPr>
        </p:nvSpPr>
        <p:spPr/>
        <p:txBody>
          <a:bodyPr/>
          <a:lstStyle/>
          <a:p>
            <a:fld id="{B4008EB6-D09E-4580-8CD6-DDB14511944F}" type="slidenum">
              <a:rPr lang="en-US" smtClean="0"/>
              <a:t>15</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9.emf"/><Relationship Id="rId4" Type="http://schemas.openxmlformats.org/officeDocument/2006/relationships/oleObject" Target="../embeddings/oleObject1.bin"/></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5.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1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emf"/><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3"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200"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srcRect/>
          <a:stretch>
            <a:fillRect/>
          </a:stretch>
        </p:blipFill>
        <p:spPr>
          <a:xfrm>
            <a:off x="5441315" y="1"/>
            <a:ext cx="6995160" cy="6995160"/>
          </a:xfrm>
          <a:prstGeom prst="rect">
            <a:avLst/>
          </a:prstGeom>
        </p:spPr>
      </p:pic>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noAutofit/>
          </a:bodyPr>
          <a:lstStyle/>
          <a:p>
            <a:pPr algn="ctr" defTabSz="932180" fontAlgn="base">
              <a:spcBef>
                <a:spcPct val="0"/>
              </a:spcBef>
              <a:spcAft>
                <a:spcPct val="0"/>
              </a:spcAft>
            </a:pPr>
            <a:endParaRPr lang="en-US" sz="18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2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sz="1800"/>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spAutoFit/>
          </a:bodyPr>
          <a:lstStyle/>
          <a:p>
            <a:pPr defTabSz="931545"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0670">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895"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4" cstate="screen"/>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5" cstate="screen"/>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6" cstate="print"/>
          <a:srcRect l="-17523"/>
          <a:stretch>
            <a:fillRect/>
          </a:stretch>
        </p:blipFill>
        <p:spPr>
          <a:xfrm>
            <a:off x="7752216" y="4960287"/>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pic>
        <p:nvPicPr>
          <p:cNvPr id="8" name="Picture 7"/>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4"/>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2"/>
            <a:ext cx="1659463" cy="672108"/>
          </a:xfrm>
          <a:prstGeom prst="rect">
            <a:avLst/>
          </a:prstGeom>
        </p:spPr>
        <p:txBody>
          <a:bodyPr wrap="none" lIns="182854" tIns="146283" rIns="182854" bIns="146283">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270"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27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a:t>Edit Master text styles</a:t>
            </a:r>
          </a:p>
          <a:p>
            <a:pPr marL="514350" marR="0" lvl="1" indent="-514350" algn="l" defTabSz="932180" rtl="0" eaLnBrk="1" fontAlgn="auto" latinLnBrk="0" hangingPunct="1">
              <a:lnSpc>
                <a:spcPct val="90000"/>
              </a:lnSpc>
              <a:spcBef>
                <a:spcPts val="1225"/>
              </a:spcBef>
              <a:spcAft>
                <a:spcPts val="0"/>
              </a:spcAft>
              <a:buClr>
                <a:schemeClr val="tx1"/>
              </a:buClr>
              <a:buSzPct val="90000"/>
            </a:pPr>
            <a:r>
              <a:rPr lang="en-US"/>
              <a:t>Second level</a:t>
            </a:r>
          </a:p>
          <a:p>
            <a:pPr marL="514350" marR="0" lvl="2" indent="-514350" algn="l" defTabSz="932180" rtl="0" eaLnBrk="1" fontAlgn="auto" latinLnBrk="0" hangingPunct="1">
              <a:lnSpc>
                <a:spcPct val="90000"/>
              </a:lnSpc>
              <a:spcBef>
                <a:spcPts val="1225"/>
              </a:spcBef>
              <a:spcAft>
                <a:spcPts val="0"/>
              </a:spcAft>
              <a:buClr>
                <a:schemeClr val="tx1"/>
              </a:buClr>
              <a:buSzPct val="90000"/>
            </a:pPr>
            <a:r>
              <a:rPr lang="en-US"/>
              <a:t>Third level</a:t>
            </a:r>
          </a:p>
          <a:p>
            <a:pPr marL="514350" marR="0" lvl="3" indent="-514350" algn="l" defTabSz="932180" rtl="0" eaLnBrk="1" fontAlgn="auto" latinLnBrk="0" hangingPunct="1">
              <a:lnSpc>
                <a:spcPct val="90000"/>
              </a:lnSpc>
              <a:spcBef>
                <a:spcPts val="1225"/>
              </a:spcBef>
              <a:spcAft>
                <a:spcPts val="0"/>
              </a:spcAft>
              <a:buClr>
                <a:schemeClr val="tx1"/>
              </a:buClr>
              <a:buSzPct val="90000"/>
            </a:pPr>
            <a:r>
              <a:rPr lang="en-US"/>
              <a:t>Fourth level</a:t>
            </a:r>
          </a:p>
          <a:p>
            <a:pPr marL="514350" marR="0" lvl="4" indent="-514350" algn="l" defTabSz="932180" rtl="0" eaLnBrk="1" fontAlgn="auto" latinLnBrk="0" hangingPunct="1">
              <a:lnSpc>
                <a:spcPct val="90000"/>
              </a:lnSpc>
              <a:spcBef>
                <a:spcPts val="1225"/>
              </a:spcBef>
              <a:spcAft>
                <a:spcPts val="0"/>
              </a:spcAft>
              <a:buClr>
                <a:schemeClr val="tx1"/>
              </a:buClr>
              <a:buSzPct val="90000"/>
            </a:pPr>
            <a:r>
              <a:rPr lang="en-US"/>
              <a:t>Fifth level</a:t>
            </a:r>
            <a:endParaRPr lang="en-US"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6720" indent="-171450">
              <a:buFont typeface="Wingdings" panose="05000000000000000000" pitchFamily="2" charset="2"/>
              <a:buChar char=""/>
              <a:defRPr sz="2400" b="0"/>
            </a:lvl2pPr>
            <a:lvl3pPr marL="639445" indent="-188595">
              <a:buFont typeface="Wingdings" panose="05000000000000000000" pitchFamily="2" charset="2"/>
              <a:buChar char=""/>
              <a:defRPr sz="2200" b="0"/>
            </a:lvl3pPr>
            <a:lvl4pPr marL="828675" indent="-175895">
              <a:buFont typeface="Wingdings" panose="05000000000000000000" pitchFamily="2" charset="2"/>
              <a:buChar char=""/>
              <a:defRPr sz="2200" b="0"/>
            </a:lvl4pPr>
            <a:lvl5pPr marL="1023620" indent="-169545">
              <a:buFont typeface="Wingdings" panose="05000000000000000000" pitchFamily="2" charset="2"/>
              <a:buChar char=""/>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020" indent="-287020">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170"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Edit Master text styles</a:t>
            </a:r>
          </a:p>
          <a:p>
            <a:pPr marL="231775" marR="0" lvl="1"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Second level</a:t>
            </a:r>
          </a:p>
          <a:p>
            <a:pPr marL="231775" marR="0" lvl="2"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Third level</a:t>
            </a:r>
          </a:p>
          <a:p>
            <a:pPr marL="231775" marR="0" lvl="3"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ourth level</a:t>
            </a:r>
          </a:p>
          <a:p>
            <a:pPr marL="231775" marR="0" lvl="4"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ifth level</a:t>
            </a:r>
            <a:endParaRPr lang="en-US" dirty="0"/>
          </a:p>
        </p:txBody>
      </p:sp>
    </p:spTree>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noAutofit/>
          </a:bodyPr>
          <a:lstStyle/>
          <a:p>
            <a:pPr algn="ctr" defTabSz="932180" fontAlgn="base">
              <a:spcBef>
                <a:spcPct val="0"/>
              </a:spcBef>
              <a:spcAft>
                <a:spcPct val="0"/>
              </a:spcAft>
            </a:pPr>
            <a:endParaRPr lang="en-US" sz="18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2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spAutoFit/>
          </a:bodyPr>
          <a:lstStyle/>
          <a:p>
            <a:pPr defTabSz="931545"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0670">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895"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2" cstate="print"/>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020" indent="-287020">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020" indent="-287020">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180" rtl="0" eaLnBrk="1" fontAlgn="auto" latinLnBrk="0" hangingPunct="1">
              <a:lnSpc>
                <a:spcPct val="90000"/>
              </a:lnSpc>
              <a:spcBef>
                <a:spcPct val="20000"/>
              </a:spcBef>
              <a:spcAft>
                <a:spcPts val="0"/>
              </a:spcAft>
              <a:buClrTx/>
              <a:buSzPct val="90000"/>
              <a:buFont typeface="Arial" panose="020B0604020202020204" pitchFamily="34" charset="0"/>
              <a:buNone/>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lstStyle/>
          <a:p>
            <a:pPr algn="ctr" defTabSz="932180"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180" rtl="0" eaLnBrk="1" fontAlgn="auto" latinLnBrk="0" hangingPunct="1">
              <a:lnSpc>
                <a:spcPct val="90000"/>
              </a:lnSpc>
              <a:spcBef>
                <a:spcPct val="20000"/>
              </a:spcBef>
              <a:spcAft>
                <a:spcPts val="0"/>
              </a:spcAft>
              <a:buClrTx/>
              <a:buSzPct val="90000"/>
              <a:buFont typeface="Arial" panose="020B0604020202020204" pitchFamily="34" charset="0"/>
              <a:buNone/>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noAutofit/>
          </a:bodyPr>
          <a:lstStyle/>
          <a:p>
            <a:pPr algn="ctr" defTabSz="932180" fontAlgn="base">
              <a:spcBef>
                <a:spcPct val="0"/>
              </a:spcBef>
              <a:spcAft>
                <a:spcPct val="0"/>
              </a:spcAft>
            </a:pPr>
            <a:endParaRPr lang="en-US" sz="18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7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7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spAutoFit/>
          </a:bodyPr>
          <a:lstStyle/>
          <a:p>
            <a:pPr defTabSz="931545" eaLnBrk="0" hangingPunct="0"/>
            <a:r>
              <a:rPr lang="en-US" sz="700" dirty="0">
                <a:gradFill>
                  <a:gsLst>
                    <a:gs pos="0">
                      <a:schemeClr val="tx1"/>
                    </a:gs>
                    <a:gs pos="100000">
                      <a:schemeClr val="tx1"/>
                    </a:gs>
                  </a:gsLst>
                  <a:lin ang="5400000" scaled="0"/>
                </a:gradFill>
                <a:cs typeface="Segoe UI" panose="020B0502040204020203" pitchFamily="34" charset="0"/>
              </a:rPr>
              <a:t>© 2016 Microsoft Corporation. All rights reserved. </a:t>
            </a:r>
          </a:p>
        </p:txBody>
      </p:sp>
      <p:pic>
        <p:nvPicPr>
          <p:cNvPr id="5" name="Picture 4"/>
          <p:cNvPicPr>
            <a:picLocks noChangeAspect="1"/>
          </p:cNvPicPr>
          <p:nvPr userDrawn="1"/>
        </p:nvPicPr>
        <p:blipFill rotWithShape="1">
          <a:blip r:embed="rId2" cstate="screen"/>
          <a:srcRect b="1380"/>
          <a:stretch>
            <a:fillRect/>
          </a:stretch>
        </p:blipFill>
        <p:spPr bwMode="invGray">
          <a:xfrm>
            <a:off x="457200" y="479425"/>
            <a:ext cx="1449939" cy="306604"/>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0670">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895"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noAutofit/>
          </a:bodyPr>
          <a:lstStyle/>
          <a:p>
            <a:pPr algn="ctr" defTabSz="93154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8" name="Picture 17"/>
          <p:cNvPicPr>
            <a:picLocks noChangeAspect="1"/>
          </p:cNvPicPr>
          <p:nvPr userDrawn="1"/>
        </p:nvPicPr>
        <p:blipFill>
          <a:blip r:embed="rId2"/>
          <a:stretch>
            <a:fillRect/>
          </a:stretch>
        </p:blipFill>
        <p:spPr>
          <a:xfrm>
            <a:off x="-246499" y="1965645"/>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noAutofit/>
          </a:bodyPr>
          <a:lstStyle/>
          <a:p>
            <a:pPr algn="ctr" defTabSz="93154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8" name="Picture 7"/>
          <p:cNvPicPr>
            <a:picLocks noChangeAspect="1"/>
          </p:cNvPicPr>
          <p:nvPr userDrawn="1"/>
        </p:nvPicPr>
        <p:blipFill>
          <a:blip r:embed="rId3" cstate="print"/>
          <a:stretch>
            <a:fillRect/>
          </a:stretch>
        </p:blipFill>
        <p:spPr>
          <a:xfrm>
            <a:off x="462280" y="6209084"/>
            <a:ext cx="1456418"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noAutofit/>
          </a:bodyPr>
          <a:lstStyle/>
          <a:p>
            <a:pPr algn="ctr" defTabSz="93154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2" cstate="print"/>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stretch>
            <a:fillRect/>
          </a:stretch>
        </p:blipFill>
        <p:spPr bwMode="black">
          <a:xfrm>
            <a:off x="459232"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3"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020" indent="-287020">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020" indent="-287020">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020" indent="-287020">
              <a:spcBef>
                <a:spcPts val="1225"/>
              </a:spcBef>
              <a:buClr>
                <a:schemeClr val="tx1"/>
              </a:buClr>
              <a:buFont typeface="Arial" panose="020B0604020202020204" pitchFamily="34" charset="0"/>
              <a:buChar char="•"/>
              <a:defRPr sz="3200"/>
            </a:lvl1pPr>
            <a:lvl2pPr marL="530860" indent="-233045">
              <a:defRPr sz="2400"/>
            </a:lvl2pPr>
            <a:lvl3pPr marL="699135" indent="-168275">
              <a:defRPr sz="2000"/>
            </a:lvl3pPr>
            <a:lvl4pPr marL="880745" indent="-181610">
              <a:defRPr/>
            </a:lvl4pPr>
            <a:lvl5pPr marL="1049020"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1"/>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180" rtl="0" eaLnBrk="1" fontAlgn="auto" latinLnBrk="0" hangingPunct="1">
              <a:lnSpc>
                <a:spcPct val="90000"/>
              </a:lnSpc>
              <a:spcBef>
                <a:spcPct val="20000"/>
              </a:spcBef>
              <a:spcAft>
                <a:spcPts val="0"/>
              </a:spcAft>
              <a:buClrTx/>
              <a:buSzPct val="90000"/>
              <a:buFont typeface="Arial" panose="020B0604020202020204" pitchFamily="34" charset="0"/>
              <a:buNone/>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28" tIns="146262" rIns="182828" bIns="146262" numCol="1" rtlCol="0" anchor="ctr" anchorCtr="0" compatLnSpc="1"/>
          <a:lstStyle/>
          <a:p>
            <a:pPr algn="ctr" defTabSz="931545"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180" rtl="0" eaLnBrk="1" fontAlgn="auto" latinLnBrk="0" hangingPunct="1">
              <a:lnSpc>
                <a:spcPct val="90000"/>
              </a:lnSpc>
              <a:spcBef>
                <a:spcPct val="20000"/>
              </a:spcBef>
              <a:spcAft>
                <a:spcPts val="0"/>
              </a:spcAft>
              <a:buClrTx/>
              <a:buSzPct val="90000"/>
              <a:buFont typeface="Arial" panose="020B0604020202020204" pitchFamily="34" charset="0"/>
              <a:buNone/>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40"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8299" cy="1181862"/>
          </a:xfrm>
          <a:noFill/>
        </p:spPr>
        <p:txBody>
          <a:bodyPr wrap="square" tIns="91440" bIns="91440" anchor="t" anchorCtr="0">
            <a:spAutoFit/>
          </a:bodyPr>
          <a:lstStyle>
            <a:lvl1pPr>
              <a:defRPr sz="7195"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5"/>
            <a:ext cx="8229599" cy="1181862"/>
          </a:xfrm>
          <a:noFill/>
        </p:spPr>
        <p:txBody>
          <a:bodyPr wrap="square" tIns="91440" bIns="91440" anchor="t" anchorCtr="0">
            <a:spAutoFit/>
          </a:bodyPr>
          <a:lstStyle>
            <a:lvl1pPr>
              <a:defRPr sz="7195" spc="-100" baseline="0">
                <a:gradFill>
                  <a:gsLst>
                    <a:gs pos="10619">
                      <a:schemeClr val="tx1"/>
                    </a:gs>
                    <a:gs pos="26549">
                      <a:schemeClr val="tx1"/>
                    </a:gs>
                  </a:gsLst>
                  <a:lin ang="5400000" scaled="0"/>
                </a:gradFill>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noAutofit/>
          </a:bodyPr>
          <a:lstStyle/>
          <a:p>
            <a:pPr algn="ctr" defTabSz="931545" fontAlgn="base">
              <a:spcBef>
                <a:spcPct val="0"/>
              </a:spcBef>
              <a:spcAft>
                <a:spcPct val="0"/>
              </a:spcAft>
            </a:pPr>
            <a:endParaRPr lang="en-US" sz="18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7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2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spAutoFit/>
          </a:bodyPr>
          <a:lstStyle/>
          <a:p>
            <a:pPr defTabSz="931545" eaLnBrk="0" hangingPunct="0"/>
            <a:r>
              <a:rPr lang="en-US" sz="700" dirty="0">
                <a:gradFill>
                  <a:gsLst>
                    <a:gs pos="0">
                      <a:srgbClr val="FFFFFF"/>
                    </a:gs>
                    <a:gs pos="100000">
                      <a:srgbClr val="FFFFFF"/>
                    </a:gs>
                  </a:gsLst>
                  <a:lin ang="5400000" scaled="0"/>
                </a:gradFill>
                <a:cs typeface="Segoe UI" panose="020B0502040204020203" pitchFamily="34" charset="0"/>
              </a:rPr>
              <a:t>© 2016 Microsoft Corporation. All rights reserved. </a:t>
            </a:r>
          </a:p>
        </p:txBody>
      </p:sp>
      <p:pic>
        <p:nvPicPr>
          <p:cNvPr id="5" name="Picture 4"/>
          <p:cNvPicPr>
            <a:picLocks noChangeAspect="1"/>
          </p:cNvPicPr>
          <p:nvPr userDrawn="1"/>
        </p:nvPicPr>
        <p:blipFill rotWithShape="1">
          <a:blip r:embed="rId2" cstate="screen"/>
          <a:srcRect b="1380"/>
          <a:stretch>
            <a:fillRect/>
          </a:stretch>
        </p:blipFill>
        <p:spPr bwMode="invGray">
          <a:xfrm>
            <a:off x="457200" y="479425"/>
            <a:ext cx="1449939" cy="306604"/>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0670">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895"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Section Slide">
    <p:bg>
      <p:bgPr>
        <a:solidFill>
          <a:srgbClr val="D2D2D2"/>
        </a:solidFill>
        <a:effectLst/>
      </p:bgPr>
    </p:bg>
    <p:spTree>
      <p:nvGrpSpPr>
        <p:cNvPr id="1" name=""/>
        <p:cNvGrpSpPr/>
        <p:nvPr/>
      </p:nvGrpSpPr>
      <p:grpSpPr>
        <a:xfrm>
          <a:off x="0" y="0"/>
          <a:ext cx="0" cy="0"/>
          <a:chOff x="0" y="0"/>
          <a:chExt cx="0" cy="0"/>
        </a:xfrm>
      </p:grpSpPr>
      <p:sp>
        <p:nvSpPr>
          <p:cNvPr id="12" name="Rectangle 11"/>
          <p:cNvSpPr/>
          <p:nvPr userDrawn="1"/>
        </p:nvSpPr>
        <p:spPr>
          <a:xfrm>
            <a:off x="0" y="0"/>
            <a:ext cx="12436475" cy="6994525"/>
          </a:xfrm>
          <a:prstGeom prst="rect">
            <a:avLst/>
          </a:prstGeom>
          <a:solidFill>
            <a:srgbClr val="00205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180"/>
            <a:endParaRPr lang="en-US" sz="2450" dirty="0">
              <a:solidFill>
                <a:srgbClr val="FFFFFF"/>
              </a:solidFill>
            </a:endParaRPr>
          </a:p>
        </p:txBody>
      </p:sp>
      <p:sp>
        <p:nvSpPr>
          <p:cNvPr id="13" name="Title 1"/>
          <p:cNvSpPr>
            <a:spLocks noGrp="1" noChangeAspect="1"/>
          </p:cNvSpPr>
          <p:nvPr>
            <p:ph type="title"/>
          </p:nvPr>
        </p:nvSpPr>
        <p:spPr>
          <a:xfrm>
            <a:off x="217702" y="2800762"/>
            <a:ext cx="12001072" cy="2361529"/>
          </a:xfrm>
          <a:prstGeom prst="rect">
            <a:avLst/>
          </a:prstGeom>
        </p:spPr>
        <p:txBody>
          <a:bodyPr lIns="91440" tIns="91440" bIns="91440" anchor="t"/>
          <a:lstStyle>
            <a:lvl1pPr algn="l">
              <a:defRPr sz="6115">
                <a:solidFill>
                  <a:srgbClr val="FFFFFF"/>
                </a:solidFill>
                <a:latin typeface="Segoe UI Light" panose="020B0502040204020203"/>
                <a:cs typeface="Segoe UI Light" panose="020B0502040204020203"/>
              </a:defRPr>
            </a:lvl1pPr>
          </a:lstStyle>
          <a:p>
            <a:r>
              <a:rPr lang="en-US" dirty="0"/>
              <a:t>Click to edit Master title style</a:t>
            </a:r>
          </a:p>
        </p:txBody>
      </p:sp>
    </p:spTree>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901"/>
            <a:ext cx="11887519" cy="914364"/>
          </a:xfrm>
        </p:spPr>
        <p:txBody>
          <a:bodyPr/>
          <a:lstStyle>
            <a:lvl1pPr>
              <a:defRPr sz="5800">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41" y="1697064"/>
            <a:ext cx="10972799" cy="1965734"/>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74642" y="295277"/>
            <a:ext cx="4310062" cy="3278187"/>
          </a:xfrm>
        </p:spPr>
        <p:txBody>
          <a:bodyPr/>
          <a:lstStyle/>
          <a:p>
            <a:r>
              <a:rPr lang="en-US" dirty="0"/>
              <a:t>Click to edit Master title style</a:t>
            </a:r>
          </a:p>
        </p:txBody>
      </p:sp>
      <p:sp>
        <p:nvSpPr>
          <p:cNvPr id="3" name="Rectangle 2"/>
          <p:cNvSpPr/>
          <p:nvPr userDrawn="1"/>
        </p:nvSpPr>
        <p:spPr bwMode="auto">
          <a:xfrm>
            <a:off x="4846638" y="4"/>
            <a:ext cx="7589836" cy="6994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76" tIns="146220" rIns="182776" bIns="146220" numCol="1" spcCol="0" rtlCol="0" fromWordArt="0" anchor="t" anchorCtr="0" forceAA="0" compatLnSpc="1">
            <a:noAutofit/>
          </a:bodyPr>
          <a:lstStyle/>
          <a:p>
            <a:pPr algn="ctr" defTabSz="931545"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42"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5"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130" rtl="0" eaLnBrk="1" latinLnBrk="0" hangingPunct="1">
              <a:spcBef>
                <a:spcPct val="20000"/>
              </a:spcBef>
            </a:pPr>
            <a:r>
              <a:rPr lang="en-US"/>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8574 w 10000"/>
              <a:gd name="connsiteY2-6" fmla="*/ 10000 h 10000"/>
              <a:gd name="connsiteX3-7" fmla="*/ 2000 w 10000"/>
              <a:gd name="connsiteY3-8" fmla="*/ 10000 h 10000"/>
              <a:gd name="connsiteX4-9" fmla="*/ 0 w 10000"/>
              <a:gd name="connsiteY4-10" fmla="*/ 0 h 10000"/>
              <a:gd name="connsiteX0-11" fmla="*/ 0 w 10000"/>
              <a:gd name="connsiteY0-12" fmla="*/ 0 h 10028"/>
              <a:gd name="connsiteX1-13" fmla="*/ 10000 w 10000"/>
              <a:gd name="connsiteY1-14" fmla="*/ 0 h 10028"/>
              <a:gd name="connsiteX2-15" fmla="*/ 8574 w 10000"/>
              <a:gd name="connsiteY2-16" fmla="*/ 10000 h 10028"/>
              <a:gd name="connsiteX3-17" fmla="*/ 1399 w 10000"/>
              <a:gd name="connsiteY3-18" fmla="*/ 10028 h 10028"/>
              <a:gd name="connsiteX4-19" fmla="*/ 0 w 10000"/>
              <a:gd name="connsiteY4-20" fmla="*/ 0 h 10028"/>
              <a:gd name="connsiteX0-21" fmla="*/ 0 w 10000"/>
              <a:gd name="connsiteY0-22" fmla="*/ 0 h 10028"/>
              <a:gd name="connsiteX1-23" fmla="*/ 10000 w 10000"/>
              <a:gd name="connsiteY1-24" fmla="*/ 1460 h 10028"/>
              <a:gd name="connsiteX2-25" fmla="*/ 8574 w 10000"/>
              <a:gd name="connsiteY2-26" fmla="*/ 10000 h 10028"/>
              <a:gd name="connsiteX3-27" fmla="*/ 1399 w 10000"/>
              <a:gd name="connsiteY3-28" fmla="*/ 10028 h 10028"/>
              <a:gd name="connsiteX4-29" fmla="*/ 0 w 10000"/>
              <a:gd name="connsiteY4-30" fmla="*/ 0 h 10028"/>
              <a:gd name="connsiteX0-31" fmla="*/ 0 w 10022"/>
              <a:gd name="connsiteY0-32" fmla="*/ 0 h 10028"/>
              <a:gd name="connsiteX1-33" fmla="*/ 10000 w 10022"/>
              <a:gd name="connsiteY1-34" fmla="*/ 1460 h 10028"/>
              <a:gd name="connsiteX2-35" fmla="*/ 10022 w 10022"/>
              <a:gd name="connsiteY2-36" fmla="*/ 8623 h 10028"/>
              <a:gd name="connsiteX3-37" fmla="*/ 1399 w 10022"/>
              <a:gd name="connsiteY3-38" fmla="*/ 10028 h 10028"/>
              <a:gd name="connsiteX4-39" fmla="*/ 0 w 10022"/>
              <a:gd name="connsiteY4-40" fmla="*/ 0 h 10028"/>
              <a:gd name="connsiteX0-41" fmla="*/ 0 w 10022"/>
              <a:gd name="connsiteY0-42" fmla="*/ 0 h 10028"/>
              <a:gd name="connsiteX1-43" fmla="*/ 10000 w 10022"/>
              <a:gd name="connsiteY1-44" fmla="*/ 1460 h 10028"/>
              <a:gd name="connsiteX2-45" fmla="*/ 10022 w 10022"/>
              <a:gd name="connsiteY2-46" fmla="*/ 8623 h 10028"/>
              <a:gd name="connsiteX3-47" fmla="*/ 115 w 10022"/>
              <a:gd name="connsiteY3-48" fmla="*/ 10028 h 10028"/>
              <a:gd name="connsiteX4-49" fmla="*/ 0 w 10022"/>
              <a:gd name="connsiteY4-50" fmla="*/ 0 h 10028"/>
              <a:gd name="connsiteX0-51" fmla="*/ 0 w 10418"/>
              <a:gd name="connsiteY0-52" fmla="*/ 0 h 10028"/>
              <a:gd name="connsiteX1-53" fmla="*/ 10411 w 10418"/>
              <a:gd name="connsiteY1-54" fmla="*/ 992 h 10028"/>
              <a:gd name="connsiteX2-55" fmla="*/ 10022 w 10418"/>
              <a:gd name="connsiteY2-56" fmla="*/ 8623 h 10028"/>
              <a:gd name="connsiteX3-57" fmla="*/ 115 w 10418"/>
              <a:gd name="connsiteY3-58" fmla="*/ 10028 h 10028"/>
              <a:gd name="connsiteX4-59" fmla="*/ 0 w 10418"/>
              <a:gd name="connsiteY4-60" fmla="*/ 0 h 10028"/>
              <a:gd name="connsiteX0-61" fmla="*/ 0 w 10022"/>
              <a:gd name="connsiteY0-62" fmla="*/ 0 h 10028"/>
              <a:gd name="connsiteX1-63" fmla="*/ 10000 w 10022"/>
              <a:gd name="connsiteY1-64" fmla="*/ 1405 h 10028"/>
              <a:gd name="connsiteX2-65" fmla="*/ 10022 w 10022"/>
              <a:gd name="connsiteY2-66" fmla="*/ 8623 h 10028"/>
              <a:gd name="connsiteX3-67" fmla="*/ 115 w 10022"/>
              <a:gd name="connsiteY3-68" fmla="*/ 10028 h 10028"/>
              <a:gd name="connsiteX4-69" fmla="*/ 0 w 10022"/>
              <a:gd name="connsiteY4-70" fmla="*/ 0 h 10028"/>
              <a:gd name="connsiteX0-71" fmla="*/ 0 w 10022"/>
              <a:gd name="connsiteY0-72" fmla="*/ 0 h 10028"/>
              <a:gd name="connsiteX1-73" fmla="*/ 10000 w 10022"/>
              <a:gd name="connsiteY1-74" fmla="*/ 1405 h 10028"/>
              <a:gd name="connsiteX2-75" fmla="*/ 10022 w 10022"/>
              <a:gd name="connsiteY2-76" fmla="*/ 8623 h 10028"/>
              <a:gd name="connsiteX3-77" fmla="*/ 38 w 10022"/>
              <a:gd name="connsiteY3-78" fmla="*/ 10028 h 10028"/>
              <a:gd name="connsiteX4-79" fmla="*/ 0 w 10022"/>
              <a:gd name="connsiteY4-80" fmla="*/ 0 h 10028"/>
              <a:gd name="connsiteX0-81" fmla="*/ 1 w 9997"/>
              <a:gd name="connsiteY0-82" fmla="*/ 0 h 10028"/>
              <a:gd name="connsiteX1-83" fmla="*/ 9975 w 9997"/>
              <a:gd name="connsiteY1-84" fmla="*/ 1405 h 10028"/>
              <a:gd name="connsiteX2-85" fmla="*/ 9997 w 9997"/>
              <a:gd name="connsiteY2-86" fmla="*/ 8623 h 10028"/>
              <a:gd name="connsiteX3-87" fmla="*/ 13 w 9997"/>
              <a:gd name="connsiteY3-88" fmla="*/ 10028 h 10028"/>
              <a:gd name="connsiteX4-89" fmla="*/ 1 w 9997"/>
              <a:gd name="connsiteY4-90" fmla="*/ 0 h 10028"/>
              <a:gd name="connsiteX0-91" fmla="*/ 1 w 10029"/>
              <a:gd name="connsiteY0-92" fmla="*/ 0 h 10000"/>
              <a:gd name="connsiteX1-93" fmla="*/ 10029 w 10029"/>
              <a:gd name="connsiteY1-94" fmla="*/ 1452 h 10000"/>
              <a:gd name="connsiteX2-95" fmla="*/ 10000 w 10029"/>
              <a:gd name="connsiteY2-96" fmla="*/ 8599 h 10000"/>
              <a:gd name="connsiteX3-97" fmla="*/ 13 w 10029"/>
              <a:gd name="connsiteY3-98" fmla="*/ 10000 h 10000"/>
              <a:gd name="connsiteX4-99" fmla="*/ 1 w 10029"/>
              <a:gd name="connsiteY4-100" fmla="*/ 0 h 10000"/>
              <a:gd name="connsiteX0-101" fmla="*/ 1 w 10077"/>
              <a:gd name="connsiteY0-102" fmla="*/ 0 h 10000"/>
              <a:gd name="connsiteX1-103" fmla="*/ 10029 w 10077"/>
              <a:gd name="connsiteY1-104" fmla="*/ 1452 h 10000"/>
              <a:gd name="connsiteX2-105" fmla="*/ 10077 w 10077"/>
              <a:gd name="connsiteY2-106" fmla="*/ 8599 h 10000"/>
              <a:gd name="connsiteX3-107" fmla="*/ 13 w 10077"/>
              <a:gd name="connsiteY3-108" fmla="*/ 10000 h 10000"/>
              <a:gd name="connsiteX4-109" fmla="*/ 1 w 10077"/>
              <a:gd name="connsiteY4-110" fmla="*/ 0 h 10000"/>
              <a:gd name="connsiteX0-111" fmla="*/ 1 w 10077"/>
              <a:gd name="connsiteY0-112" fmla="*/ 0 h 10000"/>
              <a:gd name="connsiteX1-113" fmla="*/ 10029 w 10077"/>
              <a:gd name="connsiteY1-114" fmla="*/ 1442 h 10000"/>
              <a:gd name="connsiteX2-115" fmla="*/ 10077 w 10077"/>
              <a:gd name="connsiteY2-116" fmla="*/ 8599 h 10000"/>
              <a:gd name="connsiteX3-117" fmla="*/ 13 w 10077"/>
              <a:gd name="connsiteY3-118" fmla="*/ 10000 h 10000"/>
              <a:gd name="connsiteX4-119" fmla="*/ 1 w 10077"/>
              <a:gd name="connsiteY4-120" fmla="*/ 0 h 10000"/>
              <a:gd name="connsiteX0-121" fmla="*/ 1 w 10046"/>
              <a:gd name="connsiteY0-122" fmla="*/ 0 h 10000"/>
              <a:gd name="connsiteX1-123" fmla="*/ 10029 w 10046"/>
              <a:gd name="connsiteY1-124" fmla="*/ 1442 h 10000"/>
              <a:gd name="connsiteX2-125" fmla="*/ 10046 w 10046"/>
              <a:gd name="connsiteY2-126" fmla="*/ 8589 h 10000"/>
              <a:gd name="connsiteX3-127" fmla="*/ 13 w 10046"/>
              <a:gd name="connsiteY3-128" fmla="*/ 10000 h 10000"/>
              <a:gd name="connsiteX4-129" fmla="*/ 1 w 10046"/>
              <a:gd name="connsiteY4-130" fmla="*/ 0 h 10000"/>
              <a:gd name="connsiteX0-131" fmla="*/ 1 w 10046"/>
              <a:gd name="connsiteY0-132" fmla="*/ 0 h 10000"/>
              <a:gd name="connsiteX1-133" fmla="*/ 10029 w 10046"/>
              <a:gd name="connsiteY1-134" fmla="*/ 1442 h 10000"/>
              <a:gd name="connsiteX2-135" fmla="*/ 10046 w 10046"/>
              <a:gd name="connsiteY2-136" fmla="*/ 8589 h 10000"/>
              <a:gd name="connsiteX3-137" fmla="*/ 13 w 10046"/>
              <a:gd name="connsiteY3-138" fmla="*/ 10000 h 10000"/>
              <a:gd name="connsiteX4-139" fmla="*/ 1 w 10046"/>
              <a:gd name="connsiteY4-140" fmla="*/ 0 h 10000"/>
              <a:gd name="connsiteX0-141" fmla="*/ 1 w 10036"/>
              <a:gd name="connsiteY0-142" fmla="*/ 0 h 10000"/>
              <a:gd name="connsiteX1-143" fmla="*/ 10029 w 10036"/>
              <a:gd name="connsiteY1-144" fmla="*/ 1442 h 10000"/>
              <a:gd name="connsiteX2-145" fmla="*/ 10036 w 10036"/>
              <a:gd name="connsiteY2-146" fmla="*/ 8579 h 10000"/>
              <a:gd name="connsiteX3-147" fmla="*/ 13 w 10036"/>
              <a:gd name="connsiteY3-148" fmla="*/ 10000 h 10000"/>
              <a:gd name="connsiteX4-149" fmla="*/ 1 w 10036"/>
              <a:gd name="connsiteY4-150" fmla="*/ 0 h 10000"/>
              <a:gd name="connsiteX0-151" fmla="*/ 1 w 10036"/>
              <a:gd name="connsiteY0-152" fmla="*/ 0 h 10000"/>
              <a:gd name="connsiteX1-153" fmla="*/ 10029 w 10036"/>
              <a:gd name="connsiteY1-154" fmla="*/ 1442 h 10000"/>
              <a:gd name="connsiteX2-155" fmla="*/ 10036 w 10036"/>
              <a:gd name="connsiteY2-156" fmla="*/ 8579 h 10000"/>
              <a:gd name="connsiteX3-157" fmla="*/ 13 w 10036"/>
              <a:gd name="connsiteY3-158" fmla="*/ 10000 h 10000"/>
              <a:gd name="connsiteX4-159" fmla="*/ 1 w 10036"/>
              <a:gd name="connsiteY4-160" fmla="*/ 0 h 10000"/>
              <a:gd name="connsiteX0-161" fmla="*/ 1 w 10040"/>
              <a:gd name="connsiteY0-162" fmla="*/ 0 h 10000"/>
              <a:gd name="connsiteX1-163" fmla="*/ 10039 w 10040"/>
              <a:gd name="connsiteY1-164" fmla="*/ 1442 h 10000"/>
              <a:gd name="connsiteX2-165" fmla="*/ 10036 w 10040"/>
              <a:gd name="connsiteY2-166" fmla="*/ 8579 h 10000"/>
              <a:gd name="connsiteX3-167" fmla="*/ 13 w 10040"/>
              <a:gd name="connsiteY3-168" fmla="*/ 10000 h 10000"/>
              <a:gd name="connsiteX4-169" fmla="*/ 1 w 10040"/>
              <a:gd name="connsiteY4-170" fmla="*/ 0 h 10000"/>
              <a:gd name="connsiteX0-171" fmla="*/ 1 w 10040"/>
              <a:gd name="connsiteY0-172" fmla="*/ 0 h 10000"/>
              <a:gd name="connsiteX1-173" fmla="*/ 10039 w 10040"/>
              <a:gd name="connsiteY1-174" fmla="*/ 1452 h 10000"/>
              <a:gd name="connsiteX2-175" fmla="*/ 10036 w 10040"/>
              <a:gd name="connsiteY2-176" fmla="*/ 8579 h 10000"/>
              <a:gd name="connsiteX3-177" fmla="*/ 13 w 10040"/>
              <a:gd name="connsiteY3-178" fmla="*/ 10000 h 10000"/>
              <a:gd name="connsiteX4-179" fmla="*/ 1 w 10040"/>
              <a:gd name="connsiteY4-180" fmla="*/ 0 h 10000"/>
              <a:gd name="connsiteX0-181" fmla="*/ 28 w 10067"/>
              <a:gd name="connsiteY0-182" fmla="*/ 0 h 10000"/>
              <a:gd name="connsiteX1-183" fmla="*/ 10066 w 10067"/>
              <a:gd name="connsiteY1-184" fmla="*/ 1452 h 10000"/>
              <a:gd name="connsiteX2-185" fmla="*/ 10063 w 10067"/>
              <a:gd name="connsiteY2-186" fmla="*/ 8579 h 10000"/>
              <a:gd name="connsiteX3-187" fmla="*/ 9 w 10067"/>
              <a:gd name="connsiteY3-188" fmla="*/ 10000 h 10000"/>
              <a:gd name="connsiteX4-189" fmla="*/ 28 w 10067"/>
              <a:gd name="connsiteY4-190" fmla="*/ 0 h 10000"/>
              <a:gd name="connsiteX0-191" fmla="*/ 19 w 10058"/>
              <a:gd name="connsiteY0-192" fmla="*/ 0 h 10000"/>
              <a:gd name="connsiteX1-193" fmla="*/ 10057 w 10058"/>
              <a:gd name="connsiteY1-194" fmla="*/ 1452 h 10000"/>
              <a:gd name="connsiteX2-195" fmla="*/ 10054 w 10058"/>
              <a:gd name="connsiteY2-196" fmla="*/ 8579 h 10000"/>
              <a:gd name="connsiteX3-197" fmla="*/ 0 w 10058"/>
              <a:gd name="connsiteY3-198" fmla="*/ 10000 h 10000"/>
              <a:gd name="connsiteX4-199" fmla="*/ 19 w 10058"/>
              <a:gd name="connsiteY4-200" fmla="*/ 0 h 10000"/>
              <a:gd name="connsiteX0-201" fmla="*/ 9 w 10058"/>
              <a:gd name="connsiteY0-202" fmla="*/ 0 h 10000"/>
              <a:gd name="connsiteX1-203" fmla="*/ 10057 w 10058"/>
              <a:gd name="connsiteY1-204" fmla="*/ 1452 h 10000"/>
              <a:gd name="connsiteX2-205" fmla="*/ 10054 w 10058"/>
              <a:gd name="connsiteY2-206" fmla="*/ 8579 h 10000"/>
              <a:gd name="connsiteX3-207" fmla="*/ 0 w 10058"/>
              <a:gd name="connsiteY3-208" fmla="*/ 10000 h 10000"/>
              <a:gd name="connsiteX4-209" fmla="*/ 9 w 10058"/>
              <a:gd name="connsiteY4-21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a:t>Click to edit Master title style</a:t>
            </a:r>
            <a:endParaRPr lang="en-US" dirty="0"/>
          </a:p>
        </p:txBody>
      </p:sp>
    </p:spTree>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a:p>
          </p:txBody>
        </p:sp>
      </p:gr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3140" y="306045"/>
            <a:ext cx="11192828" cy="946413"/>
          </a:xfrm>
        </p:spPr>
        <p:txBody>
          <a:bodyPr anchor="t"/>
          <a:lstStyle>
            <a:lvl1pPr algn="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43330">
              <a:defRPr/>
            </a:pPr>
            <a:fld id="{ACCEBF71-793A-440A-922C-1CBEC40F9778}" type="datetimeFigureOut">
              <a:rPr lang="en-US" sz="2450" kern="0" smtClean="0">
                <a:solidFill>
                  <a:sysClr val="windowText" lastClr="000000"/>
                </a:solidFill>
              </a:rPr>
              <a:t>4/8/2020</a:t>
            </a:fld>
            <a:endParaRPr lang="en-US" sz="2450" kern="0">
              <a:solidFill>
                <a:sysClr val="windowText" lastClr="000000"/>
              </a:solidFill>
            </a:endParaRPr>
          </a:p>
        </p:txBody>
      </p:sp>
      <p:sp>
        <p:nvSpPr>
          <p:cNvPr id="4" name="Footer Placeholder 3"/>
          <p:cNvSpPr>
            <a:spLocks noGrp="1"/>
          </p:cNvSpPr>
          <p:nvPr>
            <p:ph type="ftr" sz="quarter" idx="11"/>
          </p:nvPr>
        </p:nvSpPr>
        <p:spPr/>
        <p:txBody>
          <a:bodyPr/>
          <a:lstStyle/>
          <a:p>
            <a:pPr defTabSz="1243330">
              <a:defRPr/>
            </a:pPr>
            <a:endParaRPr lang="en-US" sz="2450" kern="0">
              <a:solidFill>
                <a:sysClr val="windowText" lastClr="000000"/>
              </a:solidFill>
            </a:endParaRPr>
          </a:p>
        </p:txBody>
      </p:sp>
      <p:sp>
        <p:nvSpPr>
          <p:cNvPr id="5" name="Slide Number Placeholder 4"/>
          <p:cNvSpPr>
            <a:spLocks noGrp="1"/>
          </p:cNvSpPr>
          <p:nvPr>
            <p:ph type="sldNum" sz="quarter" idx="12"/>
          </p:nvPr>
        </p:nvSpPr>
        <p:spPr/>
        <p:txBody>
          <a:bodyPr/>
          <a:lstStyle/>
          <a:p>
            <a:pPr defTabSz="1243330">
              <a:defRPr/>
            </a:pPr>
            <a:fld id="{704198DC-2EF7-4B34-A789-AD3A4CDEBD28}" type="slidenum">
              <a:rPr lang="en-US" sz="2450" kern="0" smtClean="0">
                <a:solidFill>
                  <a:sysClr val="windowText" lastClr="000000"/>
                </a:solidFill>
              </a:rPr>
              <a:t>‹#›</a:t>
            </a:fld>
            <a:endParaRPr lang="en-US" sz="2450" kern="0">
              <a:solidFill>
                <a:sysClr val="windowText" lastClr="000000"/>
              </a:solidFill>
            </a:endParaRPr>
          </a:p>
        </p:txBody>
      </p:sp>
    </p:spTree>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srcRect/>
          <a:stretch>
            <a:fill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itle 1"/>
          <p:cNvSpPr>
            <a:spLocks noGrp="1"/>
          </p:cNvSpPr>
          <p:nvPr>
            <p:ph type="title" hasCustomPrompt="1"/>
          </p:nvPr>
        </p:nvSpPr>
        <p:spPr bwMode="auto">
          <a:xfrm>
            <a:off x="274638" y="2150540"/>
            <a:ext cx="6402388" cy="892840"/>
          </a:xfrm>
          <a:noFill/>
        </p:spPr>
        <p:txBody>
          <a:bodyPr lIns="146304" tIns="91440" rIns="146304" bIns="91440" anchor="t" anchorCtr="0"/>
          <a:lstStyle>
            <a:lvl1pPr>
              <a:defRPr sz="5400" spc="-100"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4638" y="3951527"/>
            <a:ext cx="4572000" cy="1710429"/>
          </a:xfrm>
        </p:spPr>
        <p:txBody>
          <a:bodyPr lIns="164592" tIns="109728" rIns="164592" bIns="109728">
            <a:noAutofit/>
          </a:bodyPr>
          <a:lstStyle>
            <a:lvl1pPr marL="0" indent="0">
              <a:spcBef>
                <a:spcPts val="0"/>
              </a:spcBef>
              <a:buNone/>
              <a:defRPr sz="3200"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print"/>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srcRect l="-5"/>
          <a:stretch>
            <a:fillRect/>
          </a:stretch>
        </p:blipFill>
        <p:spPr>
          <a:xfrm flipH="1">
            <a:off x="5441314" y="2"/>
            <a:ext cx="6993383" cy="6994521"/>
          </a:xfrm>
          <a:prstGeom prst="rect">
            <a:avLst/>
          </a:prstGeom>
        </p:spPr>
      </p:pic>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932180" rtl="0" eaLnBrk="1" fontAlgn="auto" latinLnBrk="0" hangingPunct="1">
              <a:lnSpc>
                <a:spcPct val="90000"/>
              </a:lnSpc>
              <a:spcBef>
                <a:spcPts val="0"/>
              </a:spcBef>
              <a:spcAft>
                <a:spcPts val="0"/>
              </a:spcAft>
              <a:buClrTx/>
              <a:buSzPct val="90000"/>
              <a:buFont typeface="Arial" panose="020B0604020202020204" pitchFamily="34" charset="0"/>
              <a:buNone/>
            </a:pPr>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print"/>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a:p>
          </p:txBody>
        </p:sp>
      </p:gr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srcRect/>
          <a:stretch>
            <a:fillRect/>
          </a:stretch>
        </p:blipFill>
        <p:spPr>
          <a:xfrm flipH="1">
            <a:off x="0" y="2"/>
            <a:ext cx="12434704" cy="6994521"/>
          </a:xfrm>
          <a:prstGeom prst="rect">
            <a:avLst/>
          </a:prstGeom>
        </p:spPr>
      </p:pic>
      <p:sp>
        <p:nvSpPr>
          <p:cNvPr id="2" name="Rectangle 1"/>
          <p:cNvSpPr/>
          <p:nvPr userDrawn="1"/>
        </p:nvSpPr>
        <p:spPr bwMode="auto">
          <a:xfrm>
            <a:off x="274638" y="2119163"/>
            <a:ext cx="54864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Title 1"/>
          <p:cNvSpPr>
            <a:spLocks noGrp="1"/>
          </p:cNvSpPr>
          <p:nvPr>
            <p:ph type="title" hasCustomPrompt="1"/>
          </p:nvPr>
        </p:nvSpPr>
        <p:spPr bwMode="auto">
          <a:xfrm>
            <a:off x="274702" y="2119178"/>
            <a:ext cx="5486336" cy="1828800"/>
          </a:xfrm>
          <a:noFill/>
        </p:spPr>
        <p:txBody>
          <a:bodyPr lIns="146304" tIns="91440" rIns="146304" bIns="91440" anchor="t" anchorCtr="0"/>
          <a:lstStyle>
            <a:lvl1pPr>
              <a:defRPr sz="48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5487988" cy="1828800"/>
          </a:xfrm>
        </p:spPr>
        <p:txBody>
          <a:bodyPr lIns="164592" tIns="109728" rIns="164592"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68308" y="479425"/>
            <a:ext cx="1448129" cy="310896"/>
            <a:chOff x="457200" y="1643393"/>
            <a:chExt cx="4492753" cy="964540"/>
          </a:xfrm>
        </p:grpSpPr>
        <p:pic>
          <p:nvPicPr>
            <p:cNvPr id="10" name="Picture 9"/>
            <p:cNvPicPr>
              <a:picLocks noChangeAspect="1"/>
            </p:cNvPicPr>
            <p:nvPr/>
          </p:nvPicPr>
          <p:blipFill>
            <a:blip r:embed="rId3" cstate="print"/>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200"/>
            </a:lvl1pPr>
            <a:lvl2pPr marL="0" indent="0">
              <a:buNone/>
              <a:defRPr sz="2000"/>
            </a:lvl2pPr>
            <a:lvl3pPr marL="231775" indent="0">
              <a:buNone/>
              <a:defRPr sz="2000"/>
            </a:lvl3pPr>
            <a:lvl4pPr marL="460375"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072531"/>
            <a:ext cx="5486399" cy="849463"/>
          </a:xfrm>
        </p:spPr>
        <p:txBody>
          <a:bodyPr anchor="ctr">
            <a:spAutoFit/>
          </a:bodyPr>
          <a:lstStyle>
            <a:lvl1pPr>
              <a:defRPr sz="48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pic>
        <p:nvPicPr>
          <p:cNvPr id="3" name="Picture 2"/>
          <p:cNvPicPr>
            <a:picLocks noChangeAspect="1"/>
          </p:cNvPicPr>
          <p:nvPr userDrawn="1"/>
        </p:nvPicPr>
        <p:blipFill rotWithShape="1">
          <a:blip r:embed="rId3" cstate="screen"/>
          <a:srcRect/>
          <a:stretch>
            <a:fillRect/>
          </a:stretch>
        </p:blipFill>
        <p:spPr>
          <a:xfrm>
            <a:off x="5441315" y="0"/>
            <a:ext cx="6995160" cy="6995160"/>
          </a:xfrm>
          <a:prstGeom prst="rect">
            <a:avLst/>
          </a:prstGeom>
        </p:spPr>
      </p:pic>
    </p:spTree>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a:p>
          </p:txBody>
        </p:sp>
      </p:gr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4"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5"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6"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64" name="think-cell Slide" r:id="rId4" imgW="12700" imgH="12700" progId="TCLayout.ActiveDocument.1">
                  <p:embed/>
                </p:oleObj>
              </mc:Choice>
              <mc:Fallback>
                <p:oleObj name="think-cell Slide" r:id="rId4" imgW="12700" imgH="12700" progId="TCLayout.ActiveDocument.1">
                  <p:embed/>
                  <p:pic>
                    <p:nvPicPr>
                      <p:cNvPr id="0"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900"/>
              </a:lnSpc>
              <a:defRPr sz="3600" baseline="0">
                <a:solidFill>
                  <a:srgbClr val="0078D7"/>
                </a:solidFill>
              </a:defRPr>
            </a:lvl1pPr>
          </a:lstStyle>
          <a:p>
            <a:r>
              <a:rPr lang="en-US"/>
              <a:t>Lorem ipsum dolor sit.</a:t>
            </a:r>
          </a:p>
        </p:txBody>
      </p:sp>
      <p:sp>
        <p:nvSpPr>
          <p:cNvPr id="9" name="Footer Placeholder 2"/>
          <p:cNvSpPr>
            <a:spLocks noGrp="1"/>
          </p:cNvSpPr>
          <p:nvPr>
            <p:ph type="ftr" sz="quarter" idx="3"/>
          </p:nvPr>
        </p:nvSpPr>
        <p:spPr>
          <a:xfrm>
            <a:off x="603506" y="6680712"/>
            <a:ext cx="2872941" cy="137160"/>
          </a:xfrm>
          <a:prstGeom prst="rect">
            <a:avLst/>
          </a:prstGeom>
        </p:spPr>
        <p:txBody>
          <a:bodyPr anchor="ctr"/>
          <a:lstStyle>
            <a:lvl1pPr algn="l">
              <a:defRPr sz="900">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305717" y="6680712"/>
            <a:ext cx="566737" cy="137160"/>
          </a:xfrm>
          <a:prstGeom prst="rect">
            <a:avLst/>
          </a:prstGeom>
        </p:spPr>
        <p:txBody>
          <a:bodyPr anchor="ctr"/>
          <a:lstStyle>
            <a:lvl1pPr algn="r">
              <a:defRPr sz="900">
                <a:solidFill>
                  <a:schemeClr val="tx2"/>
                </a:solidFill>
              </a:defRPr>
            </a:lvl1pPr>
          </a:lstStyle>
          <a:p>
            <a:fld id="{27258FFF-F925-446B-8502-81C933981705}"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4"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5"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6"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8" name="Picture 7"/>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8" name="Picture 7"/>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Dual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userDrawn="1"/>
        </p:nvSpPr>
        <p:spPr>
          <a:xfrm>
            <a:off x="0" y="495709"/>
            <a:ext cx="12436475" cy="5831001"/>
          </a:xfrm>
          <a:prstGeom prst="rect">
            <a:avLst/>
          </a:prstGeom>
          <a:gradFill>
            <a:gsLst>
              <a:gs pos="85000">
                <a:srgbClr val="000000">
                  <a:alpha val="50000"/>
                </a:srgbClr>
              </a:gs>
              <a:gs pos="0">
                <a:schemeClr val="tx1">
                  <a:alpha val="65000"/>
                </a:schemeClr>
              </a:gs>
              <a:gs pos="15000">
                <a:schemeClr val="tx1">
                  <a:alpha val="50000"/>
                </a:schemeClr>
              </a:gs>
              <a:gs pos="100000">
                <a:schemeClr val="tx1">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a:ln>
                <a:noFill/>
              </a:ln>
            </a:endParaRPr>
          </a:p>
        </p:txBody>
      </p:sp>
      <p:sp>
        <p:nvSpPr>
          <p:cNvPr id="6" name="Content Placeholder 2"/>
          <p:cNvSpPr>
            <a:spLocks noGrp="1"/>
          </p:cNvSpPr>
          <p:nvPr>
            <p:ph idx="10"/>
          </p:nvPr>
        </p:nvSpPr>
        <p:spPr>
          <a:xfrm>
            <a:off x="855008" y="1153674"/>
            <a:ext cx="5233683" cy="2511457"/>
          </a:xfrm>
        </p:spPr>
        <p:txBody>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1"/>
          </p:nvPr>
        </p:nvSpPr>
        <p:spPr>
          <a:xfrm>
            <a:off x="6284379" y="1153674"/>
            <a:ext cx="5297090" cy="2511457"/>
          </a:xfrm>
        </p:spPr>
        <p:txBody>
          <a:bodyPr/>
          <a:lstStyle>
            <a:lvl1pPr>
              <a:lnSpc>
                <a:spcPct val="100000"/>
              </a:lnSpc>
              <a:defRPr>
                <a:latin typeface="+mn-lt"/>
              </a:defRPr>
            </a:lvl1pPr>
            <a:lvl2pPr>
              <a:lnSpc>
                <a:spcPct val="100000"/>
              </a:lnSpc>
              <a:defRPr>
                <a:latin typeface="+mn-lt"/>
              </a:defRPr>
            </a:lvl2pPr>
            <a:lvl3pPr>
              <a:lnSpc>
                <a:spcPct val="100000"/>
              </a:lnSpc>
              <a:defRPr>
                <a:latin typeface="+mn-lt"/>
              </a:defRPr>
            </a:lvl3pPr>
            <a:lvl4pPr>
              <a:lnSpc>
                <a:spcPct val="100000"/>
              </a:lnSpc>
              <a:defRPr>
                <a:latin typeface="+mn-lt"/>
              </a:defRPr>
            </a:lvl4pPr>
            <a:lvl5pPr>
              <a:lnSpc>
                <a:spcPct val="100000"/>
              </a:lnSpc>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p:cNvSpPr>
            <a:spLocks noGrp="1"/>
          </p:cNvSpPr>
          <p:nvPr>
            <p:ph type="title"/>
          </p:nvPr>
        </p:nvSpPr>
        <p:spPr>
          <a:xfrm>
            <a:off x="855008" y="495709"/>
            <a:ext cx="10726460" cy="631188"/>
          </a:xfrm>
          <a:prstGeom prst="rect">
            <a:avLst/>
          </a:prstGeom>
        </p:spPr>
        <p:txBody>
          <a:bodyPr vert="horz" lIns="91440" tIns="45720" rIns="91440" bIns="45720" rtlCol="0" anchor="ctr">
            <a:normAutofit/>
          </a:bodyPr>
          <a:lstStyle>
            <a:lvl1pPr>
              <a:defRPr>
                <a:solidFill>
                  <a:srgbClr val="04B4EF"/>
                </a:solidFill>
                <a:latin typeface="+mn-lt"/>
              </a:defRPr>
            </a:lvl1pPr>
          </a:lstStyle>
          <a:p>
            <a:r>
              <a:rPr lang="en-US" dirty="0"/>
              <a:t>Click to edit Master title style</a:t>
            </a:r>
          </a:p>
        </p:txBody>
      </p:sp>
    </p:spTree>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5"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95"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stretch>
            <a:fillRect/>
          </a:stretch>
        </p:blipFill>
        <p:spPr>
          <a:xfrm>
            <a:off x="457583" y="6243237"/>
            <a:ext cx="1280160" cy="27449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5">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95"/>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195">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195">
                <a:gradFill>
                  <a:gsLst>
                    <a:gs pos="1250">
                      <a:schemeClr val="tx2"/>
                    </a:gs>
                    <a:gs pos="99000">
                      <a:schemeClr val="tx2"/>
                    </a:gs>
                  </a:gsLst>
                  <a:lin ang="5400000" scaled="0"/>
                </a:gradFill>
              </a:defRPr>
            </a:lvl1pPr>
            <a:lvl2pPr marL="0" indent="0">
              <a:buNone/>
              <a:defRPr sz="2000"/>
            </a:lvl2pPr>
            <a:lvl3pPr marL="231775" indent="0">
              <a:buNone/>
              <a:defRPr sz="2000"/>
            </a:lvl3pPr>
            <a:lvl4pPr marL="460375"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195"/>
            </a:lvl1pPr>
            <a:lvl2pPr marL="0" indent="0">
              <a:buNone/>
              <a:defRPr sz="2000"/>
            </a:lvl2pPr>
            <a:lvl3pPr marL="231775" indent="0">
              <a:buNone/>
              <a:defRPr sz="2000"/>
            </a:lvl3pPr>
            <a:lvl4pPr marL="460375"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5"/>
              </a:spcBef>
              <a:buClr>
                <a:schemeClr val="tx1"/>
              </a:buClr>
              <a:buFont typeface="Wingdings" panose="05000000000000000000" pitchFamily="2" charset="2"/>
              <a:buNone/>
              <a:defRPr sz="3195"/>
            </a:lvl1pPr>
            <a:lvl2pPr marL="0" indent="0">
              <a:buNone/>
              <a:defRPr sz="2000"/>
            </a:lvl2pPr>
            <a:lvl3pPr marL="231775" indent="0">
              <a:buNone/>
              <a:defRPr sz="2000"/>
            </a:lvl3pPr>
            <a:lvl4pPr marL="460375" indent="0">
              <a:buNone/>
              <a:defRPr/>
            </a:lvl4pPr>
            <a:lvl5pPr marL="68516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020" indent="-287020">
              <a:spcBef>
                <a:spcPts val="1225"/>
              </a:spcBef>
              <a:buClr>
                <a:schemeClr val="tx2"/>
              </a:buClr>
              <a:buFont typeface="Arial" panose="020B0604020202020204" pitchFamily="34" charset="0"/>
              <a:buChar char="•"/>
              <a:defRPr sz="3195">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0975">
              <a:defRPr/>
            </a:lvl4pPr>
            <a:lvl5pPr marL="1049020"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020" indent="-287020">
              <a:spcBef>
                <a:spcPts val="1225"/>
              </a:spcBef>
              <a:buClr>
                <a:schemeClr val="tx2"/>
              </a:buClr>
              <a:buFont typeface="Arial" panose="020B0604020202020204" pitchFamily="34" charset="0"/>
              <a:buChar char="•"/>
              <a:defRPr sz="3195">
                <a:gradFill>
                  <a:gsLst>
                    <a:gs pos="1250">
                      <a:schemeClr val="tx2"/>
                    </a:gs>
                    <a:gs pos="99000">
                      <a:schemeClr val="tx2"/>
                    </a:gs>
                  </a:gsLst>
                  <a:lin ang="5400000" scaled="0"/>
                </a:gradFill>
              </a:defRPr>
            </a:lvl1pPr>
            <a:lvl2pPr marL="530860" indent="-233045">
              <a:defRPr sz="2400"/>
            </a:lvl2pPr>
            <a:lvl3pPr marL="699135" indent="-168275">
              <a:defRPr sz="2000"/>
            </a:lvl3pPr>
            <a:lvl4pPr marL="880745" indent="-180975">
              <a:defRPr/>
            </a:lvl4pPr>
            <a:lvl5pPr marL="1049020"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2425279"/>
          </a:xfrm>
        </p:spPr>
        <p:txBody>
          <a:bodyPr wrap="square">
            <a:spAutoFit/>
          </a:bodyPr>
          <a:lstStyle>
            <a:lvl1pPr marL="287020" indent="-287020">
              <a:spcBef>
                <a:spcPts val="1225"/>
              </a:spcBef>
              <a:buClr>
                <a:schemeClr val="tx1"/>
              </a:buClr>
              <a:buFont typeface="Arial" panose="020B0604020202020204" pitchFamily="34" charset="0"/>
              <a:buChar char="•"/>
              <a:defRPr sz="3195"/>
            </a:lvl1pPr>
            <a:lvl2pPr marL="530860" indent="-233045">
              <a:defRPr sz="2400"/>
            </a:lvl2pPr>
            <a:lvl3pPr marL="699135" indent="-168275">
              <a:defRPr sz="2000"/>
            </a:lvl3pPr>
            <a:lvl4pPr marL="880745" indent="-180975">
              <a:defRPr/>
            </a:lvl4pPr>
            <a:lvl5pPr marL="1049020"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020" indent="-287020">
              <a:spcBef>
                <a:spcPts val="1225"/>
              </a:spcBef>
              <a:buClr>
                <a:schemeClr val="tx1"/>
              </a:buClr>
              <a:buFont typeface="Arial" panose="020B0604020202020204" pitchFamily="34" charset="0"/>
              <a:buChar char="•"/>
              <a:defRPr sz="3195"/>
            </a:lvl1pPr>
            <a:lvl2pPr marL="530860" indent="-233045">
              <a:defRPr sz="2400"/>
            </a:lvl2pPr>
            <a:lvl3pPr marL="699135" indent="-168275">
              <a:defRPr sz="2000"/>
            </a:lvl3pPr>
            <a:lvl4pPr marL="880745" indent="-180975">
              <a:defRPr/>
            </a:lvl4pPr>
            <a:lvl5pPr marL="1049020"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6"/>
            <a:ext cx="10056812" cy="1181862"/>
          </a:xfrm>
          <a:noFill/>
        </p:spPr>
        <p:txBody>
          <a:bodyPr tIns="91440" bIns="91440" anchor="t" anchorCtr="0">
            <a:spAutoFit/>
          </a:bodyPr>
          <a:lstStyle>
            <a:lvl1pPr>
              <a:defRPr sz="7195"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1" y="3954463"/>
            <a:ext cx="10058401" cy="738664"/>
          </a:xfrm>
          <a:noFill/>
        </p:spPr>
        <p:txBody>
          <a:bodyPr lIns="182880" tIns="146304" rIns="182880" bIns="146304">
            <a:spAutoFit/>
          </a:bodyPr>
          <a:lstStyle>
            <a:lvl1pPr marL="0" indent="0">
              <a:spcBef>
                <a:spcPts val="0"/>
              </a:spcBef>
              <a:buNone/>
              <a:defRPr sz="3195"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195"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0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0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7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2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3"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3" y="3145040"/>
            <a:ext cx="3291840" cy="705834"/>
          </a:xfrm>
          <a:prstGeom prst="rect">
            <a:avLst/>
          </a:prstGeom>
        </p:spPr>
      </p:pic>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spAutoFit/>
          </a:bodyPr>
          <a:lstStyle/>
          <a:p>
            <a:pPr marL="0" marR="0" lvl="0" indent="0" algn="l" defTabSz="931545"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panose="020B0502040204020203"/>
                <a:ea typeface="+mn-ea"/>
                <a:cs typeface="Segoe UI" panose="020B0502040204020203" pitchFamily="34" charset="0"/>
              </a:rPr>
              <a:t>© 2017 Microsoft Corporation. All rights reserved. </a:t>
            </a:r>
          </a:p>
        </p:txBody>
      </p:sp>
    </p:spTree>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59235" y="3145040"/>
            <a:ext cx="3291840" cy="705836"/>
          </a:xfrm>
          <a:prstGeom prst="rect">
            <a:avLst/>
          </a:prstGeom>
        </p:spPr>
      </p:pic>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82802" tIns="146241" rIns="182802" bIns="146241" numCol="1" anchor="t" anchorCtr="0" compatLnSpc="1">
            <a:spAutoFit/>
          </a:bodyPr>
          <a:lstStyle/>
          <a:p>
            <a:pPr marL="0" marR="0" lvl="0" indent="0" algn="l" defTabSz="931545"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rPr>
              <a:t>© 2017 Microsoft Corporation. All rights reserved. </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59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0865" indent="-280670">
              <a:buClr>
                <a:schemeClr val="tx1"/>
              </a:buClr>
              <a:buSzPct val="90000"/>
              <a:buFont typeface="Arial" panose="020B0604020202020204" pitchFamily="34" charset="0"/>
              <a:buChar char="•"/>
              <a:defRPr sz="3195">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26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695"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3"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cSld name="3_Custom Layou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317389" y="948965"/>
            <a:ext cx="5603455" cy="1866217"/>
          </a:xfrm>
          <a:prstGeom prst="rect">
            <a:avLst/>
          </a:prstGeom>
          <a:ln>
            <a:solidFill>
              <a:schemeClr val="tx1">
                <a:lumMod val="60000"/>
                <a:lumOff val="40000"/>
              </a:schemeClr>
            </a:solidFill>
          </a:ln>
        </p:spPr>
        <p:txBody>
          <a:bodyPr/>
          <a:lstStyle>
            <a:lvl1pPr marL="229870" indent="-229870">
              <a:spcBef>
                <a:spcPts val="1225"/>
              </a:spcBef>
              <a:defRPr sz="1835" spc="0">
                <a:solidFill>
                  <a:schemeClr val="tx1"/>
                </a:solidFill>
                <a:latin typeface="+mn-lt"/>
                <a:cs typeface="Segoe UI" panose="020B0502040204020203" pitchFamily="34" charset="0"/>
              </a:defRPr>
            </a:lvl1pPr>
            <a:lvl2pPr marL="473075" indent="-242570">
              <a:spcBef>
                <a:spcPts val="815"/>
              </a:spcBef>
              <a:buFont typeface="Wingdings" panose="05000000000000000000" pitchFamily="2" charset="2"/>
              <a:buChar char="ü"/>
              <a:defRPr sz="1835" spc="0">
                <a:solidFill>
                  <a:schemeClr val="tx1"/>
                </a:solidFill>
                <a:latin typeface="+mn-lt"/>
                <a:cs typeface="Segoe UI" panose="020B0502040204020203" pitchFamily="34" charset="0"/>
              </a:defRPr>
            </a:lvl2pPr>
            <a:lvl3pPr marL="702945" indent="-229870">
              <a:spcBef>
                <a:spcPts val="815"/>
              </a:spcBef>
              <a:buFont typeface="Courier New" panose="02070309020205020404" pitchFamily="49" charset="0"/>
              <a:buChar char="o"/>
              <a:defRPr sz="1835" spc="0">
                <a:solidFill>
                  <a:schemeClr val="tx1"/>
                </a:solidFill>
                <a:latin typeface="+mn-lt"/>
                <a:cs typeface="Segoe UI" panose="020B0502040204020203" pitchFamily="34" charset="0"/>
              </a:defRPr>
            </a:lvl3pPr>
            <a:lvl4pPr marL="932815" indent="-229870">
              <a:spcBef>
                <a:spcPts val="815"/>
              </a:spcBef>
              <a:buFont typeface="Wingdings" panose="05000000000000000000" pitchFamily="2" charset="2"/>
              <a:buChar char="Ø"/>
              <a:defRPr sz="1835" spc="0">
                <a:solidFill>
                  <a:schemeClr val="tx1"/>
                </a:solidFill>
                <a:latin typeface="+mn-lt"/>
                <a:cs typeface="Segoe UI" panose="020B0502040204020203" pitchFamily="34" charset="0"/>
              </a:defRPr>
            </a:lvl4pPr>
            <a:lvl5pPr marL="1162685" indent="-229870">
              <a:spcBef>
                <a:spcPts val="815"/>
              </a:spcBef>
              <a:buFont typeface="Wingdings" panose="05000000000000000000" pitchFamily="2" charset="2"/>
              <a:buChar char="v"/>
              <a:defRPr sz="1835" spc="0">
                <a:solidFill>
                  <a:schemeClr val="tx1"/>
                </a:solidFill>
                <a:latin typeface="+mn-lt"/>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p:cNvSpPr>
            <a:spLocks noGrp="1"/>
          </p:cNvSpPr>
          <p:nvPr>
            <p:ph type="body" sz="quarter" idx="13"/>
          </p:nvPr>
        </p:nvSpPr>
        <p:spPr>
          <a:xfrm>
            <a:off x="6441285" y="948965"/>
            <a:ext cx="5684278" cy="1681807"/>
          </a:xfrm>
          <a:prstGeom prst="rect">
            <a:avLst/>
          </a:prstGeom>
          <a:ln>
            <a:solidFill>
              <a:schemeClr val="tx1">
                <a:lumMod val="60000"/>
                <a:lumOff val="40000"/>
              </a:schemeClr>
            </a:solidFill>
          </a:ln>
        </p:spPr>
        <p:txBody>
          <a:bodyPr/>
          <a:lstStyle>
            <a:lvl1pPr marL="229870" indent="-229870">
              <a:spcBef>
                <a:spcPts val="1835"/>
              </a:spcBef>
              <a:defRPr sz="1835" spc="0">
                <a:solidFill>
                  <a:schemeClr val="tx1"/>
                </a:solidFill>
                <a:latin typeface="+mn-lt"/>
                <a:cs typeface="Segoe UI" panose="020B0502040204020203" pitchFamily="34" charset="0"/>
              </a:defRPr>
            </a:lvl1pPr>
            <a:lvl2pPr marL="473075" indent="-242570">
              <a:buFont typeface="Wingdings" panose="05000000000000000000" pitchFamily="2" charset="2"/>
              <a:buChar char="ü"/>
              <a:defRPr sz="1835" spc="0">
                <a:solidFill>
                  <a:schemeClr val="tx1"/>
                </a:solidFill>
                <a:latin typeface="+mn-lt"/>
                <a:cs typeface="Segoe UI" panose="020B0502040204020203" pitchFamily="34" charset="0"/>
              </a:defRPr>
            </a:lvl2pPr>
            <a:lvl3pPr marL="702945" indent="-229870">
              <a:buFont typeface="Courier New" panose="02070309020205020404" pitchFamily="49" charset="0"/>
              <a:buChar char="o"/>
              <a:defRPr sz="1835" spc="0">
                <a:solidFill>
                  <a:schemeClr val="tx1"/>
                </a:solidFill>
                <a:latin typeface="+mn-lt"/>
                <a:cs typeface="Segoe UI" panose="020B0502040204020203" pitchFamily="34" charset="0"/>
              </a:defRPr>
            </a:lvl3pPr>
            <a:lvl4pPr marL="932815" indent="-229870">
              <a:buFont typeface="Wingdings" panose="05000000000000000000" pitchFamily="2" charset="2"/>
              <a:buChar char="Ø"/>
              <a:defRPr sz="1835" spc="0">
                <a:solidFill>
                  <a:schemeClr val="tx1"/>
                </a:solidFill>
                <a:latin typeface="+mn-lt"/>
                <a:cs typeface="Segoe UI" panose="020B0502040204020203" pitchFamily="34" charset="0"/>
              </a:defRPr>
            </a:lvl4pPr>
            <a:lvl5pPr marL="1162685" indent="-229870">
              <a:buFont typeface="Wingdings" panose="05000000000000000000" pitchFamily="2" charset="2"/>
              <a:buChar char="v"/>
              <a:defRPr sz="1835" spc="0">
                <a:solidFill>
                  <a:schemeClr val="tx1"/>
                </a:solidFill>
                <a:latin typeface="+mn-lt"/>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317192" y="78677"/>
            <a:ext cx="11808371" cy="747578"/>
          </a:xfrm>
        </p:spPr>
        <p:txBody>
          <a:bodyPr/>
          <a:lstStyle>
            <a:lvl1pPr>
              <a:defRPr sz="3265" b="0" spc="0">
                <a:solidFill>
                  <a:schemeClr val="accent2"/>
                </a:solidFill>
                <a:latin typeface="+mj-lt"/>
              </a:defRPr>
            </a:lvl1pPr>
          </a:lstStyle>
          <a:p>
            <a:r>
              <a:rPr lang="en-US"/>
              <a:t>Click to edit Master title style</a:t>
            </a:r>
          </a:p>
        </p:txBody>
      </p:sp>
    </p:spTree>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3"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a:t>Edit Master text styles</a:t>
            </a:r>
          </a:p>
          <a:p>
            <a:pPr marL="514350" marR="0" lvl="1" indent="-514350" algn="l" defTabSz="932180" rtl="0" eaLnBrk="1" fontAlgn="auto" latinLnBrk="0" hangingPunct="1">
              <a:lnSpc>
                <a:spcPct val="90000"/>
              </a:lnSpc>
              <a:spcBef>
                <a:spcPts val="1225"/>
              </a:spcBef>
              <a:spcAft>
                <a:spcPts val="0"/>
              </a:spcAft>
              <a:buClr>
                <a:schemeClr val="tx1"/>
              </a:buClr>
              <a:buSzPct val="90000"/>
            </a:pPr>
            <a:r>
              <a:rPr lang="en-US"/>
              <a:t>Second level</a:t>
            </a:r>
          </a:p>
          <a:p>
            <a:pPr marL="514350" marR="0" lvl="2" indent="-514350" algn="l" defTabSz="932180" rtl="0" eaLnBrk="1" fontAlgn="auto" latinLnBrk="0" hangingPunct="1">
              <a:lnSpc>
                <a:spcPct val="90000"/>
              </a:lnSpc>
              <a:spcBef>
                <a:spcPts val="1225"/>
              </a:spcBef>
              <a:spcAft>
                <a:spcPts val="0"/>
              </a:spcAft>
              <a:buClr>
                <a:schemeClr val="tx1"/>
              </a:buClr>
              <a:buSzPct val="90000"/>
            </a:pPr>
            <a:r>
              <a:rPr lang="en-US"/>
              <a:t>Third level</a:t>
            </a:r>
          </a:p>
          <a:p>
            <a:pPr marL="514350" marR="0" lvl="3" indent="-514350" algn="l" defTabSz="932180" rtl="0" eaLnBrk="1" fontAlgn="auto" latinLnBrk="0" hangingPunct="1">
              <a:lnSpc>
                <a:spcPct val="90000"/>
              </a:lnSpc>
              <a:spcBef>
                <a:spcPts val="1225"/>
              </a:spcBef>
              <a:spcAft>
                <a:spcPts val="0"/>
              </a:spcAft>
              <a:buClr>
                <a:schemeClr val="tx1"/>
              </a:buClr>
              <a:buSzPct val="90000"/>
            </a:pPr>
            <a:r>
              <a:rPr lang="en-US"/>
              <a:t>Fourth level</a:t>
            </a:r>
          </a:p>
          <a:p>
            <a:pPr marL="514350" marR="0" lvl="4" indent="-514350" algn="l" defTabSz="932180" rtl="0" eaLnBrk="1" fontAlgn="auto" latinLnBrk="0" hangingPunct="1">
              <a:lnSpc>
                <a:spcPct val="90000"/>
              </a:lnSpc>
              <a:spcBef>
                <a:spcPts val="1225"/>
              </a:spcBef>
              <a:spcAft>
                <a:spcPts val="0"/>
              </a:spcAft>
              <a:buClr>
                <a:schemeClr val="tx1"/>
              </a:buClr>
              <a:buSzPct val="90000"/>
            </a:pPr>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Edit Master text styles</a:t>
            </a:r>
          </a:p>
          <a:p>
            <a:pPr marL="231775" marR="0" lvl="1"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Second level</a:t>
            </a:r>
          </a:p>
          <a:p>
            <a:pPr marL="231775" marR="0" lvl="2"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Third level</a:t>
            </a:r>
          </a:p>
          <a:p>
            <a:pPr marL="231775" marR="0" lvl="3"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ourth level</a:t>
            </a:r>
          </a:p>
          <a:p>
            <a:pPr marL="231775" marR="0" lvl="4"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765" rtl="0" eaLnBrk="1" fontAlgn="auto" latinLnBrk="0" hangingPunct="1">
              <a:lnSpc>
                <a:spcPct val="100000"/>
              </a:lnSpc>
              <a:spcBef>
                <a:spcPct val="0"/>
              </a:spcBef>
              <a:spcAft>
                <a:spcPts val="0"/>
              </a:spcAft>
              <a:buClrTx/>
              <a:buSzTx/>
              <a:defRPr/>
            </a:pPr>
            <a:r>
              <a:rPr lang="en-US" dirty="0"/>
              <a:t>Click to edit</a:t>
            </a:r>
            <a:br>
              <a:rPr lang="en-US" dirty="0"/>
            </a:br>
            <a:r>
              <a:rPr lang="en-US" dirty="0"/>
              <a:t>Master text styles</a:t>
            </a:r>
          </a:p>
        </p:txBody>
      </p:sp>
    </p:spTree>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Purple half">
    <p:spTree>
      <p:nvGrpSpPr>
        <p:cNvPr id="1" name=""/>
        <p:cNvGrpSpPr/>
        <p:nvPr/>
      </p:nvGrpSpPr>
      <p:grpSpPr>
        <a:xfrm>
          <a:off x="0" y="0"/>
          <a:ext cx="0" cy="0"/>
          <a:chOff x="0" y="0"/>
          <a:chExt cx="0" cy="0"/>
        </a:xfrm>
      </p:grpSpPr>
      <p:sp>
        <p:nvSpPr>
          <p:cNvPr id="7" name="Rectangle 6"/>
          <p:cNvSpPr/>
          <p:nvPr userDrawn="1"/>
        </p:nvSpPr>
        <p:spPr bwMode="auto">
          <a:xfrm>
            <a:off x="-19878" y="496"/>
            <a:ext cx="6565123" cy="6994029"/>
          </a:xfrm>
          <a:prstGeom prst="rect">
            <a:avLst/>
          </a:prstGeom>
          <a:solidFill>
            <a:srgbClr val="6A3F9A"/>
          </a:solidFill>
          <a:ln w="12700" cap="flat" cmpd="sng" algn="ctr">
            <a:noFill/>
            <a:prstDash val="solid"/>
            <a:miter lim="800000"/>
            <a:headEnd type="none" w="med" len="med"/>
            <a:tailEnd type="none" w="med" len="med"/>
          </a:ln>
          <a:effectLst/>
        </p:spPr>
        <p:txBody>
          <a:bodyPr vert="horz" wrap="square" lIns="214793" tIns="1051113" rIns="91401" bIns="73121" numCol="1" rtlCol="0" anchor="t" anchorCtr="0" compatLnSpc="1"/>
          <a:lstStyle/>
          <a:p>
            <a:pPr marL="0" marR="0" lvl="0" indent="0" algn="l" defTabSz="465455" rtl="0" eaLnBrk="1" fontAlgn="auto" latinLnBrk="0" hangingPunct="1">
              <a:lnSpc>
                <a:spcPct val="90000"/>
              </a:lnSpc>
              <a:spcBef>
                <a:spcPts val="900"/>
              </a:spcBef>
              <a:spcAft>
                <a:spcPts val="0"/>
              </a:spcAft>
              <a:buClrTx/>
              <a:buSzTx/>
              <a:buFontTx/>
              <a:buNone/>
              <a:defRPr/>
            </a:pPr>
            <a:endParaRPr kumimoji="0" lang="en-US" sz="1600"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MS PGothic" panose="020B0600070205080204" charset="-128"/>
              <a:cs typeface="+mn-cs"/>
            </a:endParaRPr>
          </a:p>
          <a:p>
            <a:pPr marL="0" marR="0" lvl="0" indent="0" algn="l" defTabSz="465455" rtl="0" eaLnBrk="1" fontAlgn="auto" latinLnBrk="0" hangingPunct="1">
              <a:lnSpc>
                <a:spcPct val="90000"/>
              </a:lnSpc>
              <a:spcBef>
                <a:spcPts val="900"/>
              </a:spcBef>
              <a:spcAft>
                <a:spcPts val="0"/>
              </a:spcAft>
              <a:buClrTx/>
              <a:buSzTx/>
              <a:buFontTx/>
              <a:buNone/>
              <a:defRPr/>
            </a:pPr>
            <a:endParaRPr kumimoji="0" lang="en-US" sz="1600"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MS PGothic" panose="020B0600070205080204" charset="-128"/>
              <a:cs typeface="+mn-cs"/>
            </a:endParaRPr>
          </a:p>
          <a:p>
            <a:pPr marL="0" marR="0" lvl="0" indent="0" algn="l" defTabSz="465455" rtl="0" eaLnBrk="1" fontAlgn="auto" latinLnBrk="0" hangingPunct="1">
              <a:lnSpc>
                <a:spcPct val="90000"/>
              </a:lnSpc>
              <a:spcBef>
                <a:spcPts val="900"/>
              </a:spcBef>
              <a:spcAft>
                <a:spcPts val="0"/>
              </a:spcAft>
              <a:buClrTx/>
              <a:buSzTx/>
              <a:buFontTx/>
              <a:buNone/>
              <a:defRPr/>
            </a:pPr>
            <a:endParaRPr kumimoji="0" lang="en-US" sz="1600" b="0" i="0" u="none" strike="noStrike" kern="0" cap="none" spc="0" normalizeH="0" baseline="0" noProof="0" dirty="0">
              <a:ln>
                <a:noFill/>
              </a:ln>
              <a:gradFill>
                <a:gsLst>
                  <a:gs pos="100000">
                    <a:srgbClr val="FFFFFF"/>
                  </a:gs>
                  <a:gs pos="0">
                    <a:srgbClr val="FFFFFF"/>
                  </a:gs>
                </a:gsLst>
                <a:lin ang="5400000" scaled="0"/>
              </a:gradFill>
              <a:effectLst/>
              <a:uLnTx/>
              <a:uFillTx/>
              <a:latin typeface="Calibri" panose="020F0502020204030204"/>
              <a:ea typeface="MS PGothic" panose="020B0600070205080204" charset="-128"/>
              <a:cs typeface="+mn-cs"/>
            </a:endParaRPr>
          </a:p>
          <a:p>
            <a:pPr marL="0" marR="0" lvl="0" indent="0" algn="l" defTabSz="465455" rtl="0" eaLnBrk="1" fontAlgn="auto" latinLnBrk="0" hangingPunct="1">
              <a:lnSpc>
                <a:spcPct val="90000"/>
              </a:lnSpc>
              <a:spcBef>
                <a:spcPts val="900"/>
              </a:spcBef>
              <a:spcAft>
                <a:spcPts val="0"/>
              </a:spcAft>
              <a:buClrTx/>
              <a:buSzTx/>
              <a:buFontTx/>
              <a:buNone/>
              <a:defRPr/>
            </a:pPr>
            <a:endParaRPr kumimoji="0" lang="en-US" sz="1600" b="0" i="0" u="none" strike="noStrike" kern="0" cap="none" spc="0" normalizeH="0" baseline="0" noProof="0" dirty="0">
              <a:ln>
                <a:noFill/>
              </a:ln>
              <a:gradFill>
                <a:gsLst>
                  <a:gs pos="100000">
                    <a:srgbClr val="FFFFFF"/>
                  </a:gs>
                  <a:gs pos="0">
                    <a:srgbClr val="FFFFFF"/>
                  </a:gs>
                </a:gsLst>
                <a:lin ang="5400000" scaled="0"/>
              </a:gradFill>
              <a:effectLst/>
              <a:uLnTx/>
              <a:uFillTx/>
              <a:latin typeface="Segoe UI Light" panose="020B0502040204020203"/>
              <a:ea typeface="MS PGothic" panose="020B0600070205080204" charset="-128"/>
              <a:cs typeface="+mn-cs"/>
            </a:endParaRPr>
          </a:p>
        </p:txBody>
      </p:sp>
      <p:sp>
        <p:nvSpPr>
          <p:cNvPr id="13" name="Text Placeholder 5"/>
          <p:cNvSpPr>
            <a:spLocks noGrp="1"/>
          </p:cNvSpPr>
          <p:nvPr>
            <p:ph type="body" sz="quarter" idx="13"/>
          </p:nvPr>
        </p:nvSpPr>
        <p:spPr>
          <a:xfrm>
            <a:off x="565800" y="2004426"/>
            <a:ext cx="5050046" cy="574675"/>
          </a:xfrm>
          <a:prstGeom prst="rect">
            <a:avLst/>
          </a:prstGeom>
        </p:spPr>
        <p:txBody>
          <a:bodyPr lIns="192024">
            <a:normAutofit/>
          </a:bodyPr>
          <a:lstStyle>
            <a:lvl1pPr marL="0" indent="0">
              <a:buNone/>
              <a:defRPr lang="en-US" sz="2755" kern="1200" smtClean="0">
                <a:solidFill>
                  <a:schemeClr val="bg1"/>
                </a:solidFill>
                <a:latin typeface="Segoe UI Light" panose="020B0502040204020203" pitchFamily="34" charset="0"/>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dirty="0"/>
              <a:t>Click to edit Master text styles</a:t>
            </a:r>
          </a:p>
        </p:txBody>
      </p:sp>
      <p:sp>
        <p:nvSpPr>
          <p:cNvPr id="14" name="Title 2"/>
          <p:cNvSpPr>
            <a:spLocks noGrp="1"/>
          </p:cNvSpPr>
          <p:nvPr>
            <p:ph type="title"/>
          </p:nvPr>
        </p:nvSpPr>
        <p:spPr>
          <a:xfrm>
            <a:off x="565800" y="695995"/>
            <a:ext cx="5050046" cy="789455"/>
          </a:xfrm>
          <a:prstGeom prst="rect">
            <a:avLst/>
          </a:prstGeom>
        </p:spPr>
        <p:txBody>
          <a:bodyPr>
            <a:normAutofit/>
          </a:bodyPr>
          <a:lstStyle>
            <a:lvl1pPr algn="l">
              <a:defRPr sz="4895" b="0">
                <a:solidFill>
                  <a:schemeClr val="bg1"/>
                </a:solidFill>
                <a:latin typeface="Segoe UI Light" panose="020B0502040204020203" pitchFamily="34" charset="0"/>
              </a:defRPr>
            </a:lvl1pPr>
          </a:lstStyle>
          <a:p>
            <a:r>
              <a:rPr lang="en-US" dirty="0"/>
              <a:t>Click to edit Master title style</a:t>
            </a:r>
          </a:p>
        </p:txBody>
      </p:sp>
      <p:sp>
        <p:nvSpPr>
          <p:cNvPr id="16" name="Text Placeholder 15"/>
          <p:cNvSpPr>
            <a:spLocks noGrp="1"/>
          </p:cNvSpPr>
          <p:nvPr>
            <p:ph type="body" sz="quarter" idx="14"/>
          </p:nvPr>
        </p:nvSpPr>
        <p:spPr>
          <a:xfrm>
            <a:off x="565957" y="2924100"/>
            <a:ext cx="5049889" cy="3516692"/>
          </a:xfrm>
        </p:spPr>
        <p:txBody>
          <a:bodyPr>
            <a:normAutofit/>
          </a:bodyPr>
          <a:lstStyle>
            <a:lvl1pPr>
              <a:defRPr sz="1835">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sz="1835">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defRPr sz="1835">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defRPr sz="1835">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defRPr sz="1835">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1934440"/>
          </a:xfrm>
        </p:spPr>
        <p:txBody>
          <a:bodyPr vert="horz" wrap="square" lIns="146304" tIns="91440" rIns="146304" bIns="91440" rtlCol="0">
            <a:noAutofit/>
          </a:bodyPr>
          <a:lstStyle>
            <a:lvl1pPr>
              <a:defRPr lang="en-US" sz="4000" smtClean="0"/>
            </a:lvl1pPr>
            <a:lvl2pPr>
              <a:defRPr lang="en-US" sz="3600" smtClean="0">
                <a:latin typeface="+mj-lt"/>
              </a:defRPr>
            </a:lvl2pPr>
            <a:lvl3pPr>
              <a:defRPr lang="en-US" sz="3200" smtClean="0"/>
            </a:lvl3pPr>
            <a:lvl4pPr>
              <a:defRPr lang="en-US" sz="2800" smtClean="0"/>
            </a:lvl4pPr>
            <a:lvl5pPr>
              <a:defRPr lang="en-US" sz="2800" dirty="0"/>
            </a:lvl5pPr>
          </a:lstStyle>
          <a:p>
            <a:pPr lvl="0">
              <a:buFont typeface="Wingdings" panose="05000000000000000000" pitchFamily="2" charset="2"/>
              <a:buChar char="à"/>
            </a:pPr>
            <a:r>
              <a:rPr lang="en-US" dirty="0"/>
              <a:t>Click to edit Master text styles</a:t>
            </a:r>
          </a:p>
          <a:p>
            <a:pPr lvl="1">
              <a:buFont typeface="Wingdings" panose="05000000000000000000" pitchFamily="2" charset="2"/>
              <a:buChar char="à"/>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2"/>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853078" y="3768008"/>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cxnSp>
        <p:nvCxnSpPr>
          <p:cNvPr id="10" name="Straight Connector 9"/>
          <p:cNvCxnSpPr/>
          <p:nvPr userDrawn="1"/>
        </p:nvCxnSpPr>
        <p:spPr>
          <a:xfrm>
            <a:off x="832440" y="3497263"/>
            <a:ext cx="10079038" cy="0"/>
          </a:xfrm>
          <a:prstGeom prst="line">
            <a:avLst/>
          </a:prstGeom>
          <a:ln w="127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8" y="4290791"/>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Optional Title Role, Company</a:t>
            </a:r>
          </a:p>
        </p:txBody>
      </p:sp>
    </p:spTree>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rgbClr val="000000"/>
        </a:solidFill>
        <a:effectLst/>
      </p:bgPr>
    </p:bg>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079076"/>
            <a:ext cx="11887199" cy="618588"/>
          </a:xfrm>
          <a:prstGeom prst="rect">
            <a:avLst/>
          </a:prstGeom>
          <a:noFill/>
          <a:ln w="12700">
            <a:noFill/>
            <a:miter lim="800000"/>
            <a:headEnd type="none" w="sm" len="sm"/>
            <a:tailEnd type="none" w="sm" len="sm"/>
          </a:ln>
          <a:effectLst/>
        </p:spPr>
        <p:txBody>
          <a:bodyPr vert="horz" wrap="square" lIns="182854" tIns="146283" rIns="182854" bIns="146283" numCol="1" anchor="b" anchorCtr="0" compatLnSpc="1">
            <a:spAutoFit/>
          </a:bodyPr>
          <a:lstStyle/>
          <a:p>
            <a:pPr marL="0" marR="0" lvl="0" indent="0" algn="l" defTabSz="932180"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rPr>
              <a:t>© 2014 Microsoft Corporation. All rights reserved. Microsoft, Windows, Windows Vista and other product names are or may be registered trademarks and/or trademarks in the U.S. and/or other countries.</a:t>
            </a:r>
          </a:p>
          <a:p>
            <a:pPr marL="0" marR="0" lvl="0" indent="0" algn="l" defTabSz="932180" rtl="0" eaLnBrk="0" fontAlgn="auto" latinLnBrk="0" hangingPunct="0">
              <a:lnSpc>
                <a:spcPct val="100000"/>
              </a:lnSpc>
              <a:spcBef>
                <a:spcPts val="0"/>
              </a:spcBef>
              <a:spcAft>
                <a:spcPts val="0"/>
              </a:spcAft>
              <a:buClrTx/>
              <a:buSzTx/>
              <a:buFontTx/>
              <a:buNone/>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panose="020B0502040204020203"/>
                <a:ea typeface="+mn-ea"/>
                <a:cs typeface="Segoe UI" panose="020B0502040204020203"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stretch>
            <a:fillRect/>
          </a:stretch>
        </p:blipFill>
        <p:spPr bwMode="black">
          <a:xfrm>
            <a:off x="459233" y="3145040"/>
            <a:ext cx="3291840" cy="705836"/>
          </a:xfrm>
          <a:prstGeom prst="rect">
            <a:avLst/>
          </a:prstGeom>
        </p:spPr>
      </p:pic>
    </p:spTree>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srcRect/>
          <a:stretch>
            <a:fillRect/>
          </a:stretch>
        </p:blipFill>
        <p:spPr bwMode="auto">
          <a:xfrm>
            <a:off x="571502" y="6240463"/>
            <a:ext cx="1304925" cy="285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3"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a:t>Edit Master text styles</a:t>
            </a:r>
          </a:p>
          <a:p>
            <a:pPr marL="514350" marR="0" lvl="1" indent="-514350" algn="l" defTabSz="932180" rtl="0" eaLnBrk="1" fontAlgn="auto" latinLnBrk="0" hangingPunct="1">
              <a:lnSpc>
                <a:spcPct val="90000"/>
              </a:lnSpc>
              <a:spcBef>
                <a:spcPts val="1225"/>
              </a:spcBef>
              <a:spcAft>
                <a:spcPts val="0"/>
              </a:spcAft>
              <a:buClr>
                <a:schemeClr val="tx1"/>
              </a:buClr>
              <a:buSzPct val="90000"/>
            </a:pPr>
            <a:r>
              <a:rPr lang="en-US"/>
              <a:t>Second level</a:t>
            </a:r>
          </a:p>
          <a:p>
            <a:pPr marL="514350" marR="0" lvl="2" indent="-514350" algn="l" defTabSz="932180" rtl="0" eaLnBrk="1" fontAlgn="auto" latinLnBrk="0" hangingPunct="1">
              <a:lnSpc>
                <a:spcPct val="90000"/>
              </a:lnSpc>
              <a:spcBef>
                <a:spcPts val="1225"/>
              </a:spcBef>
              <a:spcAft>
                <a:spcPts val="0"/>
              </a:spcAft>
              <a:buClr>
                <a:schemeClr val="tx1"/>
              </a:buClr>
              <a:buSzPct val="90000"/>
            </a:pPr>
            <a:r>
              <a:rPr lang="en-US"/>
              <a:t>Third level</a:t>
            </a:r>
          </a:p>
          <a:p>
            <a:pPr marL="514350" marR="0" lvl="3" indent="-514350" algn="l" defTabSz="932180" rtl="0" eaLnBrk="1" fontAlgn="auto" latinLnBrk="0" hangingPunct="1">
              <a:lnSpc>
                <a:spcPct val="90000"/>
              </a:lnSpc>
              <a:spcBef>
                <a:spcPts val="1225"/>
              </a:spcBef>
              <a:spcAft>
                <a:spcPts val="0"/>
              </a:spcAft>
              <a:buClr>
                <a:schemeClr val="tx1"/>
              </a:buClr>
              <a:buSzPct val="90000"/>
            </a:pPr>
            <a:r>
              <a:rPr lang="en-US"/>
              <a:t>Fourth level</a:t>
            </a:r>
          </a:p>
          <a:p>
            <a:pPr marL="514350" marR="0" lvl="4" indent="-514350" algn="l" defTabSz="932180" rtl="0" eaLnBrk="1" fontAlgn="auto" latinLnBrk="0" hangingPunct="1">
              <a:lnSpc>
                <a:spcPct val="90000"/>
              </a:lnSpc>
              <a:spcBef>
                <a:spcPts val="1225"/>
              </a:spcBef>
              <a:spcAft>
                <a:spcPts val="0"/>
              </a:spcAft>
              <a:buClr>
                <a:schemeClr val="tx1"/>
              </a:buClr>
              <a:buSzPct val="90000"/>
            </a:pPr>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Edit Master text styles</a:t>
            </a:r>
          </a:p>
          <a:p>
            <a:pPr marL="231775" marR="0" lvl="1"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Second level</a:t>
            </a:r>
          </a:p>
          <a:p>
            <a:pPr marL="231775" marR="0" lvl="2"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Third level</a:t>
            </a:r>
          </a:p>
          <a:p>
            <a:pPr marL="231775" marR="0" lvl="3"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ourth level</a:t>
            </a:r>
          </a:p>
          <a:p>
            <a:pPr marL="231775" marR="0" lvl="4"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US" dirty="0"/>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4"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5"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6"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8" name="Picture 7"/>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32736" y="2172840"/>
            <a:ext cx="10571004" cy="1499289"/>
          </a:xfrm>
        </p:spPr>
        <p:txBody>
          <a:bodyPr/>
          <a:lstStyle/>
          <a:p>
            <a:r>
              <a:rPr lang="zh-CN" altLang="en-US"/>
              <a:t>单击此处编辑母版标题样式</a:t>
            </a:r>
          </a:p>
        </p:txBody>
      </p:sp>
      <p:sp>
        <p:nvSpPr>
          <p:cNvPr id="3" name="副标题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554990" indent="0" algn="ctr">
              <a:buNone/>
              <a:defRPr>
                <a:solidFill>
                  <a:schemeClr val="tx1">
                    <a:tint val="75000"/>
                  </a:schemeClr>
                </a:solidFill>
              </a:defRPr>
            </a:lvl2pPr>
            <a:lvl3pPr marL="1109980" indent="0" algn="ctr">
              <a:buNone/>
              <a:defRPr>
                <a:solidFill>
                  <a:schemeClr val="tx1">
                    <a:tint val="75000"/>
                  </a:schemeClr>
                </a:solidFill>
              </a:defRPr>
            </a:lvl3pPr>
            <a:lvl4pPr marL="1664335" indent="0" algn="ctr">
              <a:buNone/>
              <a:defRPr>
                <a:solidFill>
                  <a:schemeClr val="tx1">
                    <a:tint val="75000"/>
                  </a:schemeClr>
                </a:solidFill>
              </a:defRPr>
            </a:lvl4pPr>
            <a:lvl5pPr marL="2219325" indent="0" algn="ctr">
              <a:buNone/>
              <a:defRPr>
                <a:solidFill>
                  <a:schemeClr val="tx1">
                    <a:tint val="75000"/>
                  </a:schemeClr>
                </a:solidFill>
              </a:defRPr>
            </a:lvl5pPr>
            <a:lvl6pPr marL="2774315" indent="0" algn="ctr">
              <a:buNone/>
              <a:defRPr>
                <a:solidFill>
                  <a:schemeClr val="tx1">
                    <a:tint val="75000"/>
                  </a:schemeClr>
                </a:solidFill>
              </a:defRPr>
            </a:lvl6pPr>
            <a:lvl7pPr marL="3329305" indent="0" algn="ctr">
              <a:buNone/>
              <a:defRPr>
                <a:solidFill>
                  <a:schemeClr val="tx1">
                    <a:tint val="75000"/>
                  </a:schemeClr>
                </a:solidFill>
              </a:defRPr>
            </a:lvl7pPr>
            <a:lvl8pPr marL="3884295" indent="0" algn="ctr">
              <a:buNone/>
              <a:defRPr>
                <a:solidFill>
                  <a:schemeClr val="tx1">
                    <a:tint val="75000"/>
                  </a:schemeClr>
                </a:solidFill>
              </a:defRPr>
            </a:lvl8pPr>
            <a:lvl9pPr marL="443865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82397" y="4494633"/>
            <a:ext cx="10571004" cy="1389190"/>
          </a:xfrm>
        </p:spPr>
        <p:txBody>
          <a:bodyPr anchor="t"/>
          <a:lstStyle>
            <a:lvl1pPr algn="l">
              <a:defRPr sz="4895" b="1" cap="all"/>
            </a:lvl1pPr>
          </a:lstStyle>
          <a:p>
            <a:r>
              <a:rPr lang="zh-CN" altLang="en-US"/>
              <a:t>单击此处编辑母版标题样式</a:t>
            </a:r>
          </a:p>
        </p:txBody>
      </p:sp>
      <p:sp>
        <p:nvSpPr>
          <p:cNvPr id="3" name="文本占位符 2"/>
          <p:cNvSpPr>
            <a:spLocks noGrp="1"/>
          </p:cNvSpPr>
          <p:nvPr>
            <p:ph type="body" idx="1"/>
          </p:nvPr>
        </p:nvSpPr>
        <p:spPr>
          <a:xfrm>
            <a:off x="982397" y="2964580"/>
            <a:ext cx="10571004" cy="1530052"/>
          </a:xfrm>
        </p:spPr>
        <p:txBody>
          <a:bodyPr anchor="b"/>
          <a:lstStyle>
            <a:lvl1pPr marL="0" indent="0">
              <a:buNone/>
              <a:defRPr sz="2445">
                <a:solidFill>
                  <a:schemeClr val="tx1">
                    <a:tint val="75000"/>
                  </a:schemeClr>
                </a:solidFill>
              </a:defRPr>
            </a:lvl1pPr>
            <a:lvl2pPr marL="554990" indent="0">
              <a:buNone/>
              <a:defRPr sz="2140">
                <a:solidFill>
                  <a:schemeClr val="tx1">
                    <a:tint val="75000"/>
                  </a:schemeClr>
                </a:solidFill>
              </a:defRPr>
            </a:lvl2pPr>
            <a:lvl3pPr marL="1109980" indent="0">
              <a:buNone/>
              <a:defRPr sz="1935">
                <a:solidFill>
                  <a:schemeClr val="tx1">
                    <a:tint val="75000"/>
                  </a:schemeClr>
                </a:solidFill>
              </a:defRPr>
            </a:lvl3pPr>
            <a:lvl4pPr marL="1664335" indent="0">
              <a:buNone/>
              <a:defRPr sz="1735">
                <a:solidFill>
                  <a:schemeClr val="tx1">
                    <a:tint val="75000"/>
                  </a:schemeClr>
                </a:solidFill>
              </a:defRPr>
            </a:lvl4pPr>
            <a:lvl5pPr marL="2219325" indent="0">
              <a:buNone/>
              <a:defRPr sz="1735">
                <a:solidFill>
                  <a:schemeClr val="tx1">
                    <a:tint val="75000"/>
                  </a:schemeClr>
                </a:solidFill>
              </a:defRPr>
            </a:lvl5pPr>
            <a:lvl6pPr marL="2774315" indent="0">
              <a:buNone/>
              <a:defRPr sz="1735">
                <a:solidFill>
                  <a:schemeClr val="tx1">
                    <a:tint val="75000"/>
                  </a:schemeClr>
                </a:solidFill>
              </a:defRPr>
            </a:lvl6pPr>
            <a:lvl7pPr marL="3329305" indent="0">
              <a:buNone/>
              <a:defRPr sz="1735">
                <a:solidFill>
                  <a:schemeClr val="tx1">
                    <a:tint val="75000"/>
                  </a:schemeClr>
                </a:solidFill>
              </a:defRPr>
            </a:lvl7pPr>
            <a:lvl8pPr marL="3884295" indent="0">
              <a:buNone/>
              <a:defRPr sz="1735">
                <a:solidFill>
                  <a:schemeClr val="tx1">
                    <a:tint val="75000"/>
                  </a:schemeClr>
                </a:solidFill>
              </a:defRPr>
            </a:lvl8pPr>
            <a:lvl9pPr marL="4438650" indent="0">
              <a:buNone/>
              <a:defRPr sz="1735">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21825" y="1224044"/>
            <a:ext cx="5492776" cy="3463263"/>
          </a:xfrm>
        </p:spPr>
        <p:txBody>
          <a:bodyPr/>
          <a:lstStyle>
            <a:lvl1pPr>
              <a:defRPr sz="3365"/>
            </a:lvl1pPr>
            <a:lvl2pPr>
              <a:defRPr sz="2955"/>
            </a:lvl2pPr>
            <a:lvl3pPr>
              <a:defRPr sz="2445"/>
            </a:lvl3pPr>
            <a:lvl4pPr>
              <a:defRPr sz="2140"/>
            </a:lvl4pPr>
            <a:lvl5pPr>
              <a:defRPr sz="2140"/>
            </a:lvl5pPr>
            <a:lvl6pPr>
              <a:defRPr sz="2140"/>
            </a:lvl6pPr>
            <a:lvl7pPr>
              <a:defRPr sz="2140"/>
            </a:lvl7pPr>
            <a:lvl8pPr>
              <a:defRPr sz="2140"/>
            </a:lvl8pPr>
            <a:lvl9pPr>
              <a:defRPr sz="214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321875" y="1224044"/>
            <a:ext cx="5492776" cy="3463263"/>
          </a:xfrm>
        </p:spPr>
        <p:txBody>
          <a:bodyPr/>
          <a:lstStyle>
            <a:lvl1pPr>
              <a:defRPr sz="3365"/>
            </a:lvl1pPr>
            <a:lvl2pPr>
              <a:defRPr sz="2955"/>
            </a:lvl2pPr>
            <a:lvl3pPr>
              <a:defRPr sz="2445"/>
            </a:lvl3pPr>
            <a:lvl4pPr>
              <a:defRPr sz="2140"/>
            </a:lvl4pPr>
            <a:lvl5pPr>
              <a:defRPr sz="2140"/>
            </a:lvl5pPr>
            <a:lvl6pPr>
              <a:defRPr sz="2140"/>
            </a:lvl6pPr>
            <a:lvl7pPr>
              <a:defRPr sz="2140"/>
            </a:lvl7pPr>
            <a:lvl8pPr>
              <a:defRPr sz="2140"/>
            </a:lvl8pPr>
            <a:lvl9pPr>
              <a:defRPr sz="214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1824" y="280107"/>
            <a:ext cx="11192828" cy="1165755"/>
          </a:xfr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21824" y="1565674"/>
            <a:ext cx="5494936" cy="652498"/>
          </a:xfrm>
        </p:spPr>
        <p:txBody>
          <a:bodyPr anchor="b"/>
          <a:lstStyle>
            <a:lvl1pPr marL="0" indent="0">
              <a:buNone/>
              <a:defRPr sz="2955" b="1"/>
            </a:lvl1pPr>
            <a:lvl2pPr marL="554990" indent="0">
              <a:buNone/>
              <a:defRPr sz="2445" b="1"/>
            </a:lvl2pPr>
            <a:lvl3pPr marL="1109980" indent="0">
              <a:buNone/>
              <a:defRPr sz="2140" b="1"/>
            </a:lvl3pPr>
            <a:lvl4pPr marL="1664335" indent="0">
              <a:buNone/>
              <a:defRPr sz="1935" b="1"/>
            </a:lvl4pPr>
            <a:lvl5pPr marL="2219325" indent="0">
              <a:buNone/>
              <a:defRPr sz="1935" b="1"/>
            </a:lvl5pPr>
            <a:lvl6pPr marL="2774315" indent="0">
              <a:buNone/>
              <a:defRPr sz="1935" b="1"/>
            </a:lvl6pPr>
            <a:lvl7pPr marL="3329305" indent="0">
              <a:buNone/>
              <a:defRPr sz="1935" b="1"/>
            </a:lvl7pPr>
            <a:lvl8pPr marL="3884295" indent="0">
              <a:buNone/>
              <a:defRPr sz="1935" b="1"/>
            </a:lvl8pPr>
            <a:lvl9pPr marL="4438650" indent="0">
              <a:buNone/>
              <a:defRPr sz="1935" b="1"/>
            </a:lvl9pPr>
          </a:lstStyle>
          <a:p>
            <a:pPr lvl="0"/>
            <a:r>
              <a:rPr lang="zh-CN" altLang="en-US"/>
              <a:t>单击此处编辑母版文本样式</a:t>
            </a:r>
          </a:p>
        </p:txBody>
      </p:sp>
      <p:sp>
        <p:nvSpPr>
          <p:cNvPr id="4" name="内容占位符 3"/>
          <p:cNvSpPr>
            <a:spLocks noGrp="1"/>
          </p:cNvSpPr>
          <p:nvPr>
            <p:ph sz="half" idx="2"/>
          </p:nvPr>
        </p:nvSpPr>
        <p:spPr>
          <a:xfrm>
            <a:off x="621824" y="2218173"/>
            <a:ext cx="5494936" cy="4029948"/>
          </a:xfrm>
        </p:spPr>
        <p:txBody>
          <a:bodyPr/>
          <a:lstStyle>
            <a:lvl1pPr>
              <a:defRPr sz="2955"/>
            </a:lvl1pPr>
            <a:lvl2pPr>
              <a:defRPr sz="2445"/>
            </a:lvl2pPr>
            <a:lvl3pPr>
              <a:defRPr sz="2140"/>
            </a:lvl3pPr>
            <a:lvl4pPr>
              <a:defRPr sz="1935"/>
            </a:lvl4pPr>
            <a:lvl5pPr>
              <a:defRPr sz="1935"/>
            </a:lvl5pPr>
            <a:lvl6pPr>
              <a:defRPr sz="1935"/>
            </a:lvl6pPr>
            <a:lvl7pPr>
              <a:defRPr sz="1935"/>
            </a:lvl7pPr>
            <a:lvl8pPr>
              <a:defRPr sz="1935"/>
            </a:lvl8pPr>
            <a:lvl9pPr>
              <a:defRPr sz="193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317560" y="1565674"/>
            <a:ext cx="5497095" cy="652498"/>
          </a:xfrm>
        </p:spPr>
        <p:txBody>
          <a:bodyPr anchor="b"/>
          <a:lstStyle>
            <a:lvl1pPr marL="0" indent="0">
              <a:buNone/>
              <a:defRPr sz="2955" b="1"/>
            </a:lvl1pPr>
            <a:lvl2pPr marL="554990" indent="0">
              <a:buNone/>
              <a:defRPr sz="2445" b="1"/>
            </a:lvl2pPr>
            <a:lvl3pPr marL="1109980" indent="0">
              <a:buNone/>
              <a:defRPr sz="2140" b="1"/>
            </a:lvl3pPr>
            <a:lvl4pPr marL="1664335" indent="0">
              <a:buNone/>
              <a:defRPr sz="1935" b="1"/>
            </a:lvl4pPr>
            <a:lvl5pPr marL="2219325" indent="0">
              <a:buNone/>
              <a:defRPr sz="1935" b="1"/>
            </a:lvl5pPr>
            <a:lvl6pPr marL="2774315" indent="0">
              <a:buNone/>
              <a:defRPr sz="1935" b="1"/>
            </a:lvl6pPr>
            <a:lvl7pPr marL="3329305" indent="0">
              <a:buNone/>
              <a:defRPr sz="1935" b="1"/>
            </a:lvl7pPr>
            <a:lvl8pPr marL="3884295" indent="0">
              <a:buNone/>
              <a:defRPr sz="1935" b="1"/>
            </a:lvl8pPr>
            <a:lvl9pPr marL="4438650" indent="0">
              <a:buNone/>
              <a:defRPr sz="1935" b="1"/>
            </a:lvl9pPr>
          </a:lstStyle>
          <a:p>
            <a:pPr lvl="0"/>
            <a:r>
              <a:rPr lang="zh-CN" altLang="en-US"/>
              <a:t>单击此处编辑母版文本样式</a:t>
            </a:r>
          </a:p>
        </p:txBody>
      </p:sp>
      <p:sp>
        <p:nvSpPr>
          <p:cNvPr id="6" name="内容占位符 5"/>
          <p:cNvSpPr>
            <a:spLocks noGrp="1"/>
          </p:cNvSpPr>
          <p:nvPr>
            <p:ph sz="quarter" idx="4"/>
          </p:nvPr>
        </p:nvSpPr>
        <p:spPr>
          <a:xfrm>
            <a:off x="6317560" y="2218173"/>
            <a:ext cx="5497095" cy="4029948"/>
          </a:xfrm>
        </p:spPr>
        <p:txBody>
          <a:bodyPr/>
          <a:lstStyle>
            <a:lvl1pPr>
              <a:defRPr sz="2955"/>
            </a:lvl1pPr>
            <a:lvl2pPr>
              <a:defRPr sz="2445"/>
            </a:lvl2pPr>
            <a:lvl3pPr>
              <a:defRPr sz="2140"/>
            </a:lvl3pPr>
            <a:lvl4pPr>
              <a:defRPr sz="1935"/>
            </a:lvl4pPr>
            <a:lvl5pPr>
              <a:defRPr sz="1935"/>
            </a:lvl5pPr>
            <a:lvl6pPr>
              <a:defRPr sz="1935"/>
            </a:lvl6pPr>
            <a:lvl7pPr>
              <a:defRPr sz="1935"/>
            </a:lvl7pPr>
            <a:lvl8pPr>
              <a:defRPr sz="1935"/>
            </a:lvl8pPr>
            <a:lvl9pPr>
              <a:defRPr sz="193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1828" y="278488"/>
            <a:ext cx="4091515" cy="1185184"/>
          </a:xfrm>
        </p:spPr>
        <p:txBody>
          <a:bodyPr anchor="b"/>
          <a:lstStyle>
            <a:lvl1pPr algn="l">
              <a:defRPr sz="2445" b="1"/>
            </a:lvl1pPr>
          </a:lstStyle>
          <a:p>
            <a:r>
              <a:rPr lang="zh-CN" altLang="en-US"/>
              <a:t>单击此处编辑母版标题样式</a:t>
            </a:r>
          </a:p>
        </p:txBody>
      </p:sp>
      <p:sp>
        <p:nvSpPr>
          <p:cNvPr id="3" name="内容占位符 2"/>
          <p:cNvSpPr>
            <a:spLocks noGrp="1"/>
          </p:cNvSpPr>
          <p:nvPr>
            <p:ph idx="1"/>
          </p:nvPr>
        </p:nvSpPr>
        <p:spPr>
          <a:xfrm>
            <a:off x="4862317" y="278487"/>
            <a:ext cx="6952334" cy="5969633"/>
          </a:xfrm>
        </p:spPr>
        <p:txBody>
          <a:bodyPr/>
          <a:lstStyle>
            <a:lvl1pPr>
              <a:defRPr sz="3875"/>
            </a:lvl1pPr>
            <a:lvl2pPr>
              <a:defRPr sz="3365"/>
            </a:lvl2pPr>
            <a:lvl3pPr>
              <a:defRPr sz="2955"/>
            </a:lvl3pPr>
            <a:lvl4pPr>
              <a:defRPr sz="2445"/>
            </a:lvl4pPr>
            <a:lvl5pPr>
              <a:defRPr sz="2445"/>
            </a:lvl5pPr>
            <a:lvl6pPr>
              <a:defRPr sz="2445"/>
            </a:lvl6pPr>
            <a:lvl7pPr>
              <a:defRPr sz="2445"/>
            </a:lvl7pPr>
            <a:lvl8pPr>
              <a:defRPr sz="2445"/>
            </a:lvl8pPr>
            <a:lvl9pPr>
              <a:defRPr sz="2445"/>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21828" y="1463671"/>
            <a:ext cx="4091515" cy="4784449"/>
          </a:xfrm>
        </p:spPr>
        <p:txBody>
          <a:bodyPr/>
          <a:lstStyle>
            <a:lvl1pPr marL="0" indent="0">
              <a:buNone/>
              <a:defRPr sz="1735"/>
            </a:lvl1pPr>
            <a:lvl2pPr marL="554990" indent="0">
              <a:buNone/>
              <a:defRPr sz="1430"/>
            </a:lvl2pPr>
            <a:lvl3pPr marL="1109980" indent="0">
              <a:buNone/>
              <a:defRPr sz="1225"/>
            </a:lvl3pPr>
            <a:lvl4pPr marL="1664335" indent="0">
              <a:buNone/>
              <a:defRPr sz="1120"/>
            </a:lvl4pPr>
            <a:lvl5pPr marL="2219325" indent="0">
              <a:buNone/>
              <a:defRPr sz="1120"/>
            </a:lvl5pPr>
            <a:lvl6pPr marL="2774315" indent="0">
              <a:buNone/>
              <a:defRPr sz="1120"/>
            </a:lvl6pPr>
            <a:lvl7pPr marL="3329305" indent="0">
              <a:buNone/>
              <a:defRPr sz="1120"/>
            </a:lvl7pPr>
            <a:lvl8pPr marL="3884295" indent="0">
              <a:buNone/>
              <a:defRPr sz="1120"/>
            </a:lvl8pPr>
            <a:lvl9pPr marL="4438650" indent="0">
              <a:buNone/>
              <a:defRPr sz="11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437637" y="4896168"/>
            <a:ext cx="7461885" cy="578020"/>
          </a:xfrm>
        </p:spPr>
        <p:txBody>
          <a:bodyPr anchor="b"/>
          <a:lstStyle>
            <a:lvl1pPr algn="l">
              <a:defRPr sz="2445" b="1"/>
            </a:lvl1pPr>
          </a:lstStyle>
          <a:p>
            <a:r>
              <a:rPr lang="zh-CN" altLang="en-US"/>
              <a:t>单击此处编辑母版标题样式</a:t>
            </a:r>
          </a:p>
        </p:txBody>
      </p:sp>
      <p:sp>
        <p:nvSpPr>
          <p:cNvPr id="3" name="图片占位符 2"/>
          <p:cNvSpPr>
            <a:spLocks noGrp="1"/>
          </p:cNvSpPr>
          <p:nvPr>
            <p:ph type="pic" idx="1"/>
          </p:nvPr>
        </p:nvSpPr>
        <p:spPr>
          <a:xfrm>
            <a:off x="2437637" y="624977"/>
            <a:ext cx="7461885" cy="4196715"/>
          </a:xfrm>
        </p:spPr>
        <p:txBody>
          <a:bodyPr/>
          <a:lstStyle>
            <a:lvl1pPr marL="0" indent="0">
              <a:buNone/>
              <a:defRPr sz="3875"/>
            </a:lvl1pPr>
            <a:lvl2pPr marL="554990" indent="0">
              <a:buNone/>
              <a:defRPr sz="3365"/>
            </a:lvl2pPr>
            <a:lvl3pPr marL="1109980" indent="0">
              <a:buNone/>
              <a:defRPr sz="2955"/>
            </a:lvl3pPr>
            <a:lvl4pPr marL="1664335" indent="0">
              <a:buNone/>
              <a:defRPr sz="2445"/>
            </a:lvl4pPr>
            <a:lvl5pPr marL="2219325" indent="0">
              <a:buNone/>
              <a:defRPr sz="2445"/>
            </a:lvl5pPr>
            <a:lvl6pPr marL="2774315" indent="0">
              <a:buNone/>
              <a:defRPr sz="2445"/>
            </a:lvl6pPr>
            <a:lvl7pPr marL="3329305" indent="0">
              <a:buNone/>
              <a:defRPr sz="2445"/>
            </a:lvl7pPr>
            <a:lvl8pPr marL="3884295" indent="0">
              <a:buNone/>
              <a:defRPr sz="2445"/>
            </a:lvl8pPr>
            <a:lvl9pPr marL="4438650" indent="0">
              <a:buNone/>
              <a:defRPr sz="2445"/>
            </a:lvl9pPr>
          </a:lstStyle>
          <a:p>
            <a:endParaRPr lang="zh-CN" altLang="en-US"/>
          </a:p>
        </p:txBody>
      </p:sp>
      <p:sp>
        <p:nvSpPr>
          <p:cNvPr id="4" name="文本占位符 3"/>
          <p:cNvSpPr>
            <a:spLocks noGrp="1"/>
          </p:cNvSpPr>
          <p:nvPr>
            <p:ph type="body" sz="half" idx="2"/>
          </p:nvPr>
        </p:nvSpPr>
        <p:spPr>
          <a:xfrm>
            <a:off x="2437637" y="5474188"/>
            <a:ext cx="7461885" cy="820884"/>
          </a:xfrm>
        </p:spPr>
        <p:txBody>
          <a:bodyPr/>
          <a:lstStyle>
            <a:lvl1pPr marL="0" indent="0">
              <a:buNone/>
              <a:defRPr sz="1735"/>
            </a:lvl1pPr>
            <a:lvl2pPr marL="554990" indent="0">
              <a:buNone/>
              <a:defRPr sz="1430"/>
            </a:lvl2pPr>
            <a:lvl3pPr marL="1109980" indent="0">
              <a:buNone/>
              <a:defRPr sz="1225"/>
            </a:lvl3pPr>
            <a:lvl4pPr marL="1664335" indent="0">
              <a:buNone/>
              <a:defRPr sz="1120"/>
            </a:lvl4pPr>
            <a:lvl5pPr marL="2219325" indent="0">
              <a:buNone/>
              <a:defRPr sz="1120"/>
            </a:lvl5pPr>
            <a:lvl6pPr marL="2774315" indent="0">
              <a:buNone/>
              <a:defRPr sz="1120"/>
            </a:lvl6pPr>
            <a:lvl7pPr marL="3329305" indent="0">
              <a:buNone/>
              <a:defRPr sz="1120"/>
            </a:lvl7pPr>
            <a:lvl8pPr marL="3884295" indent="0">
              <a:buNone/>
              <a:defRPr sz="1120"/>
            </a:lvl8pPr>
            <a:lvl9pPr marL="4438650" indent="0">
              <a:buNone/>
              <a:defRPr sz="112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016444" y="210485"/>
            <a:ext cx="2798207" cy="4476820"/>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21825" y="210485"/>
            <a:ext cx="8187346" cy="4476820"/>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902775CD-4271-42C1-80E3-17FB2D4242E9}" type="slidenum">
              <a:rPr lang="zh-CN" altLang="en-US" smtClean="0"/>
              <a:t>‹#›</a:t>
            </a:fld>
            <a:endParaRPr lang="zh-CN" altLang="en-US"/>
          </a:p>
        </p:txBody>
      </p:sp>
    </p:spTree>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l="10001" r="9999"/>
          <a:stretch>
            <a:fillRect/>
          </a:stretch>
        </p:blipFill>
        <p:spPr>
          <a:xfrm>
            <a:off x="-1" y="1"/>
            <a:ext cx="12436476" cy="6994525"/>
          </a:xfrm>
          <a:prstGeom prst="rect">
            <a:avLst/>
          </a:prstGeom>
        </p:spPr>
      </p:pic>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4" name="Picture 13"/>
          <p:cNvPicPr>
            <a:picLocks noChangeAspect="1"/>
          </p:cNvPicPr>
          <p:nvPr userDrawn="1"/>
        </p:nvPicPr>
        <p:blipFill rotWithShape="1">
          <a:blip r:embed="rId3"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53140" y="306045"/>
            <a:ext cx="11192828" cy="946413"/>
          </a:xfrm>
        </p:spPr>
        <p:txBody>
          <a:bodyPr anchor="t"/>
          <a:lstStyle>
            <a:lvl1pPr algn="l">
              <a:defRPr/>
            </a:lvl1pPr>
          </a:lstStyle>
          <a:p>
            <a:r>
              <a:rPr lang="en-US" dirty="0"/>
              <a:t>Click to edit Master title style</a:t>
            </a:r>
          </a:p>
        </p:txBody>
      </p:sp>
      <p:sp>
        <p:nvSpPr>
          <p:cNvPr id="3" name="Date Placeholder 2"/>
          <p:cNvSpPr>
            <a:spLocks noGrp="1"/>
          </p:cNvSpPr>
          <p:nvPr>
            <p:ph type="dt" sz="half" idx="10"/>
          </p:nvPr>
        </p:nvSpPr>
        <p:spPr/>
        <p:txBody>
          <a:bodyPr/>
          <a:lstStyle/>
          <a:p>
            <a:pPr defTabSz="1243330">
              <a:defRPr/>
            </a:pPr>
            <a:fld id="{ACCEBF71-793A-440A-922C-1CBEC40F9778}" type="datetimeFigureOut">
              <a:rPr lang="en-US" sz="2450" kern="0" smtClean="0">
                <a:solidFill>
                  <a:sysClr val="windowText" lastClr="000000"/>
                </a:solidFill>
              </a:rPr>
              <a:t>4/8/2020</a:t>
            </a:fld>
            <a:endParaRPr lang="en-US" sz="2450" kern="0">
              <a:solidFill>
                <a:sysClr val="windowText" lastClr="000000"/>
              </a:solidFill>
            </a:endParaRPr>
          </a:p>
        </p:txBody>
      </p:sp>
      <p:sp>
        <p:nvSpPr>
          <p:cNvPr id="4" name="Footer Placeholder 3"/>
          <p:cNvSpPr>
            <a:spLocks noGrp="1"/>
          </p:cNvSpPr>
          <p:nvPr>
            <p:ph type="ftr" sz="quarter" idx="11"/>
          </p:nvPr>
        </p:nvSpPr>
        <p:spPr/>
        <p:txBody>
          <a:bodyPr/>
          <a:lstStyle/>
          <a:p>
            <a:pPr defTabSz="1243330">
              <a:defRPr/>
            </a:pPr>
            <a:endParaRPr lang="en-US" sz="2450" kern="0">
              <a:solidFill>
                <a:sysClr val="windowText" lastClr="000000"/>
              </a:solidFill>
            </a:endParaRPr>
          </a:p>
        </p:txBody>
      </p:sp>
      <p:sp>
        <p:nvSpPr>
          <p:cNvPr id="5" name="Slide Number Placeholder 4"/>
          <p:cNvSpPr>
            <a:spLocks noGrp="1"/>
          </p:cNvSpPr>
          <p:nvPr>
            <p:ph type="sldNum" sz="quarter" idx="12"/>
          </p:nvPr>
        </p:nvSpPr>
        <p:spPr/>
        <p:txBody>
          <a:bodyPr/>
          <a:lstStyle/>
          <a:p>
            <a:pPr defTabSz="1243330">
              <a:defRPr/>
            </a:pPr>
            <a:fld id="{704198DC-2EF7-4B34-A789-AD3A4CDEBD28}" type="slidenum">
              <a:rPr lang="en-US" sz="2450" kern="0" smtClean="0">
                <a:solidFill>
                  <a:sysClr val="windowText" lastClr="000000"/>
                </a:solidFill>
              </a:rPr>
              <a:t>‹#›</a:t>
            </a:fld>
            <a:endParaRPr lang="en-US" sz="2450" kern="0">
              <a:solidFill>
                <a:sysClr val="windowText" lastClr="000000"/>
              </a:solidFill>
            </a:endParaRPr>
          </a:p>
        </p:txBody>
      </p:sp>
    </p:spTree>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855008" y="6482890"/>
            <a:ext cx="2798207" cy="372394"/>
          </a:xfrm>
          <a:prstGeom prst="rect">
            <a:avLst/>
          </a:prstGeom>
        </p:spPr>
        <p:txBody>
          <a:bodyPr/>
          <a:lstStyle/>
          <a:p>
            <a:fld id="{4D3EC2BC-36AB-4E1B-9BA6-C928A8E4F56B}" type="datetimeFigureOut">
              <a:rPr lang="zh-CN" altLang="en-US" smtClean="0"/>
              <a:t>2020/4/8</a:t>
            </a:fld>
            <a:endParaRPr lang="zh-CN" altLang="en-US"/>
          </a:p>
        </p:txBody>
      </p:sp>
      <p:sp>
        <p:nvSpPr>
          <p:cNvPr id="4" name="页脚占位符 3"/>
          <p:cNvSpPr>
            <a:spLocks noGrp="1"/>
          </p:cNvSpPr>
          <p:nvPr>
            <p:ph type="ftr" sz="quarter" idx="11"/>
          </p:nvPr>
        </p:nvSpPr>
        <p:spPr>
          <a:xfrm>
            <a:off x="4119583" y="6482890"/>
            <a:ext cx="4197310" cy="37239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783260" y="6482890"/>
            <a:ext cx="2798207" cy="372394"/>
          </a:xfrm>
          <a:prstGeom prst="rect">
            <a:avLst/>
          </a:prstGeom>
        </p:spPr>
        <p:txBody>
          <a:bodyPr/>
          <a:lstStyle/>
          <a:p>
            <a:r>
              <a:rPr lang="en-US" altLang="zh-CN" dirty="0"/>
              <a:t>Design by Nick</a:t>
            </a:r>
            <a:fld id="{F633731A-6AD5-46E1-9D66-78685EADC155}" type="slidenum">
              <a:rPr lang="zh-CN" altLang="en-US" dirty="0" smtClean="0"/>
              <a:t>‹#›</a:t>
            </a:fld>
            <a:endParaRPr lang="zh-CN" altLang="en-US" dirty="0"/>
          </a:p>
        </p:txBody>
      </p:sp>
    </p:spTree>
  </p:cSld>
  <p:clrMapOvr>
    <a:masterClrMapping/>
  </p:clrMapOvr>
  <p:transition spd="slow" advTm="0">
    <p:push/>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A7AB8F6-B368-4888-8259-5DF8250D4D52}" type="datetimeFigureOut">
              <a:rPr lang="zh-CN" altLang="en-US" smtClean="0"/>
              <a:t>2020/4/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B8075207-1C59-467E-AE20-79AD719D82C5}" type="slidenum">
              <a:rPr lang="zh-CN" altLang="en-US" smtClean="0"/>
              <a:t>‹#›</a:t>
            </a:fld>
            <a:endParaRPr lang="zh-CN" altLang="en-US"/>
          </a:p>
        </p:txBody>
      </p:sp>
    </p:spTree>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Blank Accent Color 3">
    <p:bg>
      <p:bgRef idx="1001">
        <a:schemeClr val="bg1"/>
      </p:bgRef>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436475" cy="6994525"/>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noAutofit/>
          </a:bodyPr>
          <a:lstStyle/>
          <a:p>
            <a:pPr algn="ctr" defTabSz="913765"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9370" y="429349"/>
            <a:ext cx="1050584" cy="316366"/>
          </a:xfrm>
          <a:prstGeom prst="rect">
            <a:avLst/>
          </a:prstGeom>
        </p:spPr>
      </p:pic>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0" y="0"/>
            <a:ext cx="12436475" cy="5571636"/>
          </a:xfrm>
          <a:prstGeom prst="rect">
            <a:avLst/>
          </a:prstGeom>
        </p:spPr>
      </p:pic>
      <p:sp>
        <p:nvSpPr>
          <p:cNvPr id="8" name="Rectangle 7"/>
          <p:cNvSpPr/>
          <p:nvPr userDrawn="1"/>
        </p:nvSpPr>
        <p:spPr bwMode="auto">
          <a:xfrm>
            <a:off x="1681" y="4960287"/>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noAutofit/>
          </a:bodyPr>
          <a:lstStyle/>
          <a:p>
            <a:pPr algn="ctr" defTabSz="932180"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4" cstate="screen"/>
          <a:stretch>
            <a:fillRect/>
          </a:stretch>
        </p:blipFill>
        <p:spPr bwMode="invGray">
          <a:xfrm>
            <a:off x="460690" y="5357957"/>
            <a:ext cx="2648621" cy="1169808"/>
          </a:xfrm>
          <a:prstGeom prst="rect">
            <a:avLst/>
          </a:prstGeom>
        </p:spPr>
      </p:pic>
      <p:pic>
        <p:nvPicPr>
          <p:cNvPr id="12" name="Picture 11"/>
          <p:cNvPicPr>
            <a:picLocks noChangeAspect="1"/>
          </p:cNvPicPr>
          <p:nvPr userDrawn="1"/>
        </p:nvPicPr>
        <p:blipFill>
          <a:blip r:embed="rId5" cstate="screen"/>
          <a:stretch>
            <a:fillRect/>
          </a:stretch>
        </p:blipFill>
        <p:spPr>
          <a:xfrm>
            <a:off x="460689" y="479424"/>
            <a:ext cx="1451843" cy="309656"/>
          </a:xfrm>
          <a:prstGeom prst="rect">
            <a:avLst/>
          </a:prstGeom>
        </p:spPr>
      </p:pic>
      <p:pic>
        <p:nvPicPr>
          <p:cNvPr id="14" name="Picture 13"/>
          <p:cNvPicPr>
            <a:picLocks noChangeAspect="1"/>
          </p:cNvPicPr>
          <p:nvPr userDrawn="1"/>
        </p:nvPicPr>
        <p:blipFill rotWithShape="1">
          <a:blip r:embed="rId6" cstate="print"/>
          <a:srcRect l="-17523"/>
          <a:stretch>
            <a:fillRect/>
          </a:stretch>
        </p:blipFill>
        <p:spPr>
          <a:xfrm>
            <a:off x="7752216" y="4960287"/>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pic>
        <p:nvPicPr>
          <p:cNvPr id="8" name="Picture 7"/>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7" name="Text Placeholder 3"/>
          <p:cNvSpPr>
            <a:spLocks noGrp="1"/>
          </p:cNvSpPr>
          <p:nvPr>
            <p:ph type="body" sz="quarter" idx="15" hasCustomPrompt="1"/>
          </p:nvPr>
        </p:nvSpPr>
        <p:spPr>
          <a:xfrm>
            <a:off x="9418638" y="296864"/>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dirty="0"/>
              <a:t>Session Code</a:t>
            </a:r>
          </a:p>
        </p:txBody>
      </p:sp>
      <p:sp>
        <p:nvSpPr>
          <p:cNvPr id="10" name="Rectangle 9"/>
          <p:cNvSpPr/>
          <p:nvPr userDrawn="1"/>
        </p:nvSpPr>
        <p:spPr>
          <a:xfrm>
            <a:off x="282738" y="6041342"/>
            <a:ext cx="1659463" cy="672108"/>
          </a:xfrm>
          <a:prstGeom prst="rect">
            <a:avLst/>
          </a:prstGeom>
        </p:spPr>
        <p:txBody>
          <a:bodyPr wrap="none" lIns="182854" tIns="146283" rIns="182854" bIns="146283">
            <a:spAutoFit/>
          </a:bodyPr>
          <a:lstStyle/>
          <a:p>
            <a:r>
              <a:rPr lang="en-US" sz="2400" dirty="0">
                <a:gradFill>
                  <a:gsLst>
                    <a:gs pos="2597">
                      <a:schemeClr val="tx1"/>
                    </a:gs>
                    <a:gs pos="18182">
                      <a:schemeClr val="tx1"/>
                    </a:gs>
                  </a:gsLst>
                  <a:lin ang="5400000" scaled="1"/>
                </a:gradFill>
              </a:rPr>
              <a:t>#</a:t>
            </a:r>
            <a:r>
              <a:rPr lang="en-US" sz="2400" dirty="0" err="1">
                <a:gradFill>
                  <a:gsLst>
                    <a:gs pos="2597">
                      <a:schemeClr val="tx1"/>
                    </a:gs>
                    <a:gs pos="18182">
                      <a:schemeClr val="tx1"/>
                    </a:gs>
                  </a:gsLst>
                  <a:lin ang="5400000" scaled="1"/>
                </a:gradFill>
              </a:rPr>
              <a:t>MSBuild</a:t>
            </a:r>
            <a:endParaRPr lang="en-US" sz="2400" dirty="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50"/>
            <a:ext cx="11888787" cy="2419958"/>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74703" y="1211287"/>
            <a:ext cx="11888787" cy="241995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270"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270"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2470"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6720" indent="-171450">
              <a:buFont typeface="Wingdings" panose="05000000000000000000" pitchFamily="2" charset="2"/>
              <a:buChar char=""/>
              <a:defRPr sz="2400" b="0"/>
            </a:lvl2pPr>
            <a:lvl3pPr marL="639445" indent="-188595">
              <a:buFont typeface="Wingdings" panose="05000000000000000000" pitchFamily="2" charset="2"/>
              <a:buChar char=""/>
              <a:defRPr sz="2200" b="0"/>
            </a:lvl3pPr>
            <a:lvl4pPr marL="828675" indent="-175895">
              <a:buFont typeface="Wingdings" panose="05000000000000000000" pitchFamily="2" charset="2"/>
              <a:buChar char=""/>
              <a:defRPr sz="2200" b="0"/>
            </a:lvl4pPr>
            <a:lvl5pPr marL="1023620" indent="-169545">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65935"/>
          </a:xfrm>
        </p:spPr>
        <p:txBody>
          <a:bodyPr wrap="square">
            <a:spAutoFit/>
          </a:bodyPr>
          <a:lstStyle>
            <a:lvl1pPr marL="287020" indent="-287020">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170"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6720"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39445" marR="0" lvl="2" indent="-188595"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5895"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3620" marR="0" lvl="4" indent="-169545"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dirty="0"/>
              <a:t>Click to edit Master text styles</a:t>
            </a:r>
          </a:p>
          <a:p>
            <a:pPr marL="713105" marR="0" lvl="1" indent="-457200" algn="l" defTabSz="932180" rtl="0" eaLnBrk="1" fontAlgn="auto" latinLnBrk="0" hangingPunct="1">
              <a:lnSpc>
                <a:spcPct val="90000"/>
              </a:lnSpc>
              <a:spcBef>
                <a:spcPct val="20000"/>
              </a:spcBef>
              <a:spcAft>
                <a:spcPts val="0"/>
              </a:spcAft>
              <a:buClrTx/>
              <a:buSzPct val="90000"/>
            </a:pPr>
            <a:r>
              <a:rPr lang="en-US" dirty="0"/>
              <a:t>Second level</a:t>
            </a:r>
          </a:p>
          <a:p>
            <a:pPr marL="908050" marR="0" lvl="2" indent="-457200" algn="l" defTabSz="932180" rtl="0" eaLnBrk="1" fontAlgn="auto" latinLnBrk="0" hangingPunct="1">
              <a:lnSpc>
                <a:spcPct val="90000"/>
              </a:lnSpc>
              <a:spcBef>
                <a:spcPct val="20000"/>
              </a:spcBef>
              <a:spcAft>
                <a:spcPts val="0"/>
              </a:spcAft>
              <a:buClrTx/>
              <a:buSzPct val="90000"/>
            </a:pPr>
            <a:r>
              <a:rPr lang="en-US" dirty="0"/>
              <a:t>Third level</a:t>
            </a:r>
          </a:p>
          <a:p>
            <a:pPr marL="1109345" marR="0" lvl="3" indent="-457200" algn="l" defTabSz="932180" rtl="0" eaLnBrk="1" fontAlgn="auto" latinLnBrk="0" hangingPunct="1">
              <a:lnSpc>
                <a:spcPct val="90000"/>
              </a:lnSpc>
              <a:spcBef>
                <a:spcPct val="20000"/>
              </a:spcBef>
              <a:spcAft>
                <a:spcPts val="0"/>
              </a:spcAft>
              <a:buClrTx/>
              <a:buSzPct val="90000"/>
            </a:pPr>
            <a:r>
              <a:rPr lang="en-US" dirty="0"/>
              <a:t>Fourth level</a:t>
            </a:r>
          </a:p>
          <a:p>
            <a:pPr marL="1311275" marR="0" lvl="4" indent="-457200" algn="l" defTabSz="932180" rtl="0" eaLnBrk="1" fontAlgn="auto" latinLnBrk="0" hangingPunct="1">
              <a:lnSpc>
                <a:spcPct val="90000"/>
              </a:lnSpc>
              <a:spcBef>
                <a:spcPct val="20000"/>
              </a:spcBef>
              <a:spcAft>
                <a:spcPts val="0"/>
              </a:spcAft>
              <a:buClrTx/>
              <a:buSzPct val="90000"/>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noAutofit/>
          </a:bodyPr>
          <a:lstStyle/>
          <a:p>
            <a:pPr algn="ctr" defTabSz="932180" fontAlgn="base">
              <a:spcBef>
                <a:spcPct val="0"/>
              </a:spcBef>
              <a:spcAft>
                <a:spcPct val="0"/>
              </a:spcAft>
            </a:pPr>
            <a:endParaRPr lang="en-US" sz="180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8"/>
            <a:ext cx="11887199" cy="2368277"/>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2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spAutoFit/>
          </a:bodyPr>
          <a:lstStyle/>
          <a:p>
            <a:pPr defTabSz="931545" eaLnBrk="0" hangingPunct="0"/>
            <a:r>
              <a:rPr lang="en-US" sz="700" dirty="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9"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195" indent="-290195">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0670">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1695" indent="-290195">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295"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8895"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20">
                <a:latin typeface="+mj-lt"/>
              </a:defRPr>
            </a:lvl1pPr>
          </a:lstStyle>
          <a:p>
            <a:r>
              <a:rPr lang="en-US" dirty="0"/>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50">
                <a:latin typeface="+mn-lt"/>
              </a:defRPr>
            </a:lvl1pPr>
            <a:lvl2pPr marL="466090" indent="0" algn="ctr">
              <a:buNone/>
              <a:defRPr sz="2040"/>
            </a:lvl2pPr>
            <a:lvl3pPr marL="932815" indent="0" algn="ctr">
              <a:buNone/>
              <a:defRPr sz="1835"/>
            </a:lvl3pPr>
            <a:lvl4pPr marL="1398905" indent="0" algn="ctr">
              <a:buNone/>
              <a:defRPr sz="1630"/>
            </a:lvl4pPr>
            <a:lvl5pPr marL="1864995" indent="0" algn="ctr">
              <a:buNone/>
              <a:defRPr sz="1630"/>
            </a:lvl5pPr>
            <a:lvl6pPr marL="2331720" indent="0" algn="ctr">
              <a:buNone/>
              <a:defRPr sz="1630"/>
            </a:lvl6pPr>
            <a:lvl7pPr marL="2797810" indent="0" algn="ctr">
              <a:buNone/>
              <a:defRPr sz="1630"/>
            </a:lvl7pPr>
            <a:lvl8pPr marL="3263900" indent="0" algn="ctr">
              <a:buNone/>
              <a:defRPr sz="1630"/>
            </a:lvl8pPr>
            <a:lvl9pPr marL="3730625" indent="0" algn="ctr">
              <a:buNone/>
              <a:defRPr sz="163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4A846E5-60AA-414D-AA79-C9266F29268A}" type="slidenum">
              <a:rPr lang="en-US" smtClean="0"/>
              <a:t>‹#›</a:t>
            </a:fld>
            <a:endParaRPr lang="en-US" dirty="0"/>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531" y="228914"/>
            <a:ext cx="11898032" cy="661299"/>
          </a:xfrm>
        </p:spPr>
        <p:txBody>
          <a:bodyPr/>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227531" y="1636295"/>
            <a:ext cx="11898032" cy="241995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327356" y="6482888"/>
            <a:ext cx="2798207" cy="372394"/>
          </a:xfrm>
        </p:spPr>
        <p:txBody>
          <a:bodyPr/>
          <a:lstStyle>
            <a:lvl1pPr>
              <a:defRPr>
                <a:solidFill>
                  <a:schemeClr val="bg1"/>
                </a:solidFill>
              </a:defRPr>
            </a:lvl1pPr>
          </a:lstStyle>
          <a:p>
            <a:fld id="{BA94EDC9-DDE2-4535-BE7F-B027FC5F82A9}" type="slidenum">
              <a:rPr lang="en-US" smtClean="0"/>
              <a:t>‹#›</a:t>
            </a:fld>
            <a:endParaRPr lang="en-US" dirty="0"/>
          </a:p>
        </p:txBody>
      </p:sp>
      <p:sp>
        <p:nvSpPr>
          <p:cNvPr id="8" name="Text Placeholder 7"/>
          <p:cNvSpPr>
            <a:spLocks noGrp="1"/>
          </p:cNvSpPr>
          <p:nvPr>
            <p:ph type="body" sz="quarter" idx="13" hasCustomPrompt="1"/>
          </p:nvPr>
        </p:nvSpPr>
        <p:spPr>
          <a:xfrm>
            <a:off x="228326" y="948794"/>
            <a:ext cx="11897237" cy="693267"/>
          </a:xfrm>
        </p:spPr>
        <p:txBody>
          <a:bodyPr/>
          <a:lstStyle>
            <a:lvl1pPr marL="0" indent="0">
              <a:buNone/>
              <a:defRPr i="1">
                <a:latin typeface="+mj-lt"/>
              </a:defRPr>
            </a:lvl1pPr>
          </a:lstStyle>
          <a:p>
            <a:pPr lvl="0"/>
            <a:r>
              <a:rPr lang="en-US"/>
              <a:t>Subtitle</a:t>
            </a: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lvl1pPr>
              <a:defRPr>
                <a:latin typeface="+mj-lt"/>
                <a:cs typeface="Segoe UI Light" panose="020B0502040204020203" pitchFamily="34" charset="0"/>
              </a:defRPr>
            </a:lvl1pPr>
          </a:lstStyle>
          <a:p>
            <a:r>
              <a:rPr lang="en-US" dirty="0"/>
              <a:t>Click to edit Master title style</a:t>
            </a:r>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50" b="1">
                <a:latin typeface="+mn-lt"/>
              </a:defRPr>
            </a:lvl1pPr>
            <a:lvl2pPr marL="466090" indent="0">
              <a:buNone/>
              <a:defRPr sz="2040" b="1"/>
            </a:lvl2pPr>
            <a:lvl3pPr marL="932815" indent="0">
              <a:buNone/>
              <a:defRPr sz="1835" b="1"/>
            </a:lvl3pPr>
            <a:lvl4pPr marL="1398905" indent="0">
              <a:buNone/>
              <a:defRPr sz="1630" b="1"/>
            </a:lvl4pPr>
            <a:lvl5pPr marL="1864995" indent="0">
              <a:buNone/>
              <a:defRPr sz="1630" b="1"/>
            </a:lvl5pPr>
            <a:lvl6pPr marL="2331720" indent="0">
              <a:buNone/>
              <a:defRPr sz="1630" b="1"/>
            </a:lvl6pPr>
            <a:lvl7pPr marL="2797810" indent="0">
              <a:buNone/>
              <a:defRPr sz="1630" b="1"/>
            </a:lvl7pPr>
            <a:lvl8pPr marL="3263900" indent="0">
              <a:buNone/>
              <a:defRPr sz="1630" b="1"/>
            </a:lvl8pPr>
            <a:lvl9pPr marL="3730625" indent="0">
              <a:buNone/>
              <a:defRPr sz="1630" b="1"/>
            </a:lvl9pPr>
          </a:lstStyle>
          <a:p>
            <a:pPr lvl="0"/>
            <a:r>
              <a:rPr lang="en-US" dirty="0"/>
              <a:t>Edit Master text styles</a:t>
            </a:r>
          </a:p>
        </p:txBody>
      </p:sp>
      <p:sp>
        <p:nvSpPr>
          <p:cNvPr id="4" name="Content Placeholder 3"/>
          <p:cNvSpPr>
            <a:spLocks noGrp="1"/>
          </p:cNvSpPr>
          <p:nvPr>
            <p:ph sz="half" idx="2"/>
          </p:nvPr>
        </p:nvSpPr>
        <p:spPr>
          <a:xfrm>
            <a:off x="856628" y="2554944"/>
            <a:ext cx="5261211" cy="24199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50" b="1">
                <a:latin typeface="+mn-lt"/>
              </a:defRPr>
            </a:lvl1pPr>
            <a:lvl2pPr marL="466090" indent="0">
              <a:buNone/>
              <a:defRPr sz="2040" b="1"/>
            </a:lvl2pPr>
            <a:lvl3pPr marL="932815" indent="0">
              <a:buNone/>
              <a:defRPr sz="1835" b="1"/>
            </a:lvl3pPr>
            <a:lvl4pPr marL="1398905" indent="0">
              <a:buNone/>
              <a:defRPr sz="1630" b="1"/>
            </a:lvl4pPr>
            <a:lvl5pPr marL="1864995" indent="0">
              <a:buNone/>
              <a:defRPr sz="1630" b="1"/>
            </a:lvl5pPr>
            <a:lvl6pPr marL="2331720" indent="0">
              <a:buNone/>
              <a:defRPr sz="1630" b="1"/>
            </a:lvl6pPr>
            <a:lvl7pPr marL="2797810" indent="0">
              <a:buNone/>
              <a:defRPr sz="1630" b="1"/>
            </a:lvl7pPr>
            <a:lvl8pPr marL="3263900" indent="0">
              <a:buNone/>
              <a:defRPr sz="1630" b="1"/>
            </a:lvl8pPr>
            <a:lvl9pPr marL="3730625" indent="0">
              <a:buNone/>
              <a:defRPr sz="1630" b="1"/>
            </a:lvl9pPr>
          </a:lstStyle>
          <a:p>
            <a:pPr lvl="0"/>
            <a:r>
              <a:rPr lang="en-US"/>
              <a:t>Edit Master text styles</a:t>
            </a:r>
          </a:p>
        </p:txBody>
      </p:sp>
      <p:sp>
        <p:nvSpPr>
          <p:cNvPr id="6" name="Content Placeholder 5"/>
          <p:cNvSpPr>
            <a:spLocks noGrp="1"/>
          </p:cNvSpPr>
          <p:nvPr>
            <p:ph sz="quarter" idx="4"/>
          </p:nvPr>
        </p:nvSpPr>
        <p:spPr>
          <a:xfrm>
            <a:off x="6295965" y="2554944"/>
            <a:ext cx="5287122" cy="24199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179C2872-8921-403C-AC2E-28E3A9EEFEEE}" type="slidenum">
              <a:rPr lang="en-US" smtClean="0"/>
              <a:t>‹#›</a:t>
            </a:fld>
            <a:endParaRPr lang="en-US" dirty="0"/>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1_Title Only white backgrou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latin typeface="+mj-lt"/>
              </a:defRPr>
            </a:lvl1pPr>
          </a:lstStyle>
          <a:p>
            <a:r>
              <a:rPr lang="en-US" dirty="0"/>
              <a:t>Click to edit Master title style</a:t>
            </a:r>
          </a:p>
        </p:txBody>
      </p:sp>
      <p:sp>
        <p:nvSpPr>
          <p:cNvPr id="36" name="Rectangle 35"/>
          <p:cNvSpPr/>
          <p:nvPr userDrawn="1"/>
        </p:nvSpPr>
        <p:spPr bwMode="auto">
          <a:xfrm>
            <a:off x="0" y="6451105"/>
            <a:ext cx="12436475" cy="543421"/>
          </a:xfrm>
          <a:prstGeom prst="rect">
            <a:avLst/>
          </a:prstGeom>
          <a:solidFill>
            <a:srgbClr val="409AE1"/>
          </a:solidFill>
          <a:ln w="28575">
            <a:noFill/>
          </a:ln>
        </p:spPr>
        <p:txBody>
          <a:bodyPr vert="horz" wrap="square" lIns="93234" tIns="46616" rIns="93234" bIns="46616" numCol="1" anchor="t" anchorCtr="0" compatLnSpc="1"/>
          <a:lstStyle/>
          <a:p>
            <a:pPr marR="0" lvl="0" indent="0" defTabSz="950595" fontAlgn="auto">
              <a:lnSpc>
                <a:spcPct val="100000"/>
              </a:lnSpc>
              <a:spcBef>
                <a:spcPts val="0"/>
              </a:spcBef>
              <a:spcAft>
                <a:spcPts val="0"/>
              </a:spcAft>
              <a:buClrTx/>
              <a:buSzTx/>
              <a:buFontTx/>
              <a:buNone/>
            </a:pPr>
            <a:endParaRPr kumimoji="0" lang="en-US" sz="1070" b="0" i="0" u="none" strike="noStrike" kern="0" cap="none" spc="0" normalizeH="0" baseline="0">
              <a:ln>
                <a:noFill/>
              </a:ln>
              <a:solidFill>
                <a:srgbClr val="333333"/>
              </a:solidFill>
              <a:effectLst/>
              <a:uLnTx/>
              <a:uFillTx/>
            </a:endParaRPr>
          </a:p>
        </p:txBody>
      </p:sp>
      <p:sp>
        <p:nvSpPr>
          <p:cNvPr id="6" name="Freeform 539"/>
          <p:cNvSpPr>
            <a:spLocks noChangeAspect="1"/>
          </p:cNvSpPr>
          <p:nvPr userDrawn="1"/>
        </p:nvSpPr>
        <p:spPr bwMode="auto">
          <a:xfrm>
            <a:off x="9490357" y="6077722"/>
            <a:ext cx="2007519" cy="1103550"/>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409AE1"/>
          </a:solidFill>
          <a:ln w="28575">
            <a:noFill/>
          </a:ln>
        </p:spPr>
        <p:txBody>
          <a:bodyPr vert="horz" wrap="square" lIns="93234" tIns="46616" rIns="93234" bIns="46616" numCol="1" anchor="t" anchorCtr="0" compatLnSpc="1"/>
          <a:lstStyle/>
          <a:p>
            <a:pPr marL="0" marR="0" lvl="0" indent="0" defTabSz="950595" eaLnBrk="1" fontAlgn="auto" latinLnBrk="0" hangingPunct="1">
              <a:lnSpc>
                <a:spcPct val="100000"/>
              </a:lnSpc>
              <a:spcBef>
                <a:spcPts val="0"/>
              </a:spcBef>
              <a:spcAft>
                <a:spcPts val="0"/>
              </a:spcAft>
              <a:buClrTx/>
              <a:buSzTx/>
              <a:buFontTx/>
              <a:buNone/>
              <a:defRPr/>
            </a:pPr>
            <a:endParaRPr kumimoji="0" lang="en-US" sz="1070" b="0" i="0" u="none" strike="noStrike" kern="0" cap="none" spc="0" normalizeH="0" baseline="0" noProof="0">
              <a:ln>
                <a:noFill/>
              </a:ln>
              <a:solidFill>
                <a:srgbClr val="333333"/>
              </a:solidFill>
              <a:effectLst/>
              <a:uLnTx/>
              <a:uFillTx/>
            </a:endParaRPr>
          </a:p>
        </p:txBody>
      </p:sp>
      <p:grpSp>
        <p:nvGrpSpPr>
          <p:cNvPr id="9" name="Group 8"/>
          <p:cNvGrpSpPr/>
          <p:nvPr userDrawn="1"/>
        </p:nvGrpSpPr>
        <p:grpSpPr>
          <a:xfrm>
            <a:off x="9525833" y="6339910"/>
            <a:ext cx="1861214" cy="789126"/>
            <a:chOff x="4494770" y="2621197"/>
            <a:chExt cx="3127126" cy="1326043"/>
          </a:xfrm>
        </p:grpSpPr>
        <p:sp>
          <p:nvSpPr>
            <p:cNvPr id="10" name="Freeform 12"/>
            <p:cNvSpPr/>
            <p:nvPr/>
          </p:nvSpPr>
          <p:spPr bwMode="auto">
            <a:xfrm>
              <a:off x="4494770" y="3400845"/>
              <a:ext cx="457856" cy="62986"/>
            </a:xfrm>
            <a:custGeom>
              <a:avLst/>
              <a:gdLst>
                <a:gd name="T0" fmla="*/ 704 w 756"/>
                <a:gd name="T1" fmla="*/ 104 h 104"/>
                <a:gd name="T2" fmla="*/ 52 w 756"/>
                <a:gd name="T3" fmla="*/ 104 h 104"/>
                <a:gd name="T4" fmla="*/ 52 w 756"/>
                <a:gd name="T5" fmla="*/ 104 h 104"/>
                <a:gd name="T6" fmla="*/ 42 w 756"/>
                <a:gd name="T7" fmla="*/ 104 h 104"/>
                <a:gd name="T8" fmla="*/ 32 w 756"/>
                <a:gd name="T9" fmla="*/ 100 h 104"/>
                <a:gd name="T10" fmla="*/ 22 w 756"/>
                <a:gd name="T11" fmla="*/ 96 h 104"/>
                <a:gd name="T12" fmla="*/ 14 w 756"/>
                <a:gd name="T13" fmla="*/ 90 h 104"/>
                <a:gd name="T14" fmla="*/ 8 w 756"/>
                <a:gd name="T15" fmla="*/ 82 h 104"/>
                <a:gd name="T16" fmla="*/ 4 w 756"/>
                <a:gd name="T17" fmla="*/ 72 h 104"/>
                <a:gd name="T18" fmla="*/ 0 w 756"/>
                <a:gd name="T19" fmla="*/ 62 h 104"/>
                <a:gd name="T20" fmla="*/ 0 w 756"/>
                <a:gd name="T21" fmla="*/ 52 h 104"/>
                <a:gd name="T22" fmla="*/ 0 w 756"/>
                <a:gd name="T23" fmla="*/ 52 h 104"/>
                <a:gd name="T24" fmla="*/ 0 w 756"/>
                <a:gd name="T25" fmla="*/ 42 h 104"/>
                <a:gd name="T26" fmla="*/ 4 w 756"/>
                <a:gd name="T27" fmla="*/ 32 h 104"/>
                <a:gd name="T28" fmla="*/ 8 w 756"/>
                <a:gd name="T29" fmla="*/ 22 h 104"/>
                <a:gd name="T30" fmla="*/ 14 w 756"/>
                <a:gd name="T31" fmla="*/ 16 h 104"/>
                <a:gd name="T32" fmla="*/ 22 w 756"/>
                <a:gd name="T33" fmla="*/ 8 h 104"/>
                <a:gd name="T34" fmla="*/ 32 w 756"/>
                <a:gd name="T35" fmla="*/ 4 h 104"/>
                <a:gd name="T36" fmla="*/ 42 w 756"/>
                <a:gd name="T37" fmla="*/ 0 h 104"/>
                <a:gd name="T38" fmla="*/ 52 w 756"/>
                <a:gd name="T39" fmla="*/ 0 h 104"/>
                <a:gd name="T40" fmla="*/ 704 w 756"/>
                <a:gd name="T41" fmla="*/ 0 h 104"/>
                <a:gd name="T42" fmla="*/ 704 w 756"/>
                <a:gd name="T43" fmla="*/ 0 h 104"/>
                <a:gd name="T44" fmla="*/ 714 w 756"/>
                <a:gd name="T45" fmla="*/ 0 h 104"/>
                <a:gd name="T46" fmla="*/ 724 w 756"/>
                <a:gd name="T47" fmla="*/ 4 h 104"/>
                <a:gd name="T48" fmla="*/ 732 w 756"/>
                <a:gd name="T49" fmla="*/ 8 h 104"/>
                <a:gd name="T50" fmla="*/ 740 w 756"/>
                <a:gd name="T51" fmla="*/ 16 h 104"/>
                <a:gd name="T52" fmla="*/ 748 w 756"/>
                <a:gd name="T53" fmla="*/ 22 h 104"/>
                <a:gd name="T54" fmla="*/ 752 w 756"/>
                <a:gd name="T55" fmla="*/ 32 h 104"/>
                <a:gd name="T56" fmla="*/ 756 w 756"/>
                <a:gd name="T57" fmla="*/ 42 h 104"/>
                <a:gd name="T58" fmla="*/ 756 w 756"/>
                <a:gd name="T59" fmla="*/ 52 h 104"/>
                <a:gd name="T60" fmla="*/ 756 w 756"/>
                <a:gd name="T61" fmla="*/ 52 h 104"/>
                <a:gd name="T62" fmla="*/ 756 w 756"/>
                <a:gd name="T63" fmla="*/ 62 h 104"/>
                <a:gd name="T64" fmla="*/ 752 w 756"/>
                <a:gd name="T65" fmla="*/ 72 h 104"/>
                <a:gd name="T66" fmla="*/ 748 w 756"/>
                <a:gd name="T67" fmla="*/ 82 h 104"/>
                <a:gd name="T68" fmla="*/ 740 w 756"/>
                <a:gd name="T69" fmla="*/ 90 h 104"/>
                <a:gd name="T70" fmla="*/ 732 w 756"/>
                <a:gd name="T71" fmla="*/ 96 h 104"/>
                <a:gd name="T72" fmla="*/ 724 w 756"/>
                <a:gd name="T73" fmla="*/ 100 h 104"/>
                <a:gd name="T74" fmla="*/ 714 w 756"/>
                <a:gd name="T75" fmla="*/ 104 h 104"/>
                <a:gd name="T76" fmla="*/ 704 w 756"/>
                <a:gd name="T77" fmla="*/ 104 h 104"/>
                <a:gd name="T78" fmla="*/ 704 w 756"/>
                <a:gd name="T7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56" h="104">
                  <a:moveTo>
                    <a:pt x="704" y="104"/>
                  </a:moveTo>
                  <a:lnTo>
                    <a:pt x="52" y="104"/>
                  </a:lnTo>
                  <a:lnTo>
                    <a:pt x="52" y="104"/>
                  </a:lnTo>
                  <a:lnTo>
                    <a:pt x="42" y="104"/>
                  </a:lnTo>
                  <a:lnTo>
                    <a:pt x="32" y="100"/>
                  </a:lnTo>
                  <a:lnTo>
                    <a:pt x="22" y="96"/>
                  </a:lnTo>
                  <a:lnTo>
                    <a:pt x="14" y="90"/>
                  </a:lnTo>
                  <a:lnTo>
                    <a:pt x="8" y="82"/>
                  </a:lnTo>
                  <a:lnTo>
                    <a:pt x="4" y="72"/>
                  </a:lnTo>
                  <a:lnTo>
                    <a:pt x="0" y="62"/>
                  </a:lnTo>
                  <a:lnTo>
                    <a:pt x="0" y="52"/>
                  </a:lnTo>
                  <a:lnTo>
                    <a:pt x="0" y="52"/>
                  </a:lnTo>
                  <a:lnTo>
                    <a:pt x="0" y="42"/>
                  </a:lnTo>
                  <a:lnTo>
                    <a:pt x="4" y="32"/>
                  </a:lnTo>
                  <a:lnTo>
                    <a:pt x="8" y="22"/>
                  </a:lnTo>
                  <a:lnTo>
                    <a:pt x="14" y="16"/>
                  </a:lnTo>
                  <a:lnTo>
                    <a:pt x="22" y="8"/>
                  </a:lnTo>
                  <a:lnTo>
                    <a:pt x="32" y="4"/>
                  </a:lnTo>
                  <a:lnTo>
                    <a:pt x="42" y="0"/>
                  </a:lnTo>
                  <a:lnTo>
                    <a:pt x="52" y="0"/>
                  </a:lnTo>
                  <a:lnTo>
                    <a:pt x="704" y="0"/>
                  </a:lnTo>
                  <a:lnTo>
                    <a:pt x="704" y="0"/>
                  </a:lnTo>
                  <a:lnTo>
                    <a:pt x="714" y="0"/>
                  </a:lnTo>
                  <a:lnTo>
                    <a:pt x="724" y="4"/>
                  </a:lnTo>
                  <a:lnTo>
                    <a:pt x="732" y="8"/>
                  </a:lnTo>
                  <a:lnTo>
                    <a:pt x="740" y="16"/>
                  </a:lnTo>
                  <a:lnTo>
                    <a:pt x="748" y="22"/>
                  </a:lnTo>
                  <a:lnTo>
                    <a:pt x="752" y="32"/>
                  </a:lnTo>
                  <a:lnTo>
                    <a:pt x="756" y="42"/>
                  </a:lnTo>
                  <a:lnTo>
                    <a:pt x="756" y="52"/>
                  </a:lnTo>
                  <a:lnTo>
                    <a:pt x="756" y="52"/>
                  </a:lnTo>
                  <a:lnTo>
                    <a:pt x="756" y="62"/>
                  </a:lnTo>
                  <a:lnTo>
                    <a:pt x="752" y="72"/>
                  </a:lnTo>
                  <a:lnTo>
                    <a:pt x="748" y="82"/>
                  </a:lnTo>
                  <a:lnTo>
                    <a:pt x="740" y="90"/>
                  </a:lnTo>
                  <a:lnTo>
                    <a:pt x="732" y="96"/>
                  </a:lnTo>
                  <a:lnTo>
                    <a:pt x="724" y="100"/>
                  </a:lnTo>
                  <a:lnTo>
                    <a:pt x="714" y="104"/>
                  </a:lnTo>
                  <a:lnTo>
                    <a:pt x="704" y="104"/>
                  </a:lnTo>
                  <a:lnTo>
                    <a:pt x="704" y="104"/>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1" name="Freeform 13"/>
            <p:cNvSpPr/>
            <p:nvPr/>
          </p:nvSpPr>
          <p:spPr bwMode="auto">
            <a:xfrm>
              <a:off x="4889641" y="3331803"/>
              <a:ext cx="540222" cy="245886"/>
            </a:xfrm>
            <a:custGeom>
              <a:avLst/>
              <a:gdLst>
                <a:gd name="T0" fmla="*/ 456 w 892"/>
                <a:gd name="T1" fmla="*/ 406 h 406"/>
                <a:gd name="T2" fmla="*/ 436 w 892"/>
                <a:gd name="T3" fmla="*/ 402 h 406"/>
                <a:gd name="T4" fmla="*/ 418 w 892"/>
                <a:gd name="T5" fmla="*/ 390 h 406"/>
                <a:gd name="T6" fmla="*/ 408 w 892"/>
                <a:gd name="T7" fmla="*/ 374 h 406"/>
                <a:gd name="T8" fmla="*/ 404 w 892"/>
                <a:gd name="T9" fmla="*/ 354 h 406"/>
                <a:gd name="T10" fmla="*/ 402 w 892"/>
                <a:gd name="T11" fmla="*/ 346 h 406"/>
                <a:gd name="T12" fmla="*/ 396 w 892"/>
                <a:gd name="T13" fmla="*/ 344 h 406"/>
                <a:gd name="T14" fmla="*/ 164 w 892"/>
                <a:gd name="T15" fmla="*/ 344 h 406"/>
                <a:gd name="T16" fmla="*/ 138 w 892"/>
                <a:gd name="T17" fmla="*/ 344 h 406"/>
                <a:gd name="T18" fmla="*/ 104 w 892"/>
                <a:gd name="T19" fmla="*/ 336 h 406"/>
                <a:gd name="T20" fmla="*/ 66 w 892"/>
                <a:gd name="T21" fmla="*/ 318 h 406"/>
                <a:gd name="T22" fmla="*/ 46 w 892"/>
                <a:gd name="T23" fmla="*/ 302 h 406"/>
                <a:gd name="T24" fmla="*/ 30 w 892"/>
                <a:gd name="T25" fmla="*/ 284 h 406"/>
                <a:gd name="T26" fmla="*/ 14 w 892"/>
                <a:gd name="T27" fmla="*/ 258 h 406"/>
                <a:gd name="T28" fmla="*/ 4 w 892"/>
                <a:gd name="T29" fmla="*/ 224 h 406"/>
                <a:gd name="T30" fmla="*/ 0 w 892"/>
                <a:gd name="T31" fmla="*/ 180 h 406"/>
                <a:gd name="T32" fmla="*/ 0 w 892"/>
                <a:gd name="T33" fmla="*/ 156 h 406"/>
                <a:gd name="T34" fmla="*/ 10 w 892"/>
                <a:gd name="T35" fmla="*/ 114 h 406"/>
                <a:gd name="T36" fmla="*/ 28 w 892"/>
                <a:gd name="T37" fmla="*/ 80 h 406"/>
                <a:gd name="T38" fmla="*/ 52 w 892"/>
                <a:gd name="T39" fmla="*/ 54 h 406"/>
                <a:gd name="T40" fmla="*/ 78 w 892"/>
                <a:gd name="T41" fmla="*/ 32 h 406"/>
                <a:gd name="T42" fmla="*/ 108 w 892"/>
                <a:gd name="T43" fmla="*/ 18 h 406"/>
                <a:gd name="T44" fmla="*/ 150 w 892"/>
                <a:gd name="T45" fmla="*/ 4 h 406"/>
                <a:gd name="T46" fmla="*/ 840 w 892"/>
                <a:gd name="T47" fmla="*/ 0 h 406"/>
                <a:gd name="T48" fmla="*/ 852 w 892"/>
                <a:gd name="T49" fmla="*/ 2 h 406"/>
                <a:gd name="T50" fmla="*/ 870 w 892"/>
                <a:gd name="T51" fmla="*/ 10 h 406"/>
                <a:gd name="T52" fmla="*/ 884 w 892"/>
                <a:gd name="T53" fmla="*/ 24 h 406"/>
                <a:gd name="T54" fmla="*/ 892 w 892"/>
                <a:gd name="T55" fmla="*/ 42 h 406"/>
                <a:gd name="T56" fmla="*/ 892 w 892"/>
                <a:gd name="T57" fmla="*/ 52 h 406"/>
                <a:gd name="T58" fmla="*/ 888 w 892"/>
                <a:gd name="T59" fmla="*/ 74 h 406"/>
                <a:gd name="T60" fmla="*/ 878 w 892"/>
                <a:gd name="T61" fmla="*/ 90 h 406"/>
                <a:gd name="T62" fmla="*/ 860 w 892"/>
                <a:gd name="T63" fmla="*/ 102 h 406"/>
                <a:gd name="T64" fmla="*/ 840 w 892"/>
                <a:gd name="T65" fmla="*/ 106 h 406"/>
                <a:gd name="T66" fmla="*/ 180 w 892"/>
                <a:gd name="T67" fmla="*/ 106 h 406"/>
                <a:gd name="T68" fmla="*/ 148 w 892"/>
                <a:gd name="T69" fmla="*/ 114 h 406"/>
                <a:gd name="T70" fmla="*/ 124 w 892"/>
                <a:gd name="T71" fmla="*/ 130 h 406"/>
                <a:gd name="T72" fmla="*/ 110 w 892"/>
                <a:gd name="T73" fmla="*/ 150 h 406"/>
                <a:gd name="T74" fmla="*/ 104 w 892"/>
                <a:gd name="T75" fmla="*/ 170 h 406"/>
                <a:gd name="T76" fmla="*/ 104 w 892"/>
                <a:gd name="T77" fmla="*/ 180 h 406"/>
                <a:gd name="T78" fmla="*/ 108 w 892"/>
                <a:gd name="T79" fmla="*/ 208 h 406"/>
                <a:gd name="T80" fmla="*/ 118 w 892"/>
                <a:gd name="T81" fmla="*/ 226 h 406"/>
                <a:gd name="T82" fmla="*/ 130 w 892"/>
                <a:gd name="T83" fmla="*/ 234 h 406"/>
                <a:gd name="T84" fmla="*/ 152 w 892"/>
                <a:gd name="T85" fmla="*/ 240 h 406"/>
                <a:gd name="T86" fmla="*/ 394 w 892"/>
                <a:gd name="T87" fmla="*/ 240 h 406"/>
                <a:gd name="T88" fmla="*/ 406 w 892"/>
                <a:gd name="T89" fmla="*/ 240 h 406"/>
                <a:gd name="T90" fmla="*/ 438 w 892"/>
                <a:gd name="T91" fmla="*/ 248 h 406"/>
                <a:gd name="T92" fmla="*/ 464 w 892"/>
                <a:gd name="T93" fmla="*/ 260 h 406"/>
                <a:gd name="T94" fmla="*/ 476 w 892"/>
                <a:gd name="T95" fmla="*/ 270 h 406"/>
                <a:gd name="T96" fmla="*/ 498 w 892"/>
                <a:gd name="T97" fmla="*/ 302 h 406"/>
                <a:gd name="T98" fmla="*/ 506 w 892"/>
                <a:gd name="T99" fmla="*/ 324 h 406"/>
                <a:gd name="T100" fmla="*/ 508 w 892"/>
                <a:gd name="T101" fmla="*/ 354 h 406"/>
                <a:gd name="T102" fmla="*/ 508 w 892"/>
                <a:gd name="T103" fmla="*/ 364 h 406"/>
                <a:gd name="T104" fmla="*/ 500 w 892"/>
                <a:gd name="T105" fmla="*/ 384 h 406"/>
                <a:gd name="T106" fmla="*/ 486 w 892"/>
                <a:gd name="T107" fmla="*/ 398 h 406"/>
                <a:gd name="T108" fmla="*/ 466 w 892"/>
                <a:gd name="T109" fmla="*/ 406 h 406"/>
                <a:gd name="T110" fmla="*/ 456 w 892"/>
                <a:gd name="T111"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2" h="406">
                  <a:moveTo>
                    <a:pt x="456" y="406"/>
                  </a:moveTo>
                  <a:lnTo>
                    <a:pt x="456" y="406"/>
                  </a:lnTo>
                  <a:lnTo>
                    <a:pt x="446" y="406"/>
                  </a:lnTo>
                  <a:lnTo>
                    <a:pt x="436" y="402"/>
                  </a:lnTo>
                  <a:lnTo>
                    <a:pt x="426" y="398"/>
                  </a:lnTo>
                  <a:lnTo>
                    <a:pt x="418" y="390"/>
                  </a:lnTo>
                  <a:lnTo>
                    <a:pt x="412" y="384"/>
                  </a:lnTo>
                  <a:lnTo>
                    <a:pt x="408" y="374"/>
                  </a:lnTo>
                  <a:lnTo>
                    <a:pt x="404" y="364"/>
                  </a:lnTo>
                  <a:lnTo>
                    <a:pt x="404" y="354"/>
                  </a:lnTo>
                  <a:lnTo>
                    <a:pt x="404" y="354"/>
                  </a:lnTo>
                  <a:lnTo>
                    <a:pt x="402" y="346"/>
                  </a:lnTo>
                  <a:lnTo>
                    <a:pt x="402" y="346"/>
                  </a:lnTo>
                  <a:lnTo>
                    <a:pt x="396" y="344"/>
                  </a:lnTo>
                  <a:lnTo>
                    <a:pt x="164" y="344"/>
                  </a:lnTo>
                  <a:lnTo>
                    <a:pt x="164" y="344"/>
                  </a:lnTo>
                  <a:lnTo>
                    <a:pt x="150" y="344"/>
                  </a:lnTo>
                  <a:lnTo>
                    <a:pt x="138" y="344"/>
                  </a:lnTo>
                  <a:lnTo>
                    <a:pt x="122" y="340"/>
                  </a:lnTo>
                  <a:lnTo>
                    <a:pt x="104" y="336"/>
                  </a:lnTo>
                  <a:lnTo>
                    <a:pt x="84" y="328"/>
                  </a:lnTo>
                  <a:lnTo>
                    <a:pt x="66" y="318"/>
                  </a:lnTo>
                  <a:lnTo>
                    <a:pt x="46" y="302"/>
                  </a:lnTo>
                  <a:lnTo>
                    <a:pt x="46" y="302"/>
                  </a:lnTo>
                  <a:lnTo>
                    <a:pt x="38" y="294"/>
                  </a:lnTo>
                  <a:lnTo>
                    <a:pt x="30" y="284"/>
                  </a:lnTo>
                  <a:lnTo>
                    <a:pt x="22" y="272"/>
                  </a:lnTo>
                  <a:lnTo>
                    <a:pt x="14" y="258"/>
                  </a:lnTo>
                  <a:lnTo>
                    <a:pt x="8" y="242"/>
                  </a:lnTo>
                  <a:lnTo>
                    <a:pt x="4" y="224"/>
                  </a:lnTo>
                  <a:lnTo>
                    <a:pt x="0" y="204"/>
                  </a:lnTo>
                  <a:lnTo>
                    <a:pt x="0" y="180"/>
                  </a:lnTo>
                  <a:lnTo>
                    <a:pt x="0" y="180"/>
                  </a:lnTo>
                  <a:lnTo>
                    <a:pt x="0" y="156"/>
                  </a:lnTo>
                  <a:lnTo>
                    <a:pt x="4" y="134"/>
                  </a:lnTo>
                  <a:lnTo>
                    <a:pt x="10" y="114"/>
                  </a:lnTo>
                  <a:lnTo>
                    <a:pt x="18" y="96"/>
                  </a:lnTo>
                  <a:lnTo>
                    <a:pt x="28" y="80"/>
                  </a:lnTo>
                  <a:lnTo>
                    <a:pt x="38" y="66"/>
                  </a:lnTo>
                  <a:lnTo>
                    <a:pt x="52" y="54"/>
                  </a:lnTo>
                  <a:lnTo>
                    <a:pt x="64" y="42"/>
                  </a:lnTo>
                  <a:lnTo>
                    <a:pt x="78" y="32"/>
                  </a:lnTo>
                  <a:lnTo>
                    <a:pt x="92" y="24"/>
                  </a:lnTo>
                  <a:lnTo>
                    <a:pt x="108" y="18"/>
                  </a:lnTo>
                  <a:lnTo>
                    <a:pt x="122" y="12"/>
                  </a:lnTo>
                  <a:lnTo>
                    <a:pt x="150" y="4"/>
                  </a:lnTo>
                  <a:lnTo>
                    <a:pt x="176" y="0"/>
                  </a:lnTo>
                  <a:lnTo>
                    <a:pt x="840" y="0"/>
                  </a:lnTo>
                  <a:lnTo>
                    <a:pt x="840" y="0"/>
                  </a:lnTo>
                  <a:lnTo>
                    <a:pt x="852" y="2"/>
                  </a:lnTo>
                  <a:lnTo>
                    <a:pt x="860" y="4"/>
                  </a:lnTo>
                  <a:lnTo>
                    <a:pt x="870" y="10"/>
                  </a:lnTo>
                  <a:lnTo>
                    <a:pt x="878" y="16"/>
                  </a:lnTo>
                  <a:lnTo>
                    <a:pt x="884" y="24"/>
                  </a:lnTo>
                  <a:lnTo>
                    <a:pt x="888" y="32"/>
                  </a:lnTo>
                  <a:lnTo>
                    <a:pt x="892" y="42"/>
                  </a:lnTo>
                  <a:lnTo>
                    <a:pt x="892" y="52"/>
                  </a:lnTo>
                  <a:lnTo>
                    <a:pt x="892" y="52"/>
                  </a:lnTo>
                  <a:lnTo>
                    <a:pt x="892" y="64"/>
                  </a:lnTo>
                  <a:lnTo>
                    <a:pt x="888" y="74"/>
                  </a:lnTo>
                  <a:lnTo>
                    <a:pt x="884" y="82"/>
                  </a:lnTo>
                  <a:lnTo>
                    <a:pt x="878" y="90"/>
                  </a:lnTo>
                  <a:lnTo>
                    <a:pt x="870" y="96"/>
                  </a:lnTo>
                  <a:lnTo>
                    <a:pt x="860" y="102"/>
                  </a:lnTo>
                  <a:lnTo>
                    <a:pt x="852" y="104"/>
                  </a:lnTo>
                  <a:lnTo>
                    <a:pt x="840" y="106"/>
                  </a:lnTo>
                  <a:lnTo>
                    <a:pt x="180" y="106"/>
                  </a:lnTo>
                  <a:lnTo>
                    <a:pt x="180" y="106"/>
                  </a:lnTo>
                  <a:lnTo>
                    <a:pt x="162" y="108"/>
                  </a:lnTo>
                  <a:lnTo>
                    <a:pt x="148" y="114"/>
                  </a:lnTo>
                  <a:lnTo>
                    <a:pt x="136" y="120"/>
                  </a:lnTo>
                  <a:lnTo>
                    <a:pt x="124" y="130"/>
                  </a:lnTo>
                  <a:lnTo>
                    <a:pt x="114" y="142"/>
                  </a:lnTo>
                  <a:lnTo>
                    <a:pt x="110" y="150"/>
                  </a:lnTo>
                  <a:lnTo>
                    <a:pt x="106" y="158"/>
                  </a:lnTo>
                  <a:lnTo>
                    <a:pt x="104" y="170"/>
                  </a:lnTo>
                  <a:lnTo>
                    <a:pt x="104" y="180"/>
                  </a:lnTo>
                  <a:lnTo>
                    <a:pt x="104" y="180"/>
                  </a:lnTo>
                  <a:lnTo>
                    <a:pt x="106" y="196"/>
                  </a:lnTo>
                  <a:lnTo>
                    <a:pt x="108" y="208"/>
                  </a:lnTo>
                  <a:lnTo>
                    <a:pt x="112" y="218"/>
                  </a:lnTo>
                  <a:lnTo>
                    <a:pt x="118" y="226"/>
                  </a:lnTo>
                  <a:lnTo>
                    <a:pt x="118" y="226"/>
                  </a:lnTo>
                  <a:lnTo>
                    <a:pt x="130" y="234"/>
                  </a:lnTo>
                  <a:lnTo>
                    <a:pt x="142" y="238"/>
                  </a:lnTo>
                  <a:lnTo>
                    <a:pt x="152" y="240"/>
                  </a:lnTo>
                  <a:lnTo>
                    <a:pt x="160" y="240"/>
                  </a:lnTo>
                  <a:lnTo>
                    <a:pt x="394" y="240"/>
                  </a:lnTo>
                  <a:lnTo>
                    <a:pt x="394" y="240"/>
                  </a:lnTo>
                  <a:lnTo>
                    <a:pt x="406" y="240"/>
                  </a:lnTo>
                  <a:lnTo>
                    <a:pt x="426" y="244"/>
                  </a:lnTo>
                  <a:lnTo>
                    <a:pt x="438" y="248"/>
                  </a:lnTo>
                  <a:lnTo>
                    <a:pt x="450" y="252"/>
                  </a:lnTo>
                  <a:lnTo>
                    <a:pt x="464" y="260"/>
                  </a:lnTo>
                  <a:lnTo>
                    <a:pt x="476" y="270"/>
                  </a:lnTo>
                  <a:lnTo>
                    <a:pt x="476" y="270"/>
                  </a:lnTo>
                  <a:lnTo>
                    <a:pt x="488" y="284"/>
                  </a:lnTo>
                  <a:lnTo>
                    <a:pt x="498" y="302"/>
                  </a:lnTo>
                  <a:lnTo>
                    <a:pt x="502" y="312"/>
                  </a:lnTo>
                  <a:lnTo>
                    <a:pt x="506" y="324"/>
                  </a:lnTo>
                  <a:lnTo>
                    <a:pt x="508" y="338"/>
                  </a:lnTo>
                  <a:lnTo>
                    <a:pt x="508" y="354"/>
                  </a:lnTo>
                  <a:lnTo>
                    <a:pt x="508" y="354"/>
                  </a:lnTo>
                  <a:lnTo>
                    <a:pt x="508" y="364"/>
                  </a:lnTo>
                  <a:lnTo>
                    <a:pt x="504" y="374"/>
                  </a:lnTo>
                  <a:lnTo>
                    <a:pt x="500" y="384"/>
                  </a:lnTo>
                  <a:lnTo>
                    <a:pt x="494" y="390"/>
                  </a:lnTo>
                  <a:lnTo>
                    <a:pt x="486" y="398"/>
                  </a:lnTo>
                  <a:lnTo>
                    <a:pt x="476" y="402"/>
                  </a:lnTo>
                  <a:lnTo>
                    <a:pt x="466" y="406"/>
                  </a:lnTo>
                  <a:lnTo>
                    <a:pt x="456" y="406"/>
                  </a:lnTo>
                  <a:lnTo>
                    <a:pt x="456" y="406"/>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2" name="Freeform 14"/>
            <p:cNvSpPr/>
            <p:nvPr/>
          </p:nvSpPr>
          <p:spPr bwMode="auto">
            <a:xfrm>
              <a:off x="6726775" y="3077438"/>
              <a:ext cx="895121" cy="245886"/>
            </a:xfrm>
            <a:custGeom>
              <a:avLst/>
              <a:gdLst>
                <a:gd name="T0" fmla="*/ 52 w 1478"/>
                <a:gd name="T1" fmla="*/ 406 h 406"/>
                <a:gd name="T2" fmla="*/ 32 w 1478"/>
                <a:gd name="T3" fmla="*/ 402 h 406"/>
                <a:gd name="T4" fmla="*/ 14 w 1478"/>
                <a:gd name="T5" fmla="*/ 390 h 406"/>
                <a:gd name="T6" fmla="*/ 4 w 1478"/>
                <a:gd name="T7" fmla="*/ 374 h 406"/>
                <a:gd name="T8" fmla="*/ 0 w 1478"/>
                <a:gd name="T9" fmla="*/ 352 h 406"/>
                <a:gd name="T10" fmla="*/ 0 w 1478"/>
                <a:gd name="T11" fmla="*/ 342 h 406"/>
                <a:gd name="T12" fmla="*/ 8 w 1478"/>
                <a:gd name="T13" fmla="*/ 324 h 406"/>
                <a:gd name="T14" fmla="*/ 22 w 1478"/>
                <a:gd name="T15" fmla="*/ 310 h 406"/>
                <a:gd name="T16" fmla="*/ 42 w 1478"/>
                <a:gd name="T17" fmla="*/ 302 h 406"/>
                <a:gd name="T18" fmla="*/ 1300 w 1478"/>
                <a:gd name="T19" fmla="*/ 300 h 406"/>
                <a:gd name="T20" fmla="*/ 1316 w 1478"/>
                <a:gd name="T21" fmla="*/ 296 h 406"/>
                <a:gd name="T22" fmla="*/ 1342 w 1478"/>
                <a:gd name="T23" fmla="*/ 286 h 406"/>
                <a:gd name="T24" fmla="*/ 1364 w 1478"/>
                <a:gd name="T25" fmla="*/ 264 h 406"/>
                <a:gd name="T26" fmla="*/ 1372 w 1478"/>
                <a:gd name="T27" fmla="*/ 246 h 406"/>
                <a:gd name="T28" fmla="*/ 1374 w 1478"/>
                <a:gd name="T29" fmla="*/ 226 h 406"/>
                <a:gd name="T30" fmla="*/ 1374 w 1478"/>
                <a:gd name="T31" fmla="*/ 210 h 406"/>
                <a:gd name="T32" fmla="*/ 1366 w 1478"/>
                <a:gd name="T33" fmla="*/ 188 h 406"/>
                <a:gd name="T34" fmla="*/ 1360 w 1478"/>
                <a:gd name="T35" fmla="*/ 180 h 406"/>
                <a:gd name="T36" fmla="*/ 1336 w 1478"/>
                <a:gd name="T37" fmla="*/ 168 h 406"/>
                <a:gd name="T38" fmla="*/ 1318 w 1478"/>
                <a:gd name="T39" fmla="*/ 166 h 406"/>
                <a:gd name="T40" fmla="*/ 1084 w 1478"/>
                <a:gd name="T41" fmla="*/ 166 h 406"/>
                <a:gd name="T42" fmla="*/ 1052 w 1478"/>
                <a:gd name="T43" fmla="*/ 162 h 406"/>
                <a:gd name="T44" fmla="*/ 1028 w 1478"/>
                <a:gd name="T45" fmla="*/ 152 h 406"/>
                <a:gd name="T46" fmla="*/ 1002 w 1478"/>
                <a:gd name="T47" fmla="*/ 134 h 406"/>
                <a:gd name="T48" fmla="*/ 990 w 1478"/>
                <a:gd name="T49" fmla="*/ 122 h 406"/>
                <a:gd name="T50" fmla="*/ 976 w 1478"/>
                <a:gd name="T51" fmla="*/ 94 h 406"/>
                <a:gd name="T52" fmla="*/ 970 w 1478"/>
                <a:gd name="T53" fmla="*/ 68 h 406"/>
                <a:gd name="T54" fmla="*/ 970 w 1478"/>
                <a:gd name="T55" fmla="*/ 52 h 406"/>
                <a:gd name="T56" fmla="*/ 974 w 1478"/>
                <a:gd name="T57" fmla="*/ 32 h 406"/>
                <a:gd name="T58" fmla="*/ 984 w 1478"/>
                <a:gd name="T59" fmla="*/ 14 h 406"/>
                <a:gd name="T60" fmla="*/ 1002 w 1478"/>
                <a:gd name="T61" fmla="*/ 4 h 406"/>
                <a:gd name="T62" fmla="*/ 1022 w 1478"/>
                <a:gd name="T63" fmla="*/ 0 h 406"/>
                <a:gd name="T64" fmla="*/ 1032 w 1478"/>
                <a:gd name="T65" fmla="*/ 0 h 406"/>
                <a:gd name="T66" fmla="*/ 1052 w 1478"/>
                <a:gd name="T67" fmla="*/ 8 h 406"/>
                <a:gd name="T68" fmla="*/ 1066 w 1478"/>
                <a:gd name="T69" fmla="*/ 22 h 406"/>
                <a:gd name="T70" fmla="*/ 1074 w 1478"/>
                <a:gd name="T71" fmla="*/ 42 h 406"/>
                <a:gd name="T72" fmla="*/ 1074 w 1478"/>
                <a:gd name="T73" fmla="*/ 52 h 406"/>
                <a:gd name="T74" fmla="*/ 1076 w 1478"/>
                <a:gd name="T75" fmla="*/ 60 h 406"/>
                <a:gd name="T76" fmla="*/ 1314 w 1478"/>
                <a:gd name="T77" fmla="*/ 60 h 406"/>
                <a:gd name="T78" fmla="*/ 1328 w 1478"/>
                <a:gd name="T79" fmla="*/ 60 h 406"/>
                <a:gd name="T80" fmla="*/ 1356 w 1478"/>
                <a:gd name="T81" fmla="*/ 64 h 406"/>
                <a:gd name="T82" fmla="*/ 1394 w 1478"/>
                <a:gd name="T83" fmla="*/ 78 h 406"/>
                <a:gd name="T84" fmla="*/ 1432 w 1478"/>
                <a:gd name="T85" fmla="*/ 104 h 406"/>
                <a:gd name="T86" fmla="*/ 1440 w 1478"/>
                <a:gd name="T87" fmla="*/ 112 h 406"/>
                <a:gd name="T88" fmla="*/ 1456 w 1478"/>
                <a:gd name="T89" fmla="*/ 134 h 406"/>
                <a:gd name="T90" fmla="*/ 1470 w 1478"/>
                <a:gd name="T91" fmla="*/ 164 h 406"/>
                <a:gd name="T92" fmla="*/ 1478 w 1478"/>
                <a:gd name="T93" fmla="*/ 202 h 406"/>
                <a:gd name="T94" fmla="*/ 1478 w 1478"/>
                <a:gd name="T95" fmla="*/ 226 h 406"/>
                <a:gd name="T96" fmla="*/ 1474 w 1478"/>
                <a:gd name="T97" fmla="*/ 272 h 406"/>
                <a:gd name="T98" fmla="*/ 1460 w 1478"/>
                <a:gd name="T99" fmla="*/ 310 h 406"/>
                <a:gd name="T100" fmla="*/ 1440 w 1478"/>
                <a:gd name="T101" fmla="*/ 340 h 406"/>
                <a:gd name="T102" fmla="*/ 1414 w 1478"/>
                <a:gd name="T103" fmla="*/ 364 h 406"/>
                <a:gd name="T104" fmla="*/ 1386 w 1478"/>
                <a:gd name="T105" fmla="*/ 382 h 406"/>
                <a:gd name="T106" fmla="*/ 1356 w 1478"/>
                <a:gd name="T107" fmla="*/ 394 h 406"/>
                <a:gd name="T108" fmla="*/ 1302 w 1478"/>
                <a:gd name="T10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78" h="406">
                  <a:moveTo>
                    <a:pt x="52" y="406"/>
                  </a:moveTo>
                  <a:lnTo>
                    <a:pt x="52" y="406"/>
                  </a:lnTo>
                  <a:lnTo>
                    <a:pt x="42" y="404"/>
                  </a:lnTo>
                  <a:lnTo>
                    <a:pt x="32" y="402"/>
                  </a:lnTo>
                  <a:lnTo>
                    <a:pt x="22" y="396"/>
                  </a:lnTo>
                  <a:lnTo>
                    <a:pt x="14" y="390"/>
                  </a:lnTo>
                  <a:lnTo>
                    <a:pt x="8" y="382"/>
                  </a:lnTo>
                  <a:lnTo>
                    <a:pt x="4" y="374"/>
                  </a:lnTo>
                  <a:lnTo>
                    <a:pt x="0" y="364"/>
                  </a:lnTo>
                  <a:lnTo>
                    <a:pt x="0" y="352"/>
                  </a:lnTo>
                  <a:lnTo>
                    <a:pt x="0" y="352"/>
                  </a:lnTo>
                  <a:lnTo>
                    <a:pt x="0" y="342"/>
                  </a:lnTo>
                  <a:lnTo>
                    <a:pt x="4" y="332"/>
                  </a:lnTo>
                  <a:lnTo>
                    <a:pt x="8" y="324"/>
                  </a:lnTo>
                  <a:lnTo>
                    <a:pt x="14" y="316"/>
                  </a:lnTo>
                  <a:lnTo>
                    <a:pt x="22" y="310"/>
                  </a:lnTo>
                  <a:lnTo>
                    <a:pt x="32" y="304"/>
                  </a:lnTo>
                  <a:lnTo>
                    <a:pt x="42" y="302"/>
                  </a:lnTo>
                  <a:lnTo>
                    <a:pt x="52" y="300"/>
                  </a:lnTo>
                  <a:lnTo>
                    <a:pt x="1300" y="300"/>
                  </a:lnTo>
                  <a:lnTo>
                    <a:pt x="1300" y="300"/>
                  </a:lnTo>
                  <a:lnTo>
                    <a:pt x="1316" y="296"/>
                  </a:lnTo>
                  <a:lnTo>
                    <a:pt x="1330" y="292"/>
                  </a:lnTo>
                  <a:lnTo>
                    <a:pt x="1342" y="286"/>
                  </a:lnTo>
                  <a:lnTo>
                    <a:pt x="1354" y="276"/>
                  </a:lnTo>
                  <a:lnTo>
                    <a:pt x="1364" y="264"/>
                  </a:lnTo>
                  <a:lnTo>
                    <a:pt x="1368" y="256"/>
                  </a:lnTo>
                  <a:lnTo>
                    <a:pt x="1372" y="246"/>
                  </a:lnTo>
                  <a:lnTo>
                    <a:pt x="1374" y="236"/>
                  </a:lnTo>
                  <a:lnTo>
                    <a:pt x="1374" y="226"/>
                  </a:lnTo>
                  <a:lnTo>
                    <a:pt x="1374" y="226"/>
                  </a:lnTo>
                  <a:lnTo>
                    <a:pt x="1374" y="210"/>
                  </a:lnTo>
                  <a:lnTo>
                    <a:pt x="1370" y="198"/>
                  </a:lnTo>
                  <a:lnTo>
                    <a:pt x="1366" y="188"/>
                  </a:lnTo>
                  <a:lnTo>
                    <a:pt x="1360" y="180"/>
                  </a:lnTo>
                  <a:lnTo>
                    <a:pt x="1360" y="180"/>
                  </a:lnTo>
                  <a:lnTo>
                    <a:pt x="1348" y="172"/>
                  </a:lnTo>
                  <a:lnTo>
                    <a:pt x="1336" y="168"/>
                  </a:lnTo>
                  <a:lnTo>
                    <a:pt x="1326" y="166"/>
                  </a:lnTo>
                  <a:lnTo>
                    <a:pt x="1318" y="166"/>
                  </a:lnTo>
                  <a:lnTo>
                    <a:pt x="1084" y="166"/>
                  </a:lnTo>
                  <a:lnTo>
                    <a:pt x="1084" y="166"/>
                  </a:lnTo>
                  <a:lnTo>
                    <a:pt x="1072" y="166"/>
                  </a:lnTo>
                  <a:lnTo>
                    <a:pt x="1052" y="162"/>
                  </a:lnTo>
                  <a:lnTo>
                    <a:pt x="1040" y="158"/>
                  </a:lnTo>
                  <a:lnTo>
                    <a:pt x="1028" y="152"/>
                  </a:lnTo>
                  <a:lnTo>
                    <a:pt x="1014" y="146"/>
                  </a:lnTo>
                  <a:lnTo>
                    <a:pt x="1002" y="134"/>
                  </a:lnTo>
                  <a:lnTo>
                    <a:pt x="1002" y="134"/>
                  </a:lnTo>
                  <a:lnTo>
                    <a:pt x="990" y="122"/>
                  </a:lnTo>
                  <a:lnTo>
                    <a:pt x="980" y="104"/>
                  </a:lnTo>
                  <a:lnTo>
                    <a:pt x="976" y="94"/>
                  </a:lnTo>
                  <a:lnTo>
                    <a:pt x="972" y="80"/>
                  </a:lnTo>
                  <a:lnTo>
                    <a:pt x="970" y="68"/>
                  </a:lnTo>
                  <a:lnTo>
                    <a:pt x="970" y="52"/>
                  </a:lnTo>
                  <a:lnTo>
                    <a:pt x="970" y="52"/>
                  </a:lnTo>
                  <a:lnTo>
                    <a:pt x="970" y="42"/>
                  </a:lnTo>
                  <a:lnTo>
                    <a:pt x="974" y="32"/>
                  </a:lnTo>
                  <a:lnTo>
                    <a:pt x="978" y="22"/>
                  </a:lnTo>
                  <a:lnTo>
                    <a:pt x="984" y="14"/>
                  </a:lnTo>
                  <a:lnTo>
                    <a:pt x="992" y="8"/>
                  </a:lnTo>
                  <a:lnTo>
                    <a:pt x="1002" y="4"/>
                  </a:lnTo>
                  <a:lnTo>
                    <a:pt x="1012" y="0"/>
                  </a:lnTo>
                  <a:lnTo>
                    <a:pt x="1022" y="0"/>
                  </a:lnTo>
                  <a:lnTo>
                    <a:pt x="1022" y="0"/>
                  </a:lnTo>
                  <a:lnTo>
                    <a:pt x="1032" y="0"/>
                  </a:lnTo>
                  <a:lnTo>
                    <a:pt x="1042" y="4"/>
                  </a:lnTo>
                  <a:lnTo>
                    <a:pt x="1052" y="8"/>
                  </a:lnTo>
                  <a:lnTo>
                    <a:pt x="1060" y="14"/>
                  </a:lnTo>
                  <a:lnTo>
                    <a:pt x="1066" y="22"/>
                  </a:lnTo>
                  <a:lnTo>
                    <a:pt x="1070" y="32"/>
                  </a:lnTo>
                  <a:lnTo>
                    <a:pt x="1074" y="42"/>
                  </a:lnTo>
                  <a:lnTo>
                    <a:pt x="1074" y="52"/>
                  </a:lnTo>
                  <a:lnTo>
                    <a:pt x="1074" y="52"/>
                  </a:lnTo>
                  <a:lnTo>
                    <a:pt x="1076" y="60"/>
                  </a:lnTo>
                  <a:lnTo>
                    <a:pt x="1076" y="60"/>
                  </a:lnTo>
                  <a:lnTo>
                    <a:pt x="1082" y="60"/>
                  </a:lnTo>
                  <a:lnTo>
                    <a:pt x="1314" y="60"/>
                  </a:lnTo>
                  <a:lnTo>
                    <a:pt x="1314" y="60"/>
                  </a:lnTo>
                  <a:lnTo>
                    <a:pt x="1328" y="60"/>
                  </a:lnTo>
                  <a:lnTo>
                    <a:pt x="1340" y="62"/>
                  </a:lnTo>
                  <a:lnTo>
                    <a:pt x="1356" y="64"/>
                  </a:lnTo>
                  <a:lnTo>
                    <a:pt x="1374" y="70"/>
                  </a:lnTo>
                  <a:lnTo>
                    <a:pt x="1394" y="78"/>
                  </a:lnTo>
                  <a:lnTo>
                    <a:pt x="1412" y="88"/>
                  </a:lnTo>
                  <a:lnTo>
                    <a:pt x="1432" y="104"/>
                  </a:lnTo>
                  <a:lnTo>
                    <a:pt x="1432" y="104"/>
                  </a:lnTo>
                  <a:lnTo>
                    <a:pt x="1440" y="112"/>
                  </a:lnTo>
                  <a:lnTo>
                    <a:pt x="1448" y="122"/>
                  </a:lnTo>
                  <a:lnTo>
                    <a:pt x="1456" y="134"/>
                  </a:lnTo>
                  <a:lnTo>
                    <a:pt x="1464" y="148"/>
                  </a:lnTo>
                  <a:lnTo>
                    <a:pt x="1470" y="164"/>
                  </a:lnTo>
                  <a:lnTo>
                    <a:pt x="1474" y="182"/>
                  </a:lnTo>
                  <a:lnTo>
                    <a:pt x="1478" y="202"/>
                  </a:lnTo>
                  <a:lnTo>
                    <a:pt x="1478" y="226"/>
                  </a:lnTo>
                  <a:lnTo>
                    <a:pt x="1478" y="226"/>
                  </a:lnTo>
                  <a:lnTo>
                    <a:pt x="1478" y="250"/>
                  </a:lnTo>
                  <a:lnTo>
                    <a:pt x="1474" y="272"/>
                  </a:lnTo>
                  <a:lnTo>
                    <a:pt x="1468" y="292"/>
                  </a:lnTo>
                  <a:lnTo>
                    <a:pt x="1460" y="310"/>
                  </a:lnTo>
                  <a:lnTo>
                    <a:pt x="1450" y="326"/>
                  </a:lnTo>
                  <a:lnTo>
                    <a:pt x="1440" y="340"/>
                  </a:lnTo>
                  <a:lnTo>
                    <a:pt x="1426" y="352"/>
                  </a:lnTo>
                  <a:lnTo>
                    <a:pt x="1414" y="364"/>
                  </a:lnTo>
                  <a:lnTo>
                    <a:pt x="1400" y="374"/>
                  </a:lnTo>
                  <a:lnTo>
                    <a:pt x="1386" y="382"/>
                  </a:lnTo>
                  <a:lnTo>
                    <a:pt x="1370" y="388"/>
                  </a:lnTo>
                  <a:lnTo>
                    <a:pt x="1356" y="394"/>
                  </a:lnTo>
                  <a:lnTo>
                    <a:pt x="1328" y="402"/>
                  </a:lnTo>
                  <a:lnTo>
                    <a:pt x="1302" y="406"/>
                  </a:lnTo>
                  <a:lnTo>
                    <a:pt x="52" y="406"/>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3" name="Freeform 15"/>
            <p:cNvSpPr>
              <a:spLocks noEditPoints="1"/>
            </p:cNvSpPr>
            <p:nvPr/>
          </p:nvSpPr>
          <p:spPr bwMode="auto">
            <a:xfrm>
              <a:off x="6892717" y="3505013"/>
              <a:ext cx="208337" cy="208337"/>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4" name="Freeform 18"/>
            <p:cNvSpPr/>
            <p:nvPr/>
          </p:nvSpPr>
          <p:spPr bwMode="auto">
            <a:xfrm>
              <a:off x="6965393" y="3268818"/>
              <a:ext cx="64197" cy="213182"/>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5" name="Freeform 19"/>
            <p:cNvSpPr>
              <a:spLocks noEditPoints="1"/>
            </p:cNvSpPr>
            <p:nvPr/>
          </p:nvSpPr>
          <p:spPr bwMode="auto">
            <a:xfrm>
              <a:off x="5077386" y="3609182"/>
              <a:ext cx="186534" cy="185323"/>
            </a:xfrm>
            <a:custGeom>
              <a:avLst/>
              <a:gdLst>
                <a:gd name="T0" fmla="*/ 154 w 308"/>
                <a:gd name="T1" fmla="*/ 306 h 306"/>
                <a:gd name="T2" fmla="*/ 124 w 308"/>
                <a:gd name="T3" fmla="*/ 304 h 306"/>
                <a:gd name="T4" fmla="*/ 94 w 308"/>
                <a:gd name="T5" fmla="*/ 294 h 306"/>
                <a:gd name="T6" fmla="*/ 68 w 308"/>
                <a:gd name="T7" fmla="*/ 280 h 306"/>
                <a:gd name="T8" fmla="*/ 46 w 308"/>
                <a:gd name="T9" fmla="*/ 262 h 306"/>
                <a:gd name="T10" fmla="*/ 26 w 308"/>
                <a:gd name="T11" fmla="*/ 240 h 306"/>
                <a:gd name="T12" fmla="*/ 12 w 308"/>
                <a:gd name="T13" fmla="*/ 212 h 306"/>
                <a:gd name="T14" fmla="*/ 4 w 308"/>
                <a:gd name="T15" fmla="*/ 184 h 306"/>
                <a:gd name="T16" fmla="*/ 0 w 308"/>
                <a:gd name="T17" fmla="*/ 154 h 306"/>
                <a:gd name="T18" fmla="*/ 2 w 308"/>
                <a:gd name="T19" fmla="*/ 138 h 306"/>
                <a:gd name="T20" fmla="*/ 8 w 308"/>
                <a:gd name="T21" fmla="*/ 108 h 306"/>
                <a:gd name="T22" fmla="*/ 20 w 308"/>
                <a:gd name="T23" fmla="*/ 80 h 306"/>
                <a:gd name="T24" fmla="*/ 36 w 308"/>
                <a:gd name="T25" fmla="*/ 56 h 306"/>
                <a:gd name="T26" fmla="*/ 56 w 308"/>
                <a:gd name="T27" fmla="*/ 34 h 306"/>
                <a:gd name="T28" fmla="*/ 82 w 308"/>
                <a:gd name="T29" fmla="*/ 18 h 306"/>
                <a:gd name="T30" fmla="*/ 108 w 308"/>
                <a:gd name="T31" fmla="*/ 6 h 306"/>
                <a:gd name="T32" fmla="*/ 138 w 308"/>
                <a:gd name="T33" fmla="*/ 0 h 306"/>
                <a:gd name="T34" fmla="*/ 154 w 308"/>
                <a:gd name="T35" fmla="*/ 0 h 306"/>
                <a:gd name="T36" fmla="*/ 186 w 308"/>
                <a:gd name="T37" fmla="*/ 2 h 306"/>
                <a:gd name="T38" fmla="*/ 214 w 308"/>
                <a:gd name="T39" fmla="*/ 12 h 306"/>
                <a:gd name="T40" fmla="*/ 240 w 308"/>
                <a:gd name="T41" fmla="*/ 26 h 306"/>
                <a:gd name="T42" fmla="*/ 262 w 308"/>
                <a:gd name="T43" fmla="*/ 44 h 306"/>
                <a:gd name="T44" fmla="*/ 282 w 308"/>
                <a:gd name="T45" fmla="*/ 68 h 306"/>
                <a:gd name="T46" fmla="*/ 296 w 308"/>
                <a:gd name="T47" fmla="*/ 94 h 306"/>
                <a:gd name="T48" fmla="*/ 304 w 308"/>
                <a:gd name="T49" fmla="*/ 122 h 306"/>
                <a:gd name="T50" fmla="*/ 308 w 308"/>
                <a:gd name="T51" fmla="*/ 154 h 306"/>
                <a:gd name="T52" fmla="*/ 308 w 308"/>
                <a:gd name="T53" fmla="*/ 168 h 306"/>
                <a:gd name="T54" fmla="*/ 302 w 308"/>
                <a:gd name="T55" fmla="*/ 198 h 306"/>
                <a:gd name="T56" fmla="*/ 290 w 308"/>
                <a:gd name="T57" fmla="*/ 226 h 306"/>
                <a:gd name="T58" fmla="*/ 272 w 308"/>
                <a:gd name="T59" fmla="*/ 250 h 306"/>
                <a:gd name="T60" fmla="*/ 252 w 308"/>
                <a:gd name="T61" fmla="*/ 272 h 306"/>
                <a:gd name="T62" fmla="*/ 228 w 308"/>
                <a:gd name="T63" fmla="*/ 288 h 306"/>
                <a:gd name="T64" fmla="*/ 200 w 308"/>
                <a:gd name="T65" fmla="*/ 300 h 306"/>
                <a:gd name="T66" fmla="*/ 170 w 308"/>
                <a:gd name="T67" fmla="*/ 306 h 306"/>
                <a:gd name="T68" fmla="*/ 154 w 308"/>
                <a:gd name="T69" fmla="*/ 306 h 306"/>
                <a:gd name="T70" fmla="*/ 154 w 308"/>
                <a:gd name="T71" fmla="*/ 104 h 306"/>
                <a:gd name="T72" fmla="*/ 136 w 308"/>
                <a:gd name="T73" fmla="*/ 108 h 306"/>
                <a:gd name="T74" fmla="*/ 120 w 308"/>
                <a:gd name="T75" fmla="*/ 118 h 306"/>
                <a:gd name="T76" fmla="*/ 110 w 308"/>
                <a:gd name="T77" fmla="*/ 134 h 306"/>
                <a:gd name="T78" fmla="*/ 106 w 308"/>
                <a:gd name="T79" fmla="*/ 154 h 306"/>
                <a:gd name="T80" fmla="*/ 106 w 308"/>
                <a:gd name="T81" fmla="*/ 164 h 306"/>
                <a:gd name="T82" fmla="*/ 114 w 308"/>
                <a:gd name="T83" fmla="*/ 180 h 306"/>
                <a:gd name="T84" fmla="*/ 128 w 308"/>
                <a:gd name="T85" fmla="*/ 194 h 306"/>
                <a:gd name="T86" fmla="*/ 144 w 308"/>
                <a:gd name="T87" fmla="*/ 200 h 306"/>
                <a:gd name="T88" fmla="*/ 154 w 308"/>
                <a:gd name="T89" fmla="*/ 202 h 306"/>
                <a:gd name="T90" fmla="*/ 174 w 308"/>
                <a:gd name="T91" fmla="*/ 198 h 306"/>
                <a:gd name="T92" fmla="*/ 188 w 308"/>
                <a:gd name="T93" fmla="*/ 188 h 306"/>
                <a:gd name="T94" fmla="*/ 200 w 308"/>
                <a:gd name="T95" fmla="*/ 172 h 306"/>
                <a:gd name="T96" fmla="*/ 202 w 308"/>
                <a:gd name="T97" fmla="*/ 154 h 306"/>
                <a:gd name="T98" fmla="*/ 202 w 308"/>
                <a:gd name="T99" fmla="*/ 144 h 306"/>
                <a:gd name="T100" fmla="*/ 194 w 308"/>
                <a:gd name="T101" fmla="*/ 126 h 306"/>
                <a:gd name="T102" fmla="*/ 182 w 308"/>
                <a:gd name="T103" fmla="*/ 112 h 306"/>
                <a:gd name="T104" fmla="*/ 164 w 308"/>
                <a:gd name="T105" fmla="*/ 106 h 306"/>
                <a:gd name="T106" fmla="*/ 154 w 308"/>
                <a:gd name="T107" fmla="*/ 1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6">
                  <a:moveTo>
                    <a:pt x="154" y="306"/>
                  </a:moveTo>
                  <a:lnTo>
                    <a:pt x="154" y="306"/>
                  </a:lnTo>
                  <a:lnTo>
                    <a:pt x="138" y="306"/>
                  </a:lnTo>
                  <a:lnTo>
                    <a:pt x="124" y="304"/>
                  </a:lnTo>
                  <a:lnTo>
                    <a:pt x="108" y="300"/>
                  </a:lnTo>
                  <a:lnTo>
                    <a:pt x="94" y="294"/>
                  </a:lnTo>
                  <a:lnTo>
                    <a:pt x="82" y="288"/>
                  </a:lnTo>
                  <a:lnTo>
                    <a:pt x="68" y="280"/>
                  </a:lnTo>
                  <a:lnTo>
                    <a:pt x="56" y="272"/>
                  </a:lnTo>
                  <a:lnTo>
                    <a:pt x="46" y="262"/>
                  </a:lnTo>
                  <a:lnTo>
                    <a:pt x="36" y="250"/>
                  </a:lnTo>
                  <a:lnTo>
                    <a:pt x="26" y="240"/>
                  </a:lnTo>
                  <a:lnTo>
                    <a:pt x="20" y="226"/>
                  </a:lnTo>
                  <a:lnTo>
                    <a:pt x="12" y="212"/>
                  </a:lnTo>
                  <a:lnTo>
                    <a:pt x="8" y="198"/>
                  </a:lnTo>
                  <a:lnTo>
                    <a:pt x="4" y="184"/>
                  </a:lnTo>
                  <a:lnTo>
                    <a:pt x="2" y="168"/>
                  </a:lnTo>
                  <a:lnTo>
                    <a:pt x="0" y="154"/>
                  </a:lnTo>
                  <a:lnTo>
                    <a:pt x="0" y="154"/>
                  </a:lnTo>
                  <a:lnTo>
                    <a:pt x="2" y="138"/>
                  </a:lnTo>
                  <a:lnTo>
                    <a:pt x="4" y="122"/>
                  </a:lnTo>
                  <a:lnTo>
                    <a:pt x="8" y="108"/>
                  </a:lnTo>
                  <a:lnTo>
                    <a:pt x="12" y="94"/>
                  </a:lnTo>
                  <a:lnTo>
                    <a:pt x="20" y="80"/>
                  </a:lnTo>
                  <a:lnTo>
                    <a:pt x="26" y="68"/>
                  </a:lnTo>
                  <a:lnTo>
                    <a:pt x="36" y="56"/>
                  </a:lnTo>
                  <a:lnTo>
                    <a:pt x="46" y="44"/>
                  </a:lnTo>
                  <a:lnTo>
                    <a:pt x="56" y="34"/>
                  </a:lnTo>
                  <a:lnTo>
                    <a:pt x="68" y="26"/>
                  </a:lnTo>
                  <a:lnTo>
                    <a:pt x="82" y="18"/>
                  </a:lnTo>
                  <a:lnTo>
                    <a:pt x="94" y="12"/>
                  </a:lnTo>
                  <a:lnTo>
                    <a:pt x="108" y="6"/>
                  </a:lnTo>
                  <a:lnTo>
                    <a:pt x="124" y="2"/>
                  </a:lnTo>
                  <a:lnTo>
                    <a:pt x="138" y="0"/>
                  </a:lnTo>
                  <a:lnTo>
                    <a:pt x="154" y="0"/>
                  </a:lnTo>
                  <a:lnTo>
                    <a:pt x="154" y="0"/>
                  </a:lnTo>
                  <a:lnTo>
                    <a:pt x="170" y="0"/>
                  </a:lnTo>
                  <a:lnTo>
                    <a:pt x="186" y="2"/>
                  </a:lnTo>
                  <a:lnTo>
                    <a:pt x="200" y="6"/>
                  </a:lnTo>
                  <a:lnTo>
                    <a:pt x="214" y="12"/>
                  </a:lnTo>
                  <a:lnTo>
                    <a:pt x="228" y="18"/>
                  </a:lnTo>
                  <a:lnTo>
                    <a:pt x="240" y="26"/>
                  </a:lnTo>
                  <a:lnTo>
                    <a:pt x="252" y="34"/>
                  </a:lnTo>
                  <a:lnTo>
                    <a:pt x="262" y="44"/>
                  </a:lnTo>
                  <a:lnTo>
                    <a:pt x="272" y="56"/>
                  </a:lnTo>
                  <a:lnTo>
                    <a:pt x="282" y="68"/>
                  </a:lnTo>
                  <a:lnTo>
                    <a:pt x="290" y="80"/>
                  </a:lnTo>
                  <a:lnTo>
                    <a:pt x="296" y="94"/>
                  </a:lnTo>
                  <a:lnTo>
                    <a:pt x="302" y="108"/>
                  </a:lnTo>
                  <a:lnTo>
                    <a:pt x="304" y="122"/>
                  </a:lnTo>
                  <a:lnTo>
                    <a:pt x="308" y="138"/>
                  </a:lnTo>
                  <a:lnTo>
                    <a:pt x="308" y="154"/>
                  </a:lnTo>
                  <a:lnTo>
                    <a:pt x="308" y="154"/>
                  </a:lnTo>
                  <a:lnTo>
                    <a:pt x="308" y="168"/>
                  </a:lnTo>
                  <a:lnTo>
                    <a:pt x="304" y="184"/>
                  </a:lnTo>
                  <a:lnTo>
                    <a:pt x="302" y="198"/>
                  </a:lnTo>
                  <a:lnTo>
                    <a:pt x="296" y="212"/>
                  </a:lnTo>
                  <a:lnTo>
                    <a:pt x="290" y="226"/>
                  </a:lnTo>
                  <a:lnTo>
                    <a:pt x="282" y="240"/>
                  </a:lnTo>
                  <a:lnTo>
                    <a:pt x="272" y="250"/>
                  </a:lnTo>
                  <a:lnTo>
                    <a:pt x="262" y="262"/>
                  </a:lnTo>
                  <a:lnTo>
                    <a:pt x="252" y="272"/>
                  </a:lnTo>
                  <a:lnTo>
                    <a:pt x="240" y="280"/>
                  </a:lnTo>
                  <a:lnTo>
                    <a:pt x="228" y="288"/>
                  </a:lnTo>
                  <a:lnTo>
                    <a:pt x="214" y="294"/>
                  </a:lnTo>
                  <a:lnTo>
                    <a:pt x="200" y="300"/>
                  </a:lnTo>
                  <a:lnTo>
                    <a:pt x="186" y="304"/>
                  </a:lnTo>
                  <a:lnTo>
                    <a:pt x="170" y="306"/>
                  </a:lnTo>
                  <a:lnTo>
                    <a:pt x="154" y="306"/>
                  </a:lnTo>
                  <a:lnTo>
                    <a:pt x="154" y="306"/>
                  </a:lnTo>
                  <a:close/>
                  <a:moveTo>
                    <a:pt x="154" y="104"/>
                  </a:moveTo>
                  <a:lnTo>
                    <a:pt x="154" y="104"/>
                  </a:lnTo>
                  <a:lnTo>
                    <a:pt x="144" y="106"/>
                  </a:lnTo>
                  <a:lnTo>
                    <a:pt x="136" y="108"/>
                  </a:lnTo>
                  <a:lnTo>
                    <a:pt x="128" y="112"/>
                  </a:lnTo>
                  <a:lnTo>
                    <a:pt x="120" y="118"/>
                  </a:lnTo>
                  <a:lnTo>
                    <a:pt x="114" y="126"/>
                  </a:lnTo>
                  <a:lnTo>
                    <a:pt x="110" y="134"/>
                  </a:lnTo>
                  <a:lnTo>
                    <a:pt x="106" y="144"/>
                  </a:lnTo>
                  <a:lnTo>
                    <a:pt x="106" y="154"/>
                  </a:lnTo>
                  <a:lnTo>
                    <a:pt x="106" y="154"/>
                  </a:lnTo>
                  <a:lnTo>
                    <a:pt x="106" y="164"/>
                  </a:lnTo>
                  <a:lnTo>
                    <a:pt x="110" y="172"/>
                  </a:lnTo>
                  <a:lnTo>
                    <a:pt x="114" y="180"/>
                  </a:lnTo>
                  <a:lnTo>
                    <a:pt x="120" y="188"/>
                  </a:lnTo>
                  <a:lnTo>
                    <a:pt x="128" y="194"/>
                  </a:lnTo>
                  <a:lnTo>
                    <a:pt x="136" y="198"/>
                  </a:lnTo>
                  <a:lnTo>
                    <a:pt x="144" y="200"/>
                  </a:lnTo>
                  <a:lnTo>
                    <a:pt x="154" y="202"/>
                  </a:lnTo>
                  <a:lnTo>
                    <a:pt x="154" y="202"/>
                  </a:lnTo>
                  <a:lnTo>
                    <a:pt x="164" y="200"/>
                  </a:lnTo>
                  <a:lnTo>
                    <a:pt x="174" y="198"/>
                  </a:lnTo>
                  <a:lnTo>
                    <a:pt x="182" y="194"/>
                  </a:lnTo>
                  <a:lnTo>
                    <a:pt x="188" y="188"/>
                  </a:lnTo>
                  <a:lnTo>
                    <a:pt x="194" y="180"/>
                  </a:lnTo>
                  <a:lnTo>
                    <a:pt x="200" y="172"/>
                  </a:lnTo>
                  <a:lnTo>
                    <a:pt x="202" y="164"/>
                  </a:lnTo>
                  <a:lnTo>
                    <a:pt x="202" y="154"/>
                  </a:lnTo>
                  <a:lnTo>
                    <a:pt x="202" y="154"/>
                  </a:lnTo>
                  <a:lnTo>
                    <a:pt x="202" y="144"/>
                  </a:lnTo>
                  <a:lnTo>
                    <a:pt x="200" y="134"/>
                  </a:lnTo>
                  <a:lnTo>
                    <a:pt x="194" y="126"/>
                  </a:lnTo>
                  <a:lnTo>
                    <a:pt x="188" y="118"/>
                  </a:lnTo>
                  <a:lnTo>
                    <a:pt x="182" y="112"/>
                  </a:lnTo>
                  <a:lnTo>
                    <a:pt x="174"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6" name="Freeform 20"/>
            <p:cNvSpPr>
              <a:spLocks noEditPoints="1"/>
            </p:cNvSpPr>
            <p:nvPr/>
          </p:nvSpPr>
          <p:spPr bwMode="auto">
            <a:xfrm>
              <a:off x="7250039" y="2854566"/>
              <a:ext cx="186534" cy="186534"/>
            </a:xfrm>
            <a:custGeom>
              <a:avLst/>
              <a:gdLst>
                <a:gd name="T0" fmla="*/ 154 w 308"/>
                <a:gd name="T1" fmla="*/ 308 h 308"/>
                <a:gd name="T2" fmla="*/ 122 w 308"/>
                <a:gd name="T3" fmla="*/ 304 h 308"/>
                <a:gd name="T4" fmla="*/ 94 w 308"/>
                <a:gd name="T5" fmla="*/ 296 h 308"/>
                <a:gd name="T6" fmla="*/ 68 w 308"/>
                <a:gd name="T7" fmla="*/ 282 h 308"/>
                <a:gd name="T8" fmla="*/ 44 w 308"/>
                <a:gd name="T9" fmla="*/ 262 h 308"/>
                <a:gd name="T10" fmla="*/ 26 w 308"/>
                <a:gd name="T11" fmla="*/ 240 h 308"/>
                <a:gd name="T12" fmla="*/ 12 w 308"/>
                <a:gd name="T13" fmla="*/ 214 h 308"/>
                <a:gd name="T14" fmla="*/ 2 w 308"/>
                <a:gd name="T15" fmla="*/ 184 h 308"/>
                <a:gd name="T16" fmla="*/ 0 w 308"/>
                <a:gd name="T17" fmla="*/ 154 h 308"/>
                <a:gd name="T18" fmla="*/ 0 w 308"/>
                <a:gd name="T19" fmla="*/ 138 h 308"/>
                <a:gd name="T20" fmla="*/ 6 w 308"/>
                <a:gd name="T21" fmla="*/ 108 h 308"/>
                <a:gd name="T22" fmla="*/ 18 w 308"/>
                <a:gd name="T23" fmla="*/ 80 h 308"/>
                <a:gd name="T24" fmla="*/ 34 w 308"/>
                <a:gd name="T25" fmla="*/ 56 h 308"/>
                <a:gd name="T26" fmla="*/ 56 w 308"/>
                <a:gd name="T27" fmla="*/ 36 h 308"/>
                <a:gd name="T28" fmla="*/ 80 w 308"/>
                <a:gd name="T29" fmla="*/ 18 h 308"/>
                <a:gd name="T30" fmla="*/ 108 w 308"/>
                <a:gd name="T31" fmla="*/ 6 h 308"/>
                <a:gd name="T32" fmla="*/ 138 w 308"/>
                <a:gd name="T33" fmla="*/ 0 h 308"/>
                <a:gd name="T34" fmla="*/ 154 w 308"/>
                <a:gd name="T35" fmla="*/ 0 h 308"/>
                <a:gd name="T36" fmla="*/ 184 w 308"/>
                <a:gd name="T37" fmla="*/ 4 h 308"/>
                <a:gd name="T38" fmla="*/ 214 w 308"/>
                <a:gd name="T39" fmla="*/ 12 h 308"/>
                <a:gd name="T40" fmla="*/ 240 w 308"/>
                <a:gd name="T41" fmla="*/ 26 h 308"/>
                <a:gd name="T42" fmla="*/ 262 w 308"/>
                <a:gd name="T43" fmla="*/ 46 h 308"/>
                <a:gd name="T44" fmla="*/ 280 w 308"/>
                <a:gd name="T45" fmla="*/ 68 h 308"/>
                <a:gd name="T46" fmla="*/ 294 w 308"/>
                <a:gd name="T47" fmla="*/ 94 h 308"/>
                <a:gd name="T48" fmla="*/ 304 w 308"/>
                <a:gd name="T49" fmla="*/ 122 h 308"/>
                <a:gd name="T50" fmla="*/ 308 w 308"/>
                <a:gd name="T51" fmla="*/ 154 h 308"/>
                <a:gd name="T52" fmla="*/ 306 w 308"/>
                <a:gd name="T53" fmla="*/ 170 h 308"/>
                <a:gd name="T54" fmla="*/ 300 w 308"/>
                <a:gd name="T55" fmla="*/ 200 h 308"/>
                <a:gd name="T56" fmla="*/ 288 w 308"/>
                <a:gd name="T57" fmla="*/ 226 h 308"/>
                <a:gd name="T58" fmla="*/ 272 w 308"/>
                <a:gd name="T59" fmla="*/ 252 h 308"/>
                <a:gd name="T60" fmla="*/ 252 w 308"/>
                <a:gd name="T61" fmla="*/ 272 h 308"/>
                <a:gd name="T62" fmla="*/ 226 w 308"/>
                <a:gd name="T63" fmla="*/ 288 h 308"/>
                <a:gd name="T64" fmla="*/ 200 w 308"/>
                <a:gd name="T65" fmla="*/ 300 h 308"/>
                <a:gd name="T66" fmla="*/ 170 w 308"/>
                <a:gd name="T67" fmla="*/ 306 h 308"/>
                <a:gd name="T68" fmla="*/ 154 w 308"/>
                <a:gd name="T69" fmla="*/ 308 h 308"/>
                <a:gd name="T70" fmla="*/ 154 w 308"/>
                <a:gd name="T71" fmla="*/ 104 h 308"/>
                <a:gd name="T72" fmla="*/ 134 w 308"/>
                <a:gd name="T73" fmla="*/ 108 h 308"/>
                <a:gd name="T74" fmla="*/ 120 w 308"/>
                <a:gd name="T75" fmla="*/ 120 h 308"/>
                <a:gd name="T76" fmla="*/ 108 w 308"/>
                <a:gd name="T77" fmla="*/ 134 h 308"/>
                <a:gd name="T78" fmla="*/ 104 w 308"/>
                <a:gd name="T79" fmla="*/ 154 h 308"/>
                <a:gd name="T80" fmla="*/ 106 w 308"/>
                <a:gd name="T81" fmla="*/ 164 h 308"/>
                <a:gd name="T82" fmla="*/ 114 w 308"/>
                <a:gd name="T83" fmla="*/ 180 h 308"/>
                <a:gd name="T84" fmla="*/ 126 w 308"/>
                <a:gd name="T85" fmla="*/ 194 h 308"/>
                <a:gd name="T86" fmla="*/ 144 w 308"/>
                <a:gd name="T87" fmla="*/ 202 h 308"/>
                <a:gd name="T88" fmla="*/ 154 w 308"/>
                <a:gd name="T89" fmla="*/ 202 h 308"/>
                <a:gd name="T90" fmla="*/ 172 w 308"/>
                <a:gd name="T91" fmla="*/ 198 h 308"/>
                <a:gd name="T92" fmla="*/ 188 w 308"/>
                <a:gd name="T93" fmla="*/ 188 h 308"/>
                <a:gd name="T94" fmla="*/ 198 w 308"/>
                <a:gd name="T95" fmla="*/ 172 h 308"/>
                <a:gd name="T96" fmla="*/ 202 w 308"/>
                <a:gd name="T97" fmla="*/ 154 h 308"/>
                <a:gd name="T98" fmla="*/ 202 w 308"/>
                <a:gd name="T99" fmla="*/ 144 h 308"/>
                <a:gd name="T100" fmla="*/ 194 w 308"/>
                <a:gd name="T101" fmla="*/ 126 h 308"/>
                <a:gd name="T102" fmla="*/ 180 w 308"/>
                <a:gd name="T103" fmla="*/ 114 h 308"/>
                <a:gd name="T104" fmla="*/ 164 w 308"/>
                <a:gd name="T105" fmla="*/ 106 h 308"/>
                <a:gd name="T106" fmla="*/ 154 w 308"/>
                <a:gd name="T107" fmla="*/ 1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8" h="308">
                  <a:moveTo>
                    <a:pt x="154" y="308"/>
                  </a:moveTo>
                  <a:lnTo>
                    <a:pt x="154" y="308"/>
                  </a:lnTo>
                  <a:lnTo>
                    <a:pt x="138" y="306"/>
                  </a:lnTo>
                  <a:lnTo>
                    <a:pt x="122" y="304"/>
                  </a:lnTo>
                  <a:lnTo>
                    <a:pt x="108" y="300"/>
                  </a:lnTo>
                  <a:lnTo>
                    <a:pt x="94" y="296"/>
                  </a:lnTo>
                  <a:lnTo>
                    <a:pt x="80" y="288"/>
                  </a:lnTo>
                  <a:lnTo>
                    <a:pt x="68" y="282"/>
                  </a:lnTo>
                  <a:lnTo>
                    <a:pt x="56" y="272"/>
                  </a:lnTo>
                  <a:lnTo>
                    <a:pt x="44" y="262"/>
                  </a:lnTo>
                  <a:lnTo>
                    <a:pt x="34" y="252"/>
                  </a:lnTo>
                  <a:lnTo>
                    <a:pt x="26" y="240"/>
                  </a:lnTo>
                  <a:lnTo>
                    <a:pt x="18" y="226"/>
                  </a:lnTo>
                  <a:lnTo>
                    <a:pt x="12" y="214"/>
                  </a:lnTo>
                  <a:lnTo>
                    <a:pt x="6" y="200"/>
                  </a:lnTo>
                  <a:lnTo>
                    <a:pt x="2" y="184"/>
                  </a:lnTo>
                  <a:lnTo>
                    <a:pt x="0" y="170"/>
                  </a:lnTo>
                  <a:lnTo>
                    <a:pt x="0" y="154"/>
                  </a:lnTo>
                  <a:lnTo>
                    <a:pt x="0" y="154"/>
                  </a:lnTo>
                  <a:lnTo>
                    <a:pt x="0" y="138"/>
                  </a:lnTo>
                  <a:lnTo>
                    <a:pt x="2" y="122"/>
                  </a:lnTo>
                  <a:lnTo>
                    <a:pt x="6" y="108"/>
                  </a:lnTo>
                  <a:lnTo>
                    <a:pt x="12" y="94"/>
                  </a:lnTo>
                  <a:lnTo>
                    <a:pt x="18" y="80"/>
                  </a:lnTo>
                  <a:lnTo>
                    <a:pt x="26" y="68"/>
                  </a:lnTo>
                  <a:lnTo>
                    <a:pt x="34" y="56"/>
                  </a:lnTo>
                  <a:lnTo>
                    <a:pt x="44" y="46"/>
                  </a:lnTo>
                  <a:lnTo>
                    <a:pt x="56" y="36"/>
                  </a:lnTo>
                  <a:lnTo>
                    <a:pt x="68" y="26"/>
                  </a:lnTo>
                  <a:lnTo>
                    <a:pt x="80" y="18"/>
                  </a:lnTo>
                  <a:lnTo>
                    <a:pt x="94" y="12"/>
                  </a:lnTo>
                  <a:lnTo>
                    <a:pt x="108" y="6"/>
                  </a:lnTo>
                  <a:lnTo>
                    <a:pt x="122" y="4"/>
                  </a:lnTo>
                  <a:lnTo>
                    <a:pt x="138" y="0"/>
                  </a:lnTo>
                  <a:lnTo>
                    <a:pt x="154" y="0"/>
                  </a:lnTo>
                  <a:lnTo>
                    <a:pt x="154" y="0"/>
                  </a:lnTo>
                  <a:lnTo>
                    <a:pt x="170" y="0"/>
                  </a:lnTo>
                  <a:lnTo>
                    <a:pt x="184" y="4"/>
                  </a:lnTo>
                  <a:lnTo>
                    <a:pt x="200" y="6"/>
                  </a:lnTo>
                  <a:lnTo>
                    <a:pt x="214" y="12"/>
                  </a:lnTo>
                  <a:lnTo>
                    <a:pt x="226" y="18"/>
                  </a:lnTo>
                  <a:lnTo>
                    <a:pt x="240" y="26"/>
                  </a:lnTo>
                  <a:lnTo>
                    <a:pt x="252" y="36"/>
                  </a:lnTo>
                  <a:lnTo>
                    <a:pt x="262" y="46"/>
                  </a:lnTo>
                  <a:lnTo>
                    <a:pt x="272" y="56"/>
                  </a:lnTo>
                  <a:lnTo>
                    <a:pt x="280" y="68"/>
                  </a:lnTo>
                  <a:lnTo>
                    <a:pt x="288" y="80"/>
                  </a:lnTo>
                  <a:lnTo>
                    <a:pt x="294" y="94"/>
                  </a:lnTo>
                  <a:lnTo>
                    <a:pt x="300" y="108"/>
                  </a:lnTo>
                  <a:lnTo>
                    <a:pt x="304" y="122"/>
                  </a:lnTo>
                  <a:lnTo>
                    <a:pt x="306" y="138"/>
                  </a:lnTo>
                  <a:lnTo>
                    <a:pt x="308" y="154"/>
                  </a:lnTo>
                  <a:lnTo>
                    <a:pt x="308" y="154"/>
                  </a:lnTo>
                  <a:lnTo>
                    <a:pt x="306" y="170"/>
                  </a:lnTo>
                  <a:lnTo>
                    <a:pt x="304" y="184"/>
                  </a:lnTo>
                  <a:lnTo>
                    <a:pt x="300" y="200"/>
                  </a:lnTo>
                  <a:lnTo>
                    <a:pt x="294" y="214"/>
                  </a:lnTo>
                  <a:lnTo>
                    <a:pt x="288" y="226"/>
                  </a:lnTo>
                  <a:lnTo>
                    <a:pt x="280" y="240"/>
                  </a:lnTo>
                  <a:lnTo>
                    <a:pt x="272" y="252"/>
                  </a:lnTo>
                  <a:lnTo>
                    <a:pt x="262" y="262"/>
                  </a:lnTo>
                  <a:lnTo>
                    <a:pt x="252" y="272"/>
                  </a:lnTo>
                  <a:lnTo>
                    <a:pt x="240" y="282"/>
                  </a:lnTo>
                  <a:lnTo>
                    <a:pt x="226" y="288"/>
                  </a:lnTo>
                  <a:lnTo>
                    <a:pt x="214" y="296"/>
                  </a:lnTo>
                  <a:lnTo>
                    <a:pt x="200" y="300"/>
                  </a:lnTo>
                  <a:lnTo>
                    <a:pt x="184" y="304"/>
                  </a:lnTo>
                  <a:lnTo>
                    <a:pt x="170" y="306"/>
                  </a:lnTo>
                  <a:lnTo>
                    <a:pt x="154" y="308"/>
                  </a:lnTo>
                  <a:lnTo>
                    <a:pt x="154" y="308"/>
                  </a:lnTo>
                  <a:close/>
                  <a:moveTo>
                    <a:pt x="154" y="104"/>
                  </a:moveTo>
                  <a:lnTo>
                    <a:pt x="154" y="104"/>
                  </a:lnTo>
                  <a:lnTo>
                    <a:pt x="144" y="106"/>
                  </a:lnTo>
                  <a:lnTo>
                    <a:pt x="134" y="108"/>
                  </a:lnTo>
                  <a:lnTo>
                    <a:pt x="126" y="114"/>
                  </a:lnTo>
                  <a:lnTo>
                    <a:pt x="120" y="120"/>
                  </a:lnTo>
                  <a:lnTo>
                    <a:pt x="114" y="126"/>
                  </a:lnTo>
                  <a:lnTo>
                    <a:pt x="108" y="134"/>
                  </a:lnTo>
                  <a:lnTo>
                    <a:pt x="106" y="144"/>
                  </a:lnTo>
                  <a:lnTo>
                    <a:pt x="104" y="154"/>
                  </a:lnTo>
                  <a:lnTo>
                    <a:pt x="104" y="154"/>
                  </a:lnTo>
                  <a:lnTo>
                    <a:pt x="106" y="164"/>
                  </a:lnTo>
                  <a:lnTo>
                    <a:pt x="108" y="172"/>
                  </a:lnTo>
                  <a:lnTo>
                    <a:pt x="114" y="180"/>
                  </a:lnTo>
                  <a:lnTo>
                    <a:pt x="120" y="188"/>
                  </a:lnTo>
                  <a:lnTo>
                    <a:pt x="126" y="194"/>
                  </a:lnTo>
                  <a:lnTo>
                    <a:pt x="134" y="198"/>
                  </a:lnTo>
                  <a:lnTo>
                    <a:pt x="144" y="202"/>
                  </a:lnTo>
                  <a:lnTo>
                    <a:pt x="154" y="202"/>
                  </a:lnTo>
                  <a:lnTo>
                    <a:pt x="154" y="202"/>
                  </a:lnTo>
                  <a:lnTo>
                    <a:pt x="164" y="202"/>
                  </a:lnTo>
                  <a:lnTo>
                    <a:pt x="172" y="198"/>
                  </a:lnTo>
                  <a:lnTo>
                    <a:pt x="180" y="194"/>
                  </a:lnTo>
                  <a:lnTo>
                    <a:pt x="188" y="188"/>
                  </a:lnTo>
                  <a:lnTo>
                    <a:pt x="194" y="180"/>
                  </a:lnTo>
                  <a:lnTo>
                    <a:pt x="198" y="172"/>
                  </a:lnTo>
                  <a:lnTo>
                    <a:pt x="202" y="164"/>
                  </a:lnTo>
                  <a:lnTo>
                    <a:pt x="202" y="154"/>
                  </a:lnTo>
                  <a:lnTo>
                    <a:pt x="202" y="154"/>
                  </a:lnTo>
                  <a:lnTo>
                    <a:pt x="202" y="144"/>
                  </a:lnTo>
                  <a:lnTo>
                    <a:pt x="198" y="134"/>
                  </a:lnTo>
                  <a:lnTo>
                    <a:pt x="194" y="126"/>
                  </a:lnTo>
                  <a:lnTo>
                    <a:pt x="188" y="120"/>
                  </a:lnTo>
                  <a:lnTo>
                    <a:pt x="180" y="114"/>
                  </a:lnTo>
                  <a:lnTo>
                    <a:pt x="172" y="108"/>
                  </a:lnTo>
                  <a:lnTo>
                    <a:pt x="164" y="106"/>
                  </a:lnTo>
                  <a:lnTo>
                    <a:pt x="154" y="104"/>
                  </a:lnTo>
                  <a:lnTo>
                    <a:pt x="154" y="104"/>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grpSp>
          <p:nvGrpSpPr>
            <p:cNvPr id="17" name="Group 16"/>
            <p:cNvGrpSpPr/>
            <p:nvPr/>
          </p:nvGrpSpPr>
          <p:grpSpPr>
            <a:xfrm>
              <a:off x="5413104" y="2621197"/>
              <a:ext cx="1326042" cy="1326043"/>
              <a:chOff x="5413104" y="2598477"/>
              <a:chExt cx="1326042" cy="1326043"/>
            </a:xfrm>
          </p:grpSpPr>
          <p:sp>
            <p:nvSpPr>
              <p:cNvPr id="18" name="Freeform 5"/>
              <p:cNvSpPr/>
              <p:nvPr/>
            </p:nvSpPr>
            <p:spPr bwMode="auto">
              <a:xfrm>
                <a:off x="5642613" y="3166154"/>
                <a:ext cx="838193" cy="391237"/>
              </a:xfrm>
              <a:custGeom>
                <a:avLst/>
                <a:gdLst>
                  <a:gd name="T0" fmla="*/ 1228 w 1384"/>
                  <a:gd name="T1" fmla="*/ 646 h 646"/>
                  <a:gd name="T2" fmla="*/ 1198 w 1384"/>
                  <a:gd name="T3" fmla="*/ 636 h 646"/>
                  <a:gd name="T4" fmla="*/ 1178 w 1384"/>
                  <a:gd name="T5" fmla="*/ 614 h 646"/>
                  <a:gd name="T6" fmla="*/ 1174 w 1384"/>
                  <a:gd name="T7" fmla="*/ 106 h 646"/>
                  <a:gd name="T8" fmla="*/ 1118 w 1384"/>
                  <a:gd name="T9" fmla="*/ 594 h 646"/>
                  <a:gd name="T10" fmla="*/ 1108 w 1384"/>
                  <a:gd name="T11" fmla="*/ 622 h 646"/>
                  <a:gd name="T12" fmla="*/ 1086 w 1384"/>
                  <a:gd name="T13" fmla="*/ 642 h 646"/>
                  <a:gd name="T14" fmla="*/ 824 w 1384"/>
                  <a:gd name="T15" fmla="*/ 646 h 646"/>
                  <a:gd name="T16" fmla="*/ 804 w 1384"/>
                  <a:gd name="T17" fmla="*/ 642 h 646"/>
                  <a:gd name="T18" fmla="*/ 780 w 1384"/>
                  <a:gd name="T19" fmla="*/ 622 h 646"/>
                  <a:gd name="T20" fmla="*/ 772 w 1384"/>
                  <a:gd name="T21" fmla="*/ 594 h 646"/>
                  <a:gd name="T22" fmla="*/ 714 w 1384"/>
                  <a:gd name="T23" fmla="*/ 594 h 646"/>
                  <a:gd name="T24" fmla="*/ 710 w 1384"/>
                  <a:gd name="T25" fmla="*/ 614 h 646"/>
                  <a:gd name="T26" fmla="*/ 690 w 1384"/>
                  <a:gd name="T27" fmla="*/ 636 h 646"/>
                  <a:gd name="T28" fmla="*/ 662 w 1384"/>
                  <a:gd name="T29" fmla="*/ 646 h 646"/>
                  <a:gd name="T30" fmla="*/ 410 w 1384"/>
                  <a:gd name="T31" fmla="*/ 644 h 646"/>
                  <a:gd name="T32" fmla="*/ 384 w 1384"/>
                  <a:gd name="T33" fmla="*/ 630 h 646"/>
                  <a:gd name="T34" fmla="*/ 368 w 1384"/>
                  <a:gd name="T35" fmla="*/ 604 h 646"/>
                  <a:gd name="T36" fmla="*/ 310 w 1384"/>
                  <a:gd name="T37" fmla="*/ 322 h 646"/>
                  <a:gd name="T38" fmla="*/ 310 w 1384"/>
                  <a:gd name="T39" fmla="*/ 604 h 646"/>
                  <a:gd name="T40" fmla="*/ 296 w 1384"/>
                  <a:gd name="T41" fmla="*/ 630 h 646"/>
                  <a:gd name="T42" fmla="*/ 268 w 1384"/>
                  <a:gd name="T43" fmla="*/ 644 h 646"/>
                  <a:gd name="T44" fmla="*/ 52 w 1384"/>
                  <a:gd name="T45" fmla="*/ 646 h 646"/>
                  <a:gd name="T46" fmla="*/ 24 w 1384"/>
                  <a:gd name="T47" fmla="*/ 636 h 646"/>
                  <a:gd name="T48" fmla="*/ 4 w 1384"/>
                  <a:gd name="T49" fmla="*/ 614 h 646"/>
                  <a:gd name="T50" fmla="*/ 0 w 1384"/>
                  <a:gd name="T51" fmla="*/ 594 h 646"/>
                  <a:gd name="T52" fmla="*/ 10 w 1384"/>
                  <a:gd name="T53" fmla="*/ 564 h 646"/>
                  <a:gd name="T54" fmla="*/ 32 w 1384"/>
                  <a:gd name="T55" fmla="*/ 544 h 646"/>
                  <a:gd name="T56" fmla="*/ 206 w 1384"/>
                  <a:gd name="T57" fmla="*/ 540 h 646"/>
                  <a:gd name="T58" fmla="*/ 208 w 1384"/>
                  <a:gd name="T59" fmla="*/ 278 h 646"/>
                  <a:gd name="T60" fmla="*/ 228 w 1384"/>
                  <a:gd name="T61" fmla="*/ 240 h 646"/>
                  <a:gd name="T62" fmla="*/ 266 w 1384"/>
                  <a:gd name="T63" fmla="*/ 218 h 646"/>
                  <a:gd name="T64" fmla="*/ 398 w 1384"/>
                  <a:gd name="T65" fmla="*/ 218 h 646"/>
                  <a:gd name="T66" fmla="*/ 440 w 1384"/>
                  <a:gd name="T67" fmla="*/ 230 h 646"/>
                  <a:gd name="T68" fmla="*/ 466 w 1384"/>
                  <a:gd name="T69" fmla="*/ 264 h 646"/>
                  <a:gd name="T70" fmla="*/ 472 w 1384"/>
                  <a:gd name="T71" fmla="*/ 540 h 646"/>
                  <a:gd name="T72" fmla="*/ 608 w 1384"/>
                  <a:gd name="T73" fmla="*/ 152 h 646"/>
                  <a:gd name="T74" fmla="*/ 622 w 1384"/>
                  <a:gd name="T75" fmla="*/ 110 h 646"/>
                  <a:gd name="T76" fmla="*/ 654 w 1384"/>
                  <a:gd name="T77" fmla="*/ 82 h 646"/>
                  <a:gd name="T78" fmla="*/ 800 w 1384"/>
                  <a:gd name="T79" fmla="*/ 76 h 646"/>
                  <a:gd name="T80" fmla="*/ 830 w 1384"/>
                  <a:gd name="T81" fmla="*/ 82 h 646"/>
                  <a:gd name="T82" fmla="*/ 864 w 1384"/>
                  <a:gd name="T83" fmla="*/ 110 h 646"/>
                  <a:gd name="T84" fmla="*/ 876 w 1384"/>
                  <a:gd name="T85" fmla="*/ 152 h 646"/>
                  <a:gd name="T86" fmla="*/ 1012 w 1384"/>
                  <a:gd name="T87" fmla="*/ 76 h 646"/>
                  <a:gd name="T88" fmla="*/ 1018 w 1384"/>
                  <a:gd name="T89" fmla="*/ 46 h 646"/>
                  <a:gd name="T90" fmla="*/ 1046 w 1384"/>
                  <a:gd name="T91" fmla="*/ 12 h 646"/>
                  <a:gd name="T92" fmla="*/ 1088 w 1384"/>
                  <a:gd name="T93" fmla="*/ 0 h 646"/>
                  <a:gd name="T94" fmla="*/ 1220 w 1384"/>
                  <a:gd name="T95" fmla="*/ 2 h 646"/>
                  <a:gd name="T96" fmla="*/ 1258 w 1384"/>
                  <a:gd name="T97" fmla="*/ 22 h 646"/>
                  <a:gd name="T98" fmla="*/ 1278 w 1384"/>
                  <a:gd name="T99" fmla="*/ 60 h 646"/>
                  <a:gd name="T100" fmla="*/ 1332 w 1384"/>
                  <a:gd name="T101" fmla="*/ 540 h 646"/>
                  <a:gd name="T102" fmla="*/ 1352 w 1384"/>
                  <a:gd name="T103" fmla="*/ 544 h 646"/>
                  <a:gd name="T104" fmla="*/ 1376 w 1384"/>
                  <a:gd name="T105" fmla="*/ 564 h 646"/>
                  <a:gd name="T106" fmla="*/ 1384 w 1384"/>
                  <a:gd name="T107" fmla="*/ 594 h 646"/>
                  <a:gd name="T108" fmla="*/ 1380 w 1384"/>
                  <a:gd name="T109" fmla="*/ 614 h 646"/>
                  <a:gd name="T110" fmla="*/ 1362 w 1384"/>
                  <a:gd name="T111" fmla="*/ 636 h 646"/>
                  <a:gd name="T112" fmla="*/ 1332 w 1384"/>
                  <a:gd name="T113" fmla="*/ 646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84" h="646">
                    <a:moveTo>
                      <a:pt x="1332" y="646"/>
                    </a:moveTo>
                    <a:lnTo>
                      <a:pt x="1228" y="646"/>
                    </a:lnTo>
                    <a:lnTo>
                      <a:pt x="1228" y="646"/>
                    </a:lnTo>
                    <a:lnTo>
                      <a:pt x="1216" y="644"/>
                    </a:lnTo>
                    <a:lnTo>
                      <a:pt x="1206" y="642"/>
                    </a:lnTo>
                    <a:lnTo>
                      <a:pt x="1198" y="636"/>
                    </a:lnTo>
                    <a:lnTo>
                      <a:pt x="1190" y="630"/>
                    </a:lnTo>
                    <a:lnTo>
                      <a:pt x="1184" y="622"/>
                    </a:lnTo>
                    <a:lnTo>
                      <a:pt x="1178" y="614"/>
                    </a:lnTo>
                    <a:lnTo>
                      <a:pt x="1176" y="604"/>
                    </a:lnTo>
                    <a:lnTo>
                      <a:pt x="1174" y="594"/>
                    </a:lnTo>
                    <a:lnTo>
                      <a:pt x="1174" y="106"/>
                    </a:lnTo>
                    <a:lnTo>
                      <a:pt x="1118" y="106"/>
                    </a:lnTo>
                    <a:lnTo>
                      <a:pt x="1118" y="594"/>
                    </a:lnTo>
                    <a:lnTo>
                      <a:pt x="1118" y="594"/>
                    </a:lnTo>
                    <a:lnTo>
                      <a:pt x="1116" y="604"/>
                    </a:lnTo>
                    <a:lnTo>
                      <a:pt x="1114" y="614"/>
                    </a:lnTo>
                    <a:lnTo>
                      <a:pt x="1108" y="622"/>
                    </a:lnTo>
                    <a:lnTo>
                      <a:pt x="1102" y="630"/>
                    </a:lnTo>
                    <a:lnTo>
                      <a:pt x="1094" y="636"/>
                    </a:lnTo>
                    <a:lnTo>
                      <a:pt x="1086" y="642"/>
                    </a:lnTo>
                    <a:lnTo>
                      <a:pt x="1076" y="644"/>
                    </a:lnTo>
                    <a:lnTo>
                      <a:pt x="1064" y="646"/>
                    </a:lnTo>
                    <a:lnTo>
                      <a:pt x="824" y="646"/>
                    </a:lnTo>
                    <a:lnTo>
                      <a:pt x="824" y="646"/>
                    </a:lnTo>
                    <a:lnTo>
                      <a:pt x="814" y="644"/>
                    </a:lnTo>
                    <a:lnTo>
                      <a:pt x="804" y="642"/>
                    </a:lnTo>
                    <a:lnTo>
                      <a:pt x="794" y="636"/>
                    </a:lnTo>
                    <a:lnTo>
                      <a:pt x="786" y="630"/>
                    </a:lnTo>
                    <a:lnTo>
                      <a:pt x="780" y="622"/>
                    </a:lnTo>
                    <a:lnTo>
                      <a:pt x="776" y="614"/>
                    </a:lnTo>
                    <a:lnTo>
                      <a:pt x="772" y="604"/>
                    </a:lnTo>
                    <a:lnTo>
                      <a:pt x="772" y="594"/>
                    </a:lnTo>
                    <a:lnTo>
                      <a:pt x="772" y="182"/>
                    </a:lnTo>
                    <a:lnTo>
                      <a:pt x="714" y="182"/>
                    </a:lnTo>
                    <a:lnTo>
                      <a:pt x="714" y="594"/>
                    </a:lnTo>
                    <a:lnTo>
                      <a:pt x="714" y="594"/>
                    </a:lnTo>
                    <a:lnTo>
                      <a:pt x="712" y="604"/>
                    </a:lnTo>
                    <a:lnTo>
                      <a:pt x="710" y="614"/>
                    </a:lnTo>
                    <a:lnTo>
                      <a:pt x="706" y="622"/>
                    </a:lnTo>
                    <a:lnTo>
                      <a:pt x="698" y="630"/>
                    </a:lnTo>
                    <a:lnTo>
                      <a:pt x="690" y="636"/>
                    </a:lnTo>
                    <a:lnTo>
                      <a:pt x="682" y="642"/>
                    </a:lnTo>
                    <a:lnTo>
                      <a:pt x="672" y="644"/>
                    </a:lnTo>
                    <a:lnTo>
                      <a:pt x="662" y="646"/>
                    </a:lnTo>
                    <a:lnTo>
                      <a:pt x="420" y="646"/>
                    </a:lnTo>
                    <a:lnTo>
                      <a:pt x="420" y="646"/>
                    </a:lnTo>
                    <a:lnTo>
                      <a:pt x="410" y="644"/>
                    </a:lnTo>
                    <a:lnTo>
                      <a:pt x="400" y="642"/>
                    </a:lnTo>
                    <a:lnTo>
                      <a:pt x="390" y="636"/>
                    </a:lnTo>
                    <a:lnTo>
                      <a:pt x="384" y="630"/>
                    </a:lnTo>
                    <a:lnTo>
                      <a:pt x="376" y="622"/>
                    </a:lnTo>
                    <a:lnTo>
                      <a:pt x="372" y="614"/>
                    </a:lnTo>
                    <a:lnTo>
                      <a:pt x="368" y="604"/>
                    </a:lnTo>
                    <a:lnTo>
                      <a:pt x="368" y="594"/>
                    </a:lnTo>
                    <a:lnTo>
                      <a:pt x="368" y="322"/>
                    </a:lnTo>
                    <a:lnTo>
                      <a:pt x="310" y="322"/>
                    </a:lnTo>
                    <a:lnTo>
                      <a:pt x="310" y="594"/>
                    </a:lnTo>
                    <a:lnTo>
                      <a:pt x="310" y="594"/>
                    </a:lnTo>
                    <a:lnTo>
                      <a:pt x="310" y="604"/>
                    </a:lnTo>
                    <a:lnTo>
                      <a:pt x="306" y="614"/>
                    </a:lnTo>
                    <a:lnTo>
                      <a:pt x="302" y="622"/>
                    </a:lnTo>
                    <a:lnTo>
                      <a:pt x="296" y="630"/>
                    </a:lnTo>
                    <a:lnTo>
                      <a:pt x="288" y="636"/>
                    </a:lnTo>
                    <a:lnTo>
                      <a:pt x="278" y="642"/>
                    </a:lnTo>
                    <a:lnTo>
                      <a:pt x="268" y="644"/>
                    </a:lnTo>
                    <a:lnTo>
                      <a:pt x="258" y="646"/>
                    </a:lnTo>
                    <a:lnTo>
                      <a:pt x="52" y="646"/>
                    </a:lnTo>
                    <a:lnTo>
                      <a:pt x="52" y="646"/>
                    </a:lnTo>
                    <a:lnTo>
                      <a:pt x="42" y="644"/>
                    </a:lnTo>
                    <a:lnTo>
                      <a:pt x="32" y="642"/>
                    </a:lnTo>
                    <a:lnTo>
                      <a:pt x="24" y="636"/>
                    </a:lnTo>
                    <a:lnTo>
                      <a:pt x="16" y="630"/>
                    </a:lnTo>
                    <a:lnTo>
                      <a:pt x="10" y="622"/>
                    </a:lnTo>
                    <a:lnTo>
                      <a:pt x="4" y="614"/>
                    </a:lnTo>
                    <a:lnTo>
                      <a:pt x="2" y="604"/>
                    </a:lnTo>
                    <a:lnTo>
                      <a:pt x="0" y="594"/>
                    </a:lnTo>
                    <a:lnTo>
                      <a:pt x="0" y="594"/>
                    </a:lnTo>
                    <a:lnTo>
                      <a:pt x="2" y="582"/>
                    </a:lnTo>
                    <a:lnTo>
                      <a:pt x="4" y="572"/>
                    </a:lnTo>
                    <a:lnTo>
                      <a:pt x="10" y="564"/>
                    </a:lnTo>
                    <a:lnTo>
                      <a:pt x="16" y="556"/>
                    </a:lnTo>
                    <a:lnTo>
                      <a:pt x="24" y="550"/>
                    </a:lnTo>
                    <a:lnTo>
                      <a:pt x="32" y="544"/>
                    </a:lnTo>
                    <a:lnTo>
                      <a:pt x="42" y="542"/>
                    </a:lnTo>
                    <a:lnTo>
                      <a:pt x="52" y="540"/>
                    </a:lnTo>
                    <a:lnTo>
                      <a:pt x="206" y="540"/>
                    </a:lnTo>
                    <a:lnTo>
                      <a:pt x="206" y="292"/>
                    </a:lnTo>
                    <a:lnTo>
                      <a:pt x="206" y="292"/>
                    </a:lnTo>
                    <a:lnTo>
                      <a:pt x="208" y="278"/>
                    </a:lnTo>
                    <a:lnTo>
                      <a:pt x="212" y="264"/>
                    </a:lnTo>
                    <a:lnTo>
                      <a:pt x="218" y="250"/>
                    </a:lnTo>
                    <a:lnTo>
                      <a:pt x="228" y="240"/>
                    </a:lnTo>
                    <a:lnTo>
                      <a:pt x="238" y="230"/>
                    </a:lnTo>
                    <a:lnTo>
                      <a:pt x="252" y="224"/>
                    </a:lnTo>
                    <a:lnTo>
                      <a:pt x="266" y="218"/>
                    </a:lnTo>
                    <a:lnTo>
                      <a:pt x="280" y="218"/>
                    </a:lnTo>
                    <a:lnTo>
                      <a:pt x="398" y="218"/>
                    </a:lnTo>
                    <a:lnTo>
                      <a:pt x="398" y="218"/>
                    </a:lnTo>
                    <a:lnTo>
                      <a:pt x="412" y="218"/>
                    </a:lnTo>
                    <a:lnTo>
                      <a:pt x="426" y="224"/>
                    </a:lnTo>
                    <a:lnTo>
                      <a:pt x="440" y="230"/>
                    </a:lnTo>
                    <a:lnTo>
                      <a:pt x="450" y="240"/>
                    </a:lnTo>
                    <a:lnTo>
                      <a:pt x="460" y="250"/>
                    </a:lnTo>
                    <a:lnTo>
                      <a:pt x="466" y="264"/>
                    </a:lnTo>
                    <a:lnTo>
                      <a:pt x="472" y="278"/>
                    </a:lnTo>
                    <a:lnTo>
                      <a:pt x="472" y="292"/>
                    </a:lnTo>
                    <a:lnTo>
                      <a:pt x="472" y="540"/>
                    </a:lnTo>
                    <a:lnTo>
                      <a:pt x="608" y="540"/>
                    </a:lnTo>
                    <a:lnTo>
                      <a:pt x="608" y="152"/>
                    </a:lnTo>
                    <a:lnTo>
                      <a:pt x="608" y="152"/>
                    </a:lnTo>
                    <a:lnTo>
                      <a:pt x="610" y="136"/>
                    </a:lnTo>
                    <a:lnTo>
                      <a:pt x="614" y="122"/>
                    </a:lnTo>
                    <a:lnTo>
                      <a:pt x="622" y="110"/>
                    </a:lnTo>
                    <a:lnTo>
                      <a:pt x="632" y="98"/>
                    </a:lnTo>
                    <a:lnTo>
                      <a:pt x="642" y="90"/>
                    </a:lnTo>
                    <a:lnTo>
                      <a:pt x="654" y="82"/>
                    </a:lnTo>
                    <a:lnTo>
                      <a:pt x="668" y="78"/>
                    </a:lnTo>
                    <a:lnTo>
                      <a:pt x="684" y="76"/>
                    </a:lnTo>
                    <a:lnTo>
                      <a:pt x="800" y="76"/>
                    </a:lnTo>
                    <a:lnTo>
                      <a:pt x="800" y="76"/>
                    </a:lnTo>
                    <a:lnTo>
                      <a:pt x="816" y="78"/>
                    </a:lnTo>
                    <a:lnTo>
                      <a:pt x="830" y="82"/>
                    </a:lnTo>
                    <a:lnTo>
                      <a:pt x="842" y="90"/>
                    </a:lnTo>
                    <a:lnTo>
                      <a:pt x="854" y="98"/>
                    </a:lnTo>
                    <a:lnTo>
                      <a:pt x="864" y="110"/>
                    </a:lnTo>
                    <a:lnTo>
                      <a:pt x="870" y="122"/>
                    </a:lnTo>
                    <a:lnTo>
                      <a:pt x="874" y="136"/>
                    </a:lnTo>
                    <a:lnTo>
                      <a:pt x="876" y="152"/>
                    </a:lnTo>
                    <a:lnTo>
                      <a:pt x="876" y="540"/>
                    </a:lnTo>
                    <a:lnTo>
                      <a:pt x="1012" y="540"/>
                    </a:lnTo>
                    <a:lnTo>
                      <a:pt x="1012" y="76"/>
                    </a:lnTo>
                    <a:lnTo>
                      <a:pt x="1012" y="76"/>
                    </a:lnTo>
                    <a:lnTo>
                      <a:pt x="1014" y="60"/>
                    </a:lnTo>
                    <a:lnTo>
                      <a:pt x="1018" y="46"/>
                    </a:lnTo>
                    <a:lnTo>
                      <a:pt x="1026" y="34"/>
                    </a:lnTo>
                    <a:lnTo>
                      <a:pt x="1034" y="22"/>
                    </a:lnTo>
                    <a:lnTo>
                      <a:pt x="1046" y="12"/>
                    </a:lnTo>
                    <a:lnTo>
                      <a:pt x="1058" y="6"/>
                    </a:lnTo>
                    <a:lnTo>
                      <a:pt x="1072" y="2"/>
                    </a:lnTo>
                    <a:lnTo>
                      <a:pt x="1088" y="0"/>
                    </a:lnTo>
                    <a:lnTo>
                      <a:pt x="1204" y="0"/>
                    </a:lnTo>
                    <a:lnTo>
                      <a:pt x="1204" y="0"/>
                    </a:lnTo>
                    <a:lnTo>
                      <a:pt x="1220" y="2"/>
                    </a:lnTo>
                    <a:lnTo>
                      <a:pt x="1234" y="6"/>
                    </a:lnTo>
                    <a:lnTo>
                      <a:pt x="1246" y="12"/>
                    </a:lnTo>
                    <a:lnTo>
                      <a:pt x="1258" y="22"/>
                    </a:lnTo>
                    <a:lnTo>
                      <a:pt x="1266" y="34"/>
                    </a:lnTo>
                    <a:lnTo>
                      <a:pt x="1274" y="46"/>
                    </a:lnTo>
                    <a:lnTo>
                      <a:pt x="1278" y="60"/>
                    </a:lnTo>
                    <a:lnTo>
                      <a:pt x="1280" y="76"/>
                    </a:lnTo>
                    <a:lnTo>
                      <a:pt x="1280" y="540"/>
                    </a:lnTo>
                    <a:lnTo>
                      <a:pt x="1332" y="540"/>
                    </a:lnTo>
                    <a:lnTo>
                      <a:pt x="1332" y="540"/>
                    </a:lnTo>
                    <a:lnTo>
                      <a:pt x="1342" y="542"/>
                    </a:lnTo>
                    <a:lnTo>
                      <a:pt x="1352" y="544"/>
                    </a:lnTo>
                    <a:lnTo>
                      <a:pt x="1362" y="550"/>
                    </a:lnTo>
                    <a:lnTo>
                      <a:pt x="1370" y="556"/>
                    </a:lnTo>
                    <a:lnTo>
                      <a:pt x="1376" y="564"/>
                    </a:lnTo>
                    <a:lnTo>
                      <a:pt x="1380" y="572"/>
                    </a:lnTo>
                    <a:lnTo>
                      <a:pt x="1384" y="582"/>
                    </a:lnTo>
                    <a:lnTo>
                      <a:pt x="1384" y="594"/>
                    </a:lnTo>
                    <a:lnTo>
                      <a:pt x="1384" y="594"/>
                    </a:lnTo>
                    <a:lnTo>
                      <a:pt x="1384" y="604"/>
                    </a:lnTo>
                    <a:lnTo>
                      <a:pt x="1380" y="614"/>
                    </a:lnTo>
                    <a:lnTo>
                      <a:pt x="1376" y="622"/>
                    </a:lnTo>
                    <a:lnTo>
                      <a:pt x="1370" y="630"/>
                    </a:lnTo>
                    <a:lnTo>
                      <a:pt x="1362" y="636"/>
                    </a:lnTo>
                    <a:lnTo>
                      <a:pt x="1352" y="642"/>
                    </a:lnTo>
                    <a:lnTo>
                      <a:pt x="1342" y="644"/>
                    </a:lnTo>
                    <a:lnTo>
                      <a:pt x="1332" y="646"/>
                    </a:lnTo>
                    <a:lnTo>
                      <a:pt x="1332" y="646"/>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19" name="Freeform 6"/>
              <p:cNvSpPr>
                <a:spLocks noEditPoints="1"/>
              </p:cNvSpPr>
              <p:nvPr/>
            </p:nvSpPr>
            <p:spPr bwMode="auto">
              <a:xfrm>
                <a:off x="5757683" y="2925113"/>
                <a:ext cx="184112" cy="184112"/>
              </a:xfrm>
              <a:custGeom>
                <a:avLst/>
                <a:gdLst>
                  <a:gd name="T0" fmla="*/ 152 w 304"/>
                  <a:gd name="T1" fmla="*/ 304 h 304"/>
                  <a:gd name="T2" fmla="*/ 122 w 304"/>
                  <a:gd name="T3" fmla="*/ 302 h 304"/>
                  <a:gd name="T4" fmla="*/ 92 w 304"/>
                  <a:gd name="T5" fmla="*/ 292 h 304"/>
                  <a:gd name="T6" fmla="*/ 66 w 304"/>
                  <a:gd name="T7" fmla="*/ 278 h 304"/>
                  <a:gd name="T8" fmla="*/ 44 w 304"/>
                  <a:gd name="T9" fmla="*/ 260 h 304"/>
                  <a:gd name="T10" fmla="*/ 26 w 304"/>
                  <a:gd name="T11" fmla="*/ 238 h 304"/>
                  <a:gd name="T12" fmla="*/ 12 w 304"/>
                  <a:gd name="T13" fmla="*/ 212 h 304"/>
                  <a:gd name="T14" fmla="*/ 2 w 304"/>
                  <a:gd name="T15" fmla="*/ 182 h 304"/>
                  <a:gd name="T16" fmla="*/ 0 w 304"/>
                  <a:gd name="T17" fmla="*/ 152 h 304"/>
                  <a:gd name="T18" fmla="*/ 0 w 304"/>
                  <a:gd name="T19" fmla="*/ 136 h 304"/>
                  <a:gd name="T20" fmla="*/ 6 w 304"/>
                  <a:gd name="T21" fmla="*/ 106 h 304"/>
                  <a:gd name="T22" fmla="*/ 18 w 304"/>
                  <a:gd name="T23" fmla="*/ 80 h 304"/>
                  <a:gd name="T24" fmla="*/ 34 w 304"/>
                  <a:gd name="T25" fmla="*/ 56 h 304"/>
                  <a:gd name="T26" fmla="*/ 56 w 304"/>
                  <a:gd name="T27" fmla="*/ 34 h 304"/>
                  <a:gd name="T28" fmla="*/ 80 w 304"/>
                  <a:gd name="T29" fmla="*/ 18 h 304"/>
                  <a:gd name="T30" fmla="*/ 106 w 304"/>
                  <a:gd name="T31" fmla="*/ 6 h 304"/>
                  <a:gd name="T32" fmla="*/ 136 w 304"/>
                  <a:gd name="T33" fmla="*/ 0 h 304"/>
                  <a:gd name="T34" fmla="*/ 152 w 304"/>
                  <a:gd name="T35" fmla="*/ 0 h 304"/>
                  <a:gd name="T36" fmla="*/ 182 w 304"/>
                  <a:gd name="T37" fmla="*/ 2 h 304"/>
                  <a:gd name="T38" fmla="*/ 212 w 304"/>
                  <a:gd name="T39" fmla="*/ 12 h 304"/>
                  <a:gd name="T40" fmla="*/ 238 w 304"/>
                  <a:gd name="T41" fmla="*/ 26 h 304"/>
                  <a:gd name="T42" fmla="*/ 260 w 304"/>
                  <a:gd name="T43" fmla="*/ 44 h 304"/>
                  <a:gd name="T44" fmla="*/ 278 w 304"/>
                  <a:gd name="T45" fmla="*/ 66 h 304"/>
                  <a:gd name="T46" fmla="*/ 292 w 304"/>
                  <a:gd name="T47" fmla="*/ 92 h 304"/>
                  <a:gd name="T48" fmla="*/ 302 w 304"/>
                  <a:gd name="T49" fmla="*/ 122 h 304"/>
                  <a:gd name="T50" fmla="*/ 304 w 304"/>
                  <a:gd name="T51" fmla="*/ 152 h 304"/>
                  <a:gd name="T52" fmla="*/ 304 w 304"/>
                  <a:gd name="T53" fmla="*/ 168 h 304"/>
                  <a:gd name="T54" fmla="*/ 298 w 304"/>
                  <a:gd name="T55" fmla="*/ 198 h 304"/>
                  <a:gd name="T56" fmla="*/ 286 w 304"/>
                  <a:gd name="T57" fmla="*/ 224 h 304"/>
                  <a:gd name="T58" fmla="*/ 270 w 304"/>
                  <a:gd name="T59" fmla="*/ 250 h 304"/>
                  <a:gd name="T60" fmla="*/ 250 w 304"/>
                  <a:gd name="T61" fmla="*/ 270 h 304"/>
                  <a:gd name="T62" fmla="*/ 224 w 304"/>
                  <a:gd name="T63" fmla="*/ 286 h 304"/>
                  <a:gd name="T64" fmla="*/ 198 w 304"/>
                  <a:gd name="T65" fmla="*/ 298 h 304"/>
                  <a:gd name="T66" fmla="*/ 168 w 304"/>
                  <a:gd name="T67" fmla="*/ 304 h 304"/>
                  <a:gd name="T68" fmla="*/ 152 w 304"/>
                  <a:gd name="T69" fmla="*/ 304 h 304"/>
                  <a:gd name="T70" fmla="*/ 152 w 304"/>
                  <a:gd name="T71" fmla="*/ 104 h 304"/>
                  <a:gd name="T72" fmla="*/ 134 w 304"/>
                  <a:gd name="T73" fmla="*/ 108 h 304"/>
                  <a:gd name="T74" fmla="*/ 118 w 304"/>
                  <a:gd name="T75" fmla="*/ 118 h 304"/>
                  <a:gd name="T76" fmla="*/ 108 w 304"/>
                  <a:gd name="T77" fmla="*/ 134 h 304"/>
                  <a:gd name="T78" fmla="*/ 104 w 304"/>
                  <a:gd name="T79" fmla="*/ 152 h 304"/>
                  <a:gd name="T80" fmla="*/ 106 w 304"/>
                  <a:gd name="T81" fmla="*/ 162 h 304"/>
                  <a:gd name="T82" fmla="*/ 112 w 304"/>
                  <a:gd name="T83" fmla="*/ 178 h 304"/>
                  <a:gd name="T84" fmla="*/ 126 w 304"/>
                  <a:gd name="T85" fmla="*/ 192 h 304"/>
                  <a:gd name="T86" fmla="*/ 142 w 304"/>
                  <a:gd name="T87" fmla="*/ 198 h 304"/>
                  <a:gd name="T88" fmla="*/ 152 w 304"/>
                  <a:gd name="T89" fmla="*/ 200 h 304"/>
                  <a:gd name="T90" fmla="*/ 170 w 304"/>
                  <a:gd name="T91" fmla="*/ 196 h 304"/>
                  <a:gd name="T92" fmla="*/ 186 w 304"/>
                  <a:gd name="T93" fmla="*/ 186 h 304"/>
                  <a:gd name="T94" fmla="*/ 196 w 304"/>
                  <a:gd name="T95" fmla="*/ 170 h 304"/>
                  <a:gd name="T96" fmla="*/ 200 w 304"/>
                  <a:gd name="T97" fmla="*/ 152 h 304"/>
                  <a:gd name="T98" fmla="*/ 198 w 304"/>
                  <a:gd name="T99" fmla="*/ 142 h 304"/>
                  <a:gd name="T100" fmla="*/ 192 w 304"/>
                  <a:gd name="T101" fmla="*/ 126 h 304"/>
                  <a:gd name="T102" fmla="*/ 178 w 304"/>
                  <a:gd name="T103" fmla="*/ 112 h 304"/>
                  <a:gd name="T104" fmla="*/ 162 w 304"/>
                  <a:gd name="T105" fmla="*/ 106 h 304"/>
                  <a:gd name="T106" fmla="*/ 152 w 304"/>
                  <a:gd name="T107" fmla="*/ 1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4">
                    <a:moveTo>
                      <a:pt x="152" y="304"/>
                    </a:moveTo>
                    <a:lnTo>
                      <a:pt x="152" y="304"/>
                    </a:lnTo>
                    <a:lnTo>
                      <a:pt x="136" y="304"/>
                    </a:lnTo>
                    <a:lnTo>
                      <a:pt x="122" y="302"/>
                    </a:lnTo>
                    <a:lnTo>
                      <a:pt x="106" y="298"/>
                    </a:lnTo>
                    <a:lnTo>
                      <a:pt x="92" y="292"/>
                    </a:lnTo>
                    <a:lnTo>
                      <a:pt x="80" y="286"/>
                    </a:lnTo>
                    <a:lnTo>
                      <a:pt x="66" y="278"/>
                    </a:lnTo>
                    <a:lnTo>
                      <a:pt x="56" y="270"/>
                    </a:lnTo>
                    <a:lnTo>
                      <a:pt x="44" y="260"/>
                    </a:lnTo>
                    <a:lnTo>
                      <a:pt x="34" y="250"/>
                    </a:lnTo>
                    <a:lnTo>
                      <a:pt x="26" y="238"/>
                    </a:lnTo>
                    <a:lnTo>
                      <a:pt x="18" y="224"/>
                    </a:lnTo>
                    <a:lnTo>
                      <a:pt x="12" y="212"/>
                    </a:lnTo>
                    <a:lnTo>
                      <a:pt x="6" y="198"/>
                    </a:lnTo>
                    <a:lnTo>
                      <a:pt x="2" y="182"/>
                    </a:lnTo>
                    <a:lnTo>
                      <a:pt x="0" y="168"/>
                    </a:lnTo>
                    <a:lnTo>
                      <a:pt x="0" y="152"/>
                    </a:lnTo>
                    <a:lnTo>
                      <a:pt x="0" y="152"/>
                    </a:lnTo>
                    <a:lnTo>
                      <a:pt x="0" y="136"/>
                    </a:lnTo>
                    <a:lnTo>
                      <a:pt x="2" y="122"/>
                    </a:lnTo>
                    <a:lnTo>
                      <a:pt x="6" y="106"/>
                    </a:lnTo>
                    <a:lnTo>
                      <a:pt x="12" y="92"/>
                    </a:lnTo>
                    <a:lnTo>
                      <a:pt x="18" y="80"/>
                    </a:lnTo>
                    <a:lnTo>
                      <a:pt x="26" y="66"/>
                    </a:lnTo>
                    <a:lnTo>
                      <a:pt x="34" y="56"/>
                    </a:lnTo>
                    <a:lnTo>
                      <a:pt x="44" y="44"/>
                    </a:lnTo>
                    <a:lnTo>
                      <a:pt x="56" y="34"/>
                    </a:lnTo>
                    <a:lnTo>
                      <a:pt x="66" y="26"/>
                    </a:lnTo>
                    <a:lnTo>
                      <a:pt x="80" y="18"/>
                    </a:lnTo>
                    <a:lnTo>
                      <a:pt x="92" y="12"/>
                    </a:lnTo>
                    <a:lnTo>
                      <a:pt x="106" y="6"/>
                    </a:lnTo>
                    <a:lnTo>
                      <a:pt x="122" y="2"/>
                    </a:lnTo>
                    <a:lnTo>
                      <a:pt x="136" y="0"/>
                    </a:lnTo>
                    <a:lnTo>
                      <a:pt x="152" y="0"/>
                    </a:lnTo>
                    <a:lnTo>
                      <a:pt x="152" y="0"/>
                    </a:lnTo>
                    <a:lnTo>
                      <a:pt x="168" y="0"/>
                    </a:lnTo>
                    <a:lnTo>
                      <a:pt x="182" y="2"/>
                    </a:lnTo>
                    <a:lnTo>
                      <a:pt x="198" y="6"/>
                    </a:lnTo>
                    <a:lnTo>
                      <a:pt x="212" y="12"/>
                    </a:lnTo>
                    <a:lnTo>
                      <a:pt x="224" y="18"/>
                    </a:lnTo>
                    <a:lnTo>
                      <a:pt x="238" y="26"/>
                    </a:lnTo>
                    <a:lnTo>
                      <a:pt x="250" y="34"/>
                    </a:lnTo>
                    <a:lnTo>
                      <a:pt x="260" y="44"/>
                    </a:lnTo>
                    <a:lnTo>
                      <a:pt x="270" y="56"/>
                    </a:lnTo>
                    <a:lnTo>
                      <a:pt x="278" y="66"/>
                    </a:lnTo>
                    <a:lnTo>
                      <a:pt x="286" y="80"/>
                    </a:lnTo>
                    <a:lnTo>
                      <a:pt x="292" y="92"/>
                    </a:lnTo>
                    <a:lnTo>
                      <a:pt x="298" y="106"/>
                    </a:lnTo>
                    <a:lnTo>
                      <a:pt x="302" y="122"/>
                    </a:lnTo>
                    <a:lnTo>
                      <a:pt x="304" y="136"/>
                    </a:lnTo>
                    <a:lnTo>
                      <a:pt x="304" y="152"/>
                    </a:lnTo>
                    <a:lnTo>
                      <a:pt x="304" y="152"/>
                    </a:lnTo>
                    <a:lnTo>
                      <a:pt x="304" y="168"/>
                    </a:lnTo>
                    <a:lnTo>
                      <a:pt x="302" y="182"/>
                    </a:lnTo>
                    <a:lnTo>
                      <a:pt x="298" y="198"/>
                    </a:lnTo>
                    <a:lnTo>
                      <a:pt x="292" y="212"/>
                    </a:lnTo>
                    <a:lnTo>
                      <a:pt x="286" y="224"/>
                    </a:lnTo>
                    <a:lnTo>
                      <a:pt x="278" y="238"/>
                    </a:lnTo>
                    <a:lnTo>
                      <a:pt x="270" y="250"/>
                    </a:lnTo>
                    <a:lnTo>
                      <a:pt x="260" y="260"/>
                    </a:lnTo>
                    <a:lnTo>
                      <a:pt x="250" y="270"/>
                    </a:lnTo>
                    <a:lnTo>
                      <a:pt x="238" y="278"/>
                    </a:lnTo>
                    <a:lnTo>
                      <a:pt x="224" y="286"/>
                    </a:lnTo>
                    <a:lnTo>
                      <a:pt x="212" y="292"/>
                    </a:lnTo>
                    <a:lnTo>
                      <a:pt x="198" y="298"/>
                    </a:lnTo>
                    <a:lnTo>
                      <a:pt x="182" y="302"/>
                    </a:lnTo>
                    <a:lnTo>
                      <a:pt x="168" y="304"/>
                    </a:lnTo>
                    <a:lnTo>
                      <a:pt x="152" y="304"/>
                    </a:lnTo>
                    <a:lnTo>
                      <a:pt x="152" y="304"/>
                    </a:lnTo>
                    <a:close/>
                    <a:moveTo>
                      <a:pt x="152" y="104"/>
                    </a:moveTo>
                    <a:lnTo>
                      <a:pt x="152" y="104"/>
                    </a:lnTo>
                    <a:lnTo>
                      <a:pt x="142" y="106"/>
                    </a:lnTo>
                    <a:lnTo>
                      <a:pt x="134" y="108"/>
                    </a:lnTo>
                    <a:lnTo>
                      <a:pt x="126" y="112"/>
                    </a:lnTo>
                    <a:lnTo>
                      <a:pt x="118" y="118"/>
                    </a:lnTo>
                    <a:lnTo>
                      <a:pt x="112" y="126"/>
                    </a:lnTo>
                    <a:lnTo>
                      <a:pt x="108" y="134"/>
                    </a:lnTo>
                    <a:lnTo>
                      <a:pt x="106" y="142"/>
                    </a:lnTo>
                    <a:lnTo>
                      <a:pt x="104" y="152"/>
                    </a:lnTo>
                    <a:lnTo>
                      <a:pt x="104" y="152"/>
                    </a:lnTo>
                    <a:lnTo>
                      <a:pt x="106" y="162"/>
                    </a:lnTo>
                    <a:lnTo>
                      <a:pt x="108" y="170"/>
                    </a:lnTo>
                    <a:lnTo>
                      <a:pt x="112" y="178"/>
                    </a:lnTo>
                    <a:lnTo>
                      <a:pt x="118" y="186"/>
                    </a:lnTo>
                    <a:lnTo>
                      <a:pt x="126" y="192"/>
                    </a:lnTo>
                    <a:lnTo>
                      <a:pt x="134" y="196"/>
                    </a:lnTo>
                    <a:lnTo>
                      <a:pt x="142" y="198"/>
                    </a:lnTo>
                    <a:lnTo>
                      <a:pt x="152" y="200"/>
                    </a:lnTo>
                    <a:lnTo>
                      <a:pt x="152" y="200"/>
                    </a:lnTo>
                    <a:lnTo>
                      <a:pt x="162" y="198"/>
                    </a:lnTo>
                    <a:lnTo>
                      <a:pt x="170" y="196"/>
                    </a:lnTo>
                    <a:lnTo>
                      <a:pt x="178" y="192"/>
                    </a:lnTo>
                    <a:lnTo>
                      <a:pt x="186" y="186"/>
                    </a:lnTo>
                    <a:lnTo>
                      <a:pt x="192" y="178"/>
                    </a:lnTo>
                    <a:lnTo>
                      <a:pt x="196" y="170"/>
                    </a:lnTo>
                    <a:lnTo>
                      <a:pt x="198" y="162"/>
                    </a:lnTo>
                    <a:lnTo>
                      <a:pt x="200" y="152"/>
                    </a:lnTo>
                    <a:lnTo>
                      <a:pt x="200" y="152"/>
                    </a:lnTo>
                    <a:lnTo>
                      <a:pt x="198" y="142"/>
                    </a:lnTo>
                    <a:lnTo>
                      <a:pt x="196" y="134"/>
                    </a:lnTo>
                    <a:lnTo>
                      <a:pt x="192" y="126"/>
                    </a:lnTo>
                    <a:lnTo>
                      <a:pt x="186" y="118"/>
                    </a:lnTo>
                    <a:lnTo>
                      <a:pt x="178" y="112"/>
                    </a:lnTo>
                    <a:lnTo>
                      <a:pt x="170" y="108"/>
                    </a:lnTo>
                    <a:lnTo>
                      <a:pt x="162" y="106"/>
                    </a:lnTo>
                    <a:lnTo>
                      <a:pt x="152" y="104"/>
                    </a:lnTo>
                    <a:lnTo>
                      <a:pt x="152" y="104"/>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0" name="Freeform 7"/>
              <p:cNvSpPr>
                <a:spLocks noEditPoints="1"/>
              </p:cNvSpPr>
              <p:nvPr/>
            </p:nvSpPr>
            <p:spPr bwMode="auto">
              <a:xfrm>
                <a:off x="6002359" y="2994156"/>
                <a:ext cx="184112" cy="185323"/>
              </a:xfrm>
              <a:custGeom>
                <a:avLst/>
                <a:gdLst>
                  <a:gd name="T0" fmla="*/ 152 w 304"/>
                  <a:gd name="T1" fmla="*/ 306 h 306"/>
                  <a:gd name="T2" fmla="*/ 120 w 304"/>
                  <a:gd name="T3" fmla="*/ 302 h 306"/>
                  <a:gd name="T4" fmla="*/ 92 w 304"/>
                  <a:gd name="T5" fmla="*/ 294 h 306"/>
                  <a:gd name="T6" fmla="*/ 66 w 304"/>
                  <a:gd name="T7" fmla="*/ 280 h 306"/>
                  <a:gd name="T8" fmla="*/ 44 w 304"/>
                  <a:gd name="T9" fmla="*/ 262 h 306"/>
                  <a:gd name="T10" fmla="*/ 26 w 304"/>
                  <a:gd name="T11" fmla="*/ 238 h 306"/>
                  <a:gd name="T12" fmla="*/ 12 w 304"/>
                  <a:gd name="T13" fmla="*/ 212 h 306"/>
                  <a:gd name="T14" fmla="*/ 2 w 304"/>
                  <a:gd name="T15" fmla="*/ 184 h 306"/>
                  <a:gd name="T16" fmla="*/ 0 w 304"/>
                  <a:gd name="T17" fmla="*/ 154 h 306"/>
                  <a:gd name="T18" fmla="*/ 0 w 304"/>
                  <a:gd name="T19" fmla="*/ 138 h 306"/>
                  <a:gd name="T20" fmla="*/ 6 w 304"/>
                  <a:gd name="T21" fmla="*/ 108 h 306"/>
                  <a:gd name="T22" fmla="*/ 18 w 304"/>
                  <a:gd name="T23" fmla="*/ 80 h 306"/>
                  <a:gd name="T24" fmla="*/ 34 w 304"/>
                  <a:gd name="T25" fmla="*/ 56 h 306"/>
                  <a:gd name="T26" fmla="*/ 54 w 304"/>
                  <a:gd name="T27" fmla="*/ 36 h 306"/>
                  <a:gd name="T28" fmla="*/ 78 w 304"/>
                  <a:gd name="T29" fmla="*/ 20 h 306"/>
                  <a:gd name="T30" fmla="*/ 106 w 304"/>
                  <a:gd name="T31" fmla="*/ 8 h 306"/>
                  <a:gd name="T32" fmla="*/ 136 w 304"/>
                  <a:gd name="T33" fmla="*/ 2 h 306"/>
                  <a:gd name="T34" fmla="*/ 152 w 304"/>
                  <a:gd name="T35" fmla="*/ 0 h 306"/>
                  <a:gd name="T36" fmla="*/ 182 w 304"/>
                  <a:gd name="T37" fmla="*/ 4 h 306"/>
                  <a:gd name="T38" fmla="*/ 212 w 304"/>
                  <a:gd name="T39" fmla="*/ 12 h 306"/>
                  <a:gd name="T40" fmla="*/ 236 w 304"/>
                  <a:gd name="T41" fmla="*/ 26 h 306"/>
                  <a:gd name="T42" fmla="*/ 260 w 304"/>
                  <a:gd name="T43" fmla="*/ 46 h 306"/>
                  <a:gd name="T44" fmla="*/ 278 w 304"/>
                  <a:gd name="T45" fmla="*/ 68 h 306"/>
                  <a:gd name="T46" fmla="*/ 292 w 304"/>
                  <a:gd name="T47" fmla="*/ 94 h 306"/>
                  <a:gd name="T48" fmla="*/ 302 w 304"/>
                  <a:gd name="T49" fmla="*/ 122 h 306"/>
                  <a:gd name="T50" fmla="*/ 304 w 304"/>
                  <a:gd name="T51" fmla="*/ 154 h 306"/>
                  <a:gd name="T52" fmla="*/ 304 w 304"/>
                  <a:gd name="T53" fmla="*/ 168 h 306"/>
                  <a:gd name="T54" fmla="*/ 298 w 304"/>
                  <a:gd name="T55" fmla="*/ 198 h 306"/>
                  <a:gd name="T56" fmla="*/ 286 w 304"/>
                  <a:gd name="T57" fmla="*/ 226 h 306"/>
                  <a:gd name="T58" fmla="*/ 270 w 304"/>
                  <a:gd name="T59" fmla="*/ 250 h 306"/>
                  <a:gd name="T60" fmla="*/ 248 w 304"/>
                  <a:gd name="T61" fmla="*/ 272 h 306"/>
                  <a:gd name="T62" fmla="*/ 224 w 304"/>
                  <a:gd name="T63" fmla="*/ 288 h 306"/>
                  <a:gd name="T64" fmla="*/ 198 w 304"/>
                  <a:gd name="T65" fmla="*/ 300 h 306"/>
                  <a:gd name="T66" fmla="*/ 168 w 304"/>
                  <a:gd name="T67" fmla="*/ 306 h 306"/>
                  <a:gd name="T68" fmla="*/ 152 w 304"/>
                  <a:gd name="T69" fmla="*/ 306 h 306"/>
                  <a:gd name="T70" fmla="*/ 152 w 304"/>
                  <a:gd name="T71" fmla="*/ 106 h 306"/>
                  <a:gd name="T72" fmla="*/ 134 w 304"/>
                  <a:gd name="T73" fmla="*/ 110 h 306"/>
                  <a:gd name="T74" fmla="*/ 118 w 304"/>
                  <a:gd name="T75" fmla="*/ 120 h 306"/>
                  <a:gd name="T76" fmla="*/ 108 w 304"/>
                  <a:gd name="T77" fmla="*/ 134 h 306"/>
                  <a:gd name="T78" fmla="*/ 104 w 304"/>
                  <a:gd name="T79" fmla="*/ 154 h 306"/>
                  <a:gd name="T80" fmla="*/ 106 w 304"/>
                  <a:gd name="T81" fmla="*/ 164 h 306"/>
                  <a:gd name="T82" fmla="*/ 112 w 304"/>
                  <a:gd name="T83" fmla="*/ 180 h 306"/>
                  <a:gd name="T84" fmla="*/ 126 w 304"/>
                  <a:gd name="T85" fmla="*/ 192 h 306"/>
                  <a:gd name="T86" fmla="*/ 142 w 304"/>
                  <a:gd name="T87" fmla="*/ 200 h 306"/>
                  <a:gd name="T88" fmla="*/ 152 w 304"/>
                  <a:gd name="T89" fmla="*/ 202 h 306"/>
                  <a:gd name="T90" fmla="*/ 170 w 304"/>
                  <a:gd name="T91" fmla="*/ 198 h 306"/>
                  <a:gd name="T92" fmla="*/ 186 w 304"/>
                  <a:gd name="T93" fmla="*/ 188 h 306"/>
                  <a:gd name="T94" fmla="*/ 196 w 304"/>
                  <a:gd name="T95" fmla="*/ 172 h 306"/>
                  <a:gd name="T96" fmla="*/ 200 w 304"/>
                  <a:gd name="T97" fmla="*/ 154 h 306"/>
                  <a:gd name="T98" fmla="*/ 198 w 304"/>
                  <a:gd name="T99" fmla="*/ 144 h 306"/>
                  <a:gd name="T100" fmla="*/ 192 w 304"/>
                  <a:gd name="T101" fmla="*/ 126 h 306"/>
                  <a:gd name="T102" fmla="*/ 178 w 304"/>
                  <a:gd name="T103" fmla="*/ 114 h 306"/>
                  <a:gd name="T104" fmla="*/ 162 w 304"/>
                  <a:gd name="T105" fmla="*/ 106 h 306"/>
                  <a:gd name="T106" fmla="*/ 152 w 304"/>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306">
                    <a:moveTo>
                      <a:pt x="152" y="306"/>
                    </a:moveTo>
                    <a:lnTo>
                      <a:pt x="152" y="306"/>
                    </a:lnTo>
                    <a:lnTo>
                      <a:pt x="136" y="306"/>
                    </a:lnTo>
                    <a:lnTo>
                      <a:pt x="120" y="302"/>
                    </a:lnTo>
                    <a:lnTo>
                      <a:pt x="106" y="300"/>
                    </a:lnTo>
                    <a:lnTo>
                      <a:pt x="92" y="294"/>
                    </a:lnTo>
                    <a:lnTo>
                      <a:pt x="78" y="288"/>
                    </a:lnTo>
                    <a:lnTo>
                      <a:pt x="66" y="280"/>
                    </a:lnTo>
                    <a:lnTo>
                      <a:pt x="54" y="272"/>
                    </a:lnTo>
                    <a:lnTo>
                      <a:pt x="44" y="262"/>
                    </a:lnTo>
                    <a:lnTo>
                      <a:pt x="34" y="250"/>
                    </a:lnTo>
                    <a:lnTo>
                      <a:pt x="26" y="238"/>
                    </a:lnTo>
                    <a:lnTo>
                      <a:pt x="18" y="226"/>
                    </a:lnTo>
                    <a:lnTo>
                      <a:pt x="12" y="212"/>
                    </a:lnTo>
                    <a:lnTo>
                      <a:pt x="6" y="198"/>
                    </a:lnTo>
                    <a:lnTo>
                      <a:pt x="2" y="184"/>
                    </a:lnTo>
                    <a:lnTo>
                      <a:pt x="0" y="168"/>
                    </a:lnTo>
                    <a:lnTo>
                      <a:pt x="0" y="154"/>
                    </a:lnTo>
                    <a:lnTo>
                      <a:pt x="0" y="154"/>
                    </a:lnTo>
                    <a:lnTo>
                      <a:pt x="0" y="138"/>
                    </a:lnTo>
                    <a:lnTo>
                      <a:pt x="2" y="122"/>
                    </a:lnTo>
                    <a:lnTo>
                      <a:pt x="6" y="108"/>
                    </a:lnTo>
                    <a:lnTo>
                      <a:pt x="12" y="94"/>
                    </a:lnTo>
                    <a:lnTo>
                      <a:pt x="18" y="80"/>
                    </a:lnTo>
                    <a:lnTo>
                      <a:pt x="26" y="68"/>
                    </a:lnTo>
                    <a:lnTo>
                      <a:pt x="34" y="56"/>
                    </a:lnTo>
                    <a:lnTo>
                      <a:pt x="44" y="46"/>
                    </a:lnTo>
                    <a:lnTo>
                      <a:pt x="54" y="36"/>
                    </a:lnTo>
                    <a:lnTo>
                      <a:pt x="66" y="26"/>
                    </a:lnTo>
                    <a:lnTo>
                      <a:pt x="78" y="20"/>
                    </a:lnTo>
                    <a:lnTo>
                      <a:pt x="92" y="12"/>
                    </a:lnTo>
                    <a:lnTo>
                      <a:pt x="106" y="8"/>
                    </a:lnTo>
                    <a:lnTo>
                      <a:pt x="120" y="4"/>
                    </a:lnTo>
                    <a:lnTo>
                      <a:pt x="136" y="2"/>
                    </a:lnTo>
                    <a:lnTo>
                      <a:pt x="152" y="0"/>
                    </a:lnTo>
                    <a:lnTo>
                      <a:pt x="152" y="0"/>
                    </a:lnTo>
                    <a:lnTo>
                      <a:pt x="168" y="2"/>
                    </a:lnTo>
                    <a:lnTo>
                      <a:pt x="182" y="4"/>
                    </a:lnTo>
                    <a:lnTo>
                      <a:pt x="198" y="8"/>
                    </a:lnTo>
                    <a:lnTo>
                      <a:pt x="212" y="12"/>
                    </a:lnTo>
                    <a:lnTo>
                      <a:pt x="224" y="20"/>
                    </a:lnTo>
                    <a:lnTo>
                      <a:pt x="236" y="26"/>
                    </a:lnTo>
                    <a:lnTo>
                      <a:pt x="248" y="36"/>
                    </a:lnTo>
                    <a:lnTo>
                      <a:pt x="260" y="46"/>
                    </a:lnTo>
                    <a:lnTo>
                      <a:pt x="270" y="56"/>
                    </a:lnTo>
                    <a:lnTo>
                      <a:pt x="278" y="68"/>
                    </a:lnTo>
                    <a:lnTo>
                      <a:pt x="286" y="80"/>
                    </a:lnTo>
                    <a:lnTo>
                      <a:pt x="292" y="94"/>
                    </a:lnTo>
                    <a:lnTo>
                      <a:pt x="298" y="108"/>
                    </a:lnTo>
                    <a:lnTo>
                      <a:pt x="302" y="122"/>
                    </a:lnTo>
                    <a:lnTo>
                      <a:pt x="304" y="138"/>
                    </a:lnTo>
                    <a:lnTo>
                      <a:pt x="304" y="154"/>
                    </a:lnTo>
                    <a:lnTo>
                      <a:pt x="304" y="154"/>
                    </a:lnTo>
                    <a:lnTo>
                      <a:pt x="304" y="168"/>
                    </a:lnTo>
                    <a:lnTo>
                      <a:pt x="302" y="184"/>
                    </a:lnTo>
                    <a:lnTo>
                      <a:pt x="298" y="198"/>
                    </a:lnTo>
                    <a:lnTo>
                      <a:pt x="292" y="212"/>
                    </a:lnTo>
                    <a:lnTo>
                      <a:pt x="286" y="226"/>
                    </a:lnTo>
                    <a:lnTo>
                      <a:pt x="278" y="238"/>
                    </a:lnTo>
                    <a:lnTo>
                      <a:pt x="270" y="250"/>
                    </a:lnTo>
                    <a:lnTo>
                      <a:pt x="260" y="262"/>
                    </a:lnTo>
                    <a:lnTo>
                      <a:pt x="248" y="272"/>
                    </a:lnTo>
                    <a:lnTo>
                      <a:pt x="236" y="280"/>
                    </a:lnTo>
                    <a:lnTo>
                      <a:pt x="224" y="288"/>
                    </a:lnTo>
                    <a:lnTo>
                      <a:pt x="212" y="294"/>
                    </a:lnTo>
                    <a:lnTo>
                      <a:pt x="198" y="300"/>
                    </a:lnTo>
                    <a:lnTo>
                      <a:pt x="182" y="302"/>
                    </a:lnTo>
                    <a:lnTo>
                      <a:pt x="168" y="306"/>
                    </a:lnTo>
                    <a:lnTo>
                      <a:pt x="152" y="306"/>
                    </a:lnTo>
                    <a:lnTo>
                      <a:pt x="152" y="306"/>
                    </a:lnTo>
                    <a:close/>
                    <a:moveTo>
                      <a:pt x="152" y="106"/>
                    </a:moveTo>
                    <a:lnTo>
                      <a:pt x="152" y="106"/>
                    </a:lnTo>
                    <a:lnTo>
                      <a:pt x="142" y="106"/>
                    </a:lnTo>
                    <a:lnTo>
                      <a:pt x="134" y="110"/>
                    </a:lnTo>
                    <a:lnTo>
                      <a:pt x="126" y="114"/>
                    </a:lnTo>
                    <a:lnTo>
                      <a:pt x="118" y="120"/>
                    </a:lnTo>
                    <a:lnTo>
                      <a:pt x="112" y="126"/>
                    </a:lnTo>
                    <a:lnTo>
                      <a:pt x="108" y="134"/>
                    </a:lnTo>
                    <a:lnTo>
                      <a:pt x="106" y="144"/>
                    </a:lnTo>
                    <a:lnTo>
                      <a:pt x="104" y="154"/>
                    </a:lnTo>
                    <a:lnTo>
                      <a:pt x="104" y="154"/>
                    </a:lnTo>
                    <a:lnTo>
                      <a:pt x="106" y="164"/>
                    </a:lnTo>
                    <a:lnTo>
                      <a:pt x="108" y="172"/>
                    </a:lnTo>
                    <a:lnTo>
                      <a:pt x="112" y="180"/>
                    </a:lnTo>
                    <a:lnTo>
                      <a:pt x="118" y="188"/>
                    </a:lnTo>
                    <a:lnTo>
                      <a:pt x="126" y="192"/>
                    </a:lnTo>
                    <a:lnTo>
                      <a:pt x="134" y="198"/>
                    </a:lnTo>
                    <a:lnTo>
                      <a:pt x="142" y="200"/>
                    </a:lnTo>
                    <a:lnTo>
                      <a:pt x="152" y="202"/>
                    </a:lnTo>
                    <a:lnTo>
                      <a:pt x="152" y="202"/>
                    </a:lnTo>
                    <a:lnTo>
                      <a:pt x="162" y="200"/>
                    </a:lnTo>
                    <a:lnTo>
                      <a:pt x="170" y="198"/>
                    </a:lnTo>
                    <a:lnTo>
                      <a:pt x="178" y="192"/>
                    </a:lnTo>
                    <a:lnTo>
                      <a:pt x="186" y="188"/>
                    </a:lnTo>
                    <a:lnTo>
                      <a:pt x="192" y="180"/>
                    </a:lnTo>
                    <a:lnTo>
                      <a:pt x="196" y="172"/>
                    </a:lnTo>
                    <a:lnTo>
                      <a:pt x="198" y="164"/>
                    </a:lnTo>
                    <a:lnTo>
                      <a:pt x="200" y="154"/>
                    </a:lnTo>
                    <a:lnTo>
                      <a:pt x="200" y="154"/>
                    </a:lnTo>
                    <a:lnTo>
                      <a:pt x="198" y="144"/>
                    </a:lnTo>
                    <a:lnTo>
                      <a:pt x="196" y="134"/>
                    </a:lnTo>
                    <a:lnTo>
                      <a:pt x="192" y="126"/>
                    </a:lnTo>
                    <a:lnTo>
                      <a:pt x="186" y="120"/>
                    </a:lnTo>
                    <a:lnTo>
                      <a:pt x="178" y="114"/>
                    </a:lnTo>
                    <a:lnTo>
                      <a:pt x="170" y="110"/>
                    </a:lnTo>
                    <a:lnTo>
                      <a:pt x="162" y="106"/>
                    </a:lnTo>
                    <a:lnTo>
                      <a:pt x="152" y="106"/>
                    </a:lnTo>
                    <a:lnTo>
                      <a:pt x="152" y="106"/>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1" name="Freeform 8"/>
              <p:cNvSpPr>
                <a:spLocks noEditPoints="1"/>
              </p:cNvSpPr>
              <p:nvPr/>
            </p:nvSpPr>
            <p:spPr bwMode="auto">
              <a:xfrm>
                <a:off x="6245822" y="2850015"/>
                <a:ext cx="185323" cy="185323"/>
              </a:xfrm>
              <a:custGeom>
                <a:avLst/>
                <a:gdLst>
                  <a:gd name="T0" fmla="*/ 154 w 306"/>
                  <a:gd name="T1" fmla="*/ 306 h 306"/>
                  <a:gd name="T2" fmla="*/ 122 w 306"/>
                  <a:gd name="T3" fmla="*/ 302 h 306"/>
                  <a:gd name="T4" fmla="*/ 94 w 306"/>
                  <a:gd name="T5" fmla="*/ 294 h 306"/>
                  <a:gd name="T6" fmla="*/ 68 w 306"/>
                  <a:gd name="T7" fmla="*/ 280 h 306"/>
                  <a:gd name="T8" fmla="*/ 46 w 306"/>
                  <a:gd name="T9" fmla="*/ 262 h 306"/>
                  <a:gd name="T10" fmla="*/ 26 w 306"/>
                  <a:gd name="T11" fmla="*/ 238 h 306"/>
                  <a:gd name="T12" fmla="*/ 12 w 306"/>
                  <a:gd name="T13" fmla="*/ 212 h 306"/>
                  <a:gd name="T14" fmla="*/ 4 w 306"/>
                  <a:gd name="T15" fmla="*/ 184 h 306"/>
                  <a:gd name="T16" fmla="*/ 0 w 306"/>
                  <a:gd name="T17" fmla="*/ 154 h 306"/>
                  <a:gd name="T18" fmla="*/ 2 w 306"/>
                  <a:gd name="T19" fmla="*/ 138 h 306"/>
                  <a:gd name="T20" fmla="*/ 8 w 306"/>
                  <a:gd name="T21" fmla="*/ 108 h 306"/>
                  <a:gd name="T22" fmla="*/ 18 w 306"/>
                  <a:gd name="T23" fmla="*/ 80 h 306"/>
                  <a:gd name="T24" fmla="*/ 36 w 306"/>
                  <a:gd name="T25" fmla="*/ 56 h 306"/>
                  <a:gd name="T26" fmla="*/ 56 w 306"/>
                  <a:gd name="T27" fmla="*/ 36 h 306"/>
                  <a:gd name="T28" fmla="*/ 80 w 306"/>
                  <a:gd name="T29" fmla="*/ 18 h 306"/>
                  <a:gd name="T30" fmla="*/ 108 w 306"/>
                  <a:gd name="T31" fmla="*/ 8 h 306"/>
                  <a:gd name="T32" fmla="*/ 138 w 306"/>
                  <a:gd name="T33" fmla="*/ 2 h 306"/>
                  <a:gd name="T34" fmla="*/ 154 w 306"/>
                  <a:gd name="T35" fmla="*/ 0 h 306"/>
                  <a:gd name="T36" fmla="*/ 184 w 306"/>
                  <a:gd name="T37" fmla="*/ 4 h 306"/>
                  <a:gd name="T38" fmla="*/ 212 w 306"/>
                  <a:gd name="T39" fmla="*/ 12 h 306"/>
                  <a:gd name="T40" fmla="*/ 238 w 306"/>
                  <a:gd name="T41" fmla="*/ 26 h 306"/>
                  <a:gd name="T42" fmla="*/ 260 w 306"/>
                  <a:gd name="T43" fmla="*/ 46 h 306"/>
                  <a:gd name="T44" fmla="*/ 280 w 306"/>
                  <a:gd name="T45" fmla="*/ 68 h 306"/>
                  <a:gd name="T46" fmla="*/ 294 w 306"/>
                  <a:gd name="T47" fmla="*/ 94 h 306"/>
                  <a:gd name="T48" fmla="*/ 302 w 306"/>
                  <a:gd name="T49" fmla="*/ 122 h 306"/>
                  <a:gd name="T50" fmla="*/ 306 w 306"/>
                  <a:gd name="T51" fmla="*/ 154 h 306"/>
                  <a:gd name="T52" fmla="*/ 304 w 306"/>
                  <a:gd name="T53" fmla="*/ 168 h 306"/>
                  <a:gd name="T54" fmla="*/ 298 w 306"/>
                  <a:gd name="T55" fmla="*/ 198 h 306"/>
                  <a:gd name="T56" fmla="*/ 288 w 306"/>
                  <a:gd name="T57" fmla="*/ 226 h 306"/>
                  <a:gd name="T58" fmla="*/ 270 w 306"/>
                  <a:gd name="T59" fmla="*/ 250 h 306"/>
                  <a:gd name="T60" fmla="*/ 250 w 306"/>
                  <a:gd name="T61" fmla="*/ 270 h 306"/>
                  <a:gd name="T62" fmla="*/ 226 w 306"/>
                  <a:gd name="T63" fmla="*/ 288 h 306"/>
                  <a:gd name="T64" fmla="*/ 198 w 306"/>
                  <a:gd name="T65" fmla="*/ 298 h 306"/>
                  <a:gd name="T66" fmla="*/ 168 w 306"/>
                  <a:gd name="T67" fmla="*/ 306 h 306"/>
                  <a:gd name="T68" fmla="*/ 154 w 306"/>
                  <a:gd name="T69" fmla="*/ 306 h 306"/>
                  <a:gd name="T70" fmla="*/ 154 w 306"/>
                  <a:gd name="T71" fmla="*/ 106 h 306"/>
                  <a:gd name="T72" fmla="*/ 134 w 306"/>
                  <a:gd name="T73" fmla="*/ 110 h 306"/>
                  <a:gd name="T74" fmla="*/ 120 w 306"/>
                  <a:gd name="T75" fmla="*/ 120 h 306"/>
                  <a:gd name="T76" fmla="*/ 110 w 306"/>
                  <a:gd name="T77" fmla="*/ 134 h 306"/>
                  <a:gd name="T78" fmla="*/ 106 w 306"/>
                  <a:gd name="T79" fmla="*/ 154 h 306"/>
                  <a:gd name="T80" fmla="*/ 106 w 306"/>
                  <a:gd name="T81" fmla="*/ 162 h 306"/>
                  <a:gd name="T82" fmla="*/ 114 w 306"/>
                  <a:gd name="T83" fmla="*/ 180 h 306"/>
                  <a:gd name="T84" fmla="*/ 126 w 306"/>
                  <a:gd name="T85" fmla="*/ 192 h 306"/>
                  <a:gd name="T86" fmla="*/ 144 w 306"/>
                  <a:gd name="T87" fmla="*/ 200 h 306"/>
                  <a:gd name="T88" fmla="*/ 154 w 306"/>
                  <a:gd name="T89" fmla="*/ 200 h 306"/>
                  <a:gd name="T90" fmla="*/ 172 w 306"/>
                  <a:gd name="T91" fmla="*/ 198 h 306"/>
                  <a:gd name="T92" fmla="*/ 186 w 306"/>
                  <a:gd name="T93" fmla="*/ 186 h 306"/>
                  <a:gd name="T94" fmla="*/ 196 w 306"/>
                  <a:gd name="T95" fmla="*/ 172 h 306"/>
                  <a:gd name="T96" fmla="*/ 200 w 306"/>
                  <a:gd name="T97" fmla="*/ 154 h 306"/>
                  <a:gd name="T98" fmla="*/ 200 w 306"/>
                  <a:gd name="T99" fmla="*/ 144 h 306"/>
                  <a:gd name="T100" fmla="*/ 192 w 306"/>
                  <a:gd name="T101" fmla="*/ 126 h 306"/>
                  <a:gd name="T102" fmla="*/ 180 w 306"/>
                  <a:gd name="T103" fmla="*/ 114 h 306"/>
                  <a:gd name="T104" fmla="*/ 162 w 306"/>
                  <a:gd name="T105" fmla="*/ 106 h 306"/>
                  <a:gd name="T106" fmla="*/ 154 w 306"/>
                  <a:gd name="T107" fmla="*/ 1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6" h="306">
                    <a:moveTo>
                      <a:pt x="154" y="306"/>
                    </a:moveTo>
                    <a:lnTo>
                      <a:pt x="154" y="306"/>
                    </a:lnTo>
                    <a:lnTo>
                      <a:pt x="138" y="306"/>
                    </a:lnTo>
                    <a:lnTo>
                      <a:pt x="122" y="302"/>
                    </a:lnTo>
                    <a:lnTo>
                      <a:pt x="108" y="298"/>
                    </a:lnTo>
                    <a:lnTo>
                      <a:pt x="94" y="294"/>
                    </a:lnTo>
                    <a:lnTo>
                      <a:pt x="80" y="288"/>
                    </a:lnTo>
                    <a:lnTo>
                      <a:pt x="68" y="280"/>
                    </a:lnTo>
                    <a:lnTo>
                      <a:pt x="56" y="270"/>
                    </a:lnTo>
                    <a:lnTo>
                      <a:pt x="46" y="262"/>
                    </a:lnTo>
                    <a:lnTo>
                      <a:pt x="36" y="250"/>
                    </a:lnTo>
                    <a:lnTo>
                      <a:pt x="26" y="238"/>
                    </a:lnTo>
                    <a:lnTo>
                      <a:pt x="18" y="226"/>
                    </a:lnTo>
                    <a:lnTo>
                      <a:pt x="12" y="212"/>
                    </a:lnTo>
                    <a:lnTo>
                      <a:pt x="8" y="198"/>
                    </a:lnTo>
                    <a:lnTo>
                      <a:pt x="4" y="184"/>
                    </a:lnTo>
                    <a:lnTo>
                      <a:pt x="2" y="168"/>
                    </a:lnTo>
                    <a:lnTo>
                      <a:pt x="0" y="154"/>
                    </a:lnTo>
                    <a:lnTo>
                      <a:pt x="0" y="154"/>
                    </a:lnTo>
                    <a:lnTo>
                      <a:pt x="2" y="138"/>
                    </a:lnTo>
                    <a:lnTo>
                      <a:pt x="4" y="122"/>
                    </a:lnTo>
                    <a:lnTo>
                      <a:pt x="8" y="108"/>
                    </a:lnTo>
                    <a:lnTo>
                      <a:pt x="12" y="94"/>
                    </a:lnTo>
                    <a:lnTo>
                      <a:pt x="18" y="80"/>
                    </a:lnTo>
                    <a:lnTo>
                      <a:pt x="26" y="68"/>
                    </a:lnTo>
                    <a:lnTo>
                      <a:pt x="36" y="56"/>
                    </a:lnTo>
                    <a:lnTo>
                      <a:pt x="46" y="46"/>
                    </a:lnTo>
                    <a:lnTo>
                      <a:pt x="56" y="36"/>
                    </a:lnTo>
                    <a:lnTo>
                      <a:pt x="68" y="26"/>
                    </a:lnTo>
                    <a:lnTo>
                      <a:pt x="80" y="18"/>
                    </a:lnTo>
                    <a:lnTo>
                      <a:pt x="94" y="12"/>
                    </a:lnTo>
                    <a:lnTo>
                      <a:pt x="108" y="8"/>
                    </a:lnTo>
                    <a:lnTo>
                      <a:pt x="122" y="4"/>
                    </a:lnTo>
                    <a:lnTo>
                      <a:pt x="138" y="2"/>
                    </a:lnTo>
                    <a:lnTo>
                      <a:pt x="154" y="0"/>
                    </a:lnTo>
                    <a:lnTo>
                      <a:pt x="154" y="0"/>
                    </a:lnTo>
                    <a:lnTo>
                      <a:pt x="168" y="2"/>
                    </a:lnTo>
                    <a:lnTo>
                      <a:pt x="184" y="4"/>
                    </a:lnTo>
                    <a:lnTo>
                      <a:pt x="198" y="8"/>
                    </a:lnTo>
                    <a:lnTo>
                      <a:pt x="212" y="12"/>
                    </a:lnTo>
                    <a:lnTo>
                      <a:pt x="226" y="18"/>
                    </a:lnTo>
                    <a:lnTo>
                      <a:pt x="238" y="26"/>
                    </a:lnTo>
                    <a:lnTo>
                      <a:pt x="250" y="36"/>
                    </a:lnTo>
                    <a:lnTo>
                      <a:pt x="260" y="46"/>
                    </a:lnTo>
                    <a:lnTo>
                      <a:pt x="270" y="56"/>
                    </a:lnTo>
                    <a:lnTo>
                      <a:pt x="280" y="68"/>
                    </a:lnTo>
                    <a:lnTo>
                      <a:pt x="288" y="80"/>
                    </a:lnTo>
                    <a:lnTo>
                      <a:pt x="294" y="94"/>
                    </a:lnTo>
                    <a:lnTo>
                      <a:pt x="298" y="108"/>
                    </a:lnTo>
                    <a:lnTo>
                      <a:pt x="302" y="122"/>
                    </a:lnTo>
                    <a:lnTo>
                      <a:pt x="304" y="138"/>
                    </a:lnTo>
                    <a:lnTo>
                      <a:pt x="306" y="154"/>
                    </a:lnTo>
                    <a:lnTo>
                      <a:pt x="306" y="154"/>
                    </a:lnTo>
                    <a:lnTo>
                      <a:pt x="304" y="168"/>
                    </a:lnTo>
                    <a:lnTo>
                      <a:pt x="302" y="184"/>
                    </a:lnTo>
                    <a:lnTo>
                      <a:pt x="298" y="198"/>
                    </a:lnTo>
                    <a:lnTo>
                      <a:pt x="294" y="212"/>
                    </a:lnTo>
                    <a:lnTo>
                      <a:pt x="288" y="226"/>
                    </a:lnTo>
                    <a:lnTo>
                      <a:pt x="280" y="238"/>
                    </a:lnTo>
                    <a:lnTo>
                      <a:pt x="270" y="250"/>
                    </a:lnTo>
                    <a:lnTo>
                      <a:pt x="260" y="262"/>
                    </a:lnTo>
                    <a:lnTo>
                      <a:pt x="250" y="270"/>
                    </a:lnTo>
                    <a:lnTo>
                      <a:pt x="238" y="280"/>
                    </a:lnTo>
                    <a:lnTo>
                      <a:pt x="226" y="288"/>
                    </a:lnTo>
                    <a:lnTo>
                      <a:pt x="212" y="294"/>
                    </a:lnTo>
                    <a:lnTo>
                      <a:pt x="198" y="298"/>
                    </a:lnTo>
                    <a:lnTo>
                      <a:pt x="184" y="302"/>
                    </a:lnTo>
                    <a:lnTo>
                      <a:pt x="168" y="306"/>
                    </a:lnTo>
                    <a:lnTo>
                      <a:pt x="154" y="306"/>
                    </a:lnTo>
                    <a:lnTo>
                      <a:pt x="154" y="306"/>
                    </a:lnTo>
                    <a:close/>
                    <a:moveTo>
                      <a:pt x="154" y="106"/>
                    </a:moveTo>
                    <a:lnTo>
                      <a:pt x="154" y="106"/>
                    </a:lnTo>
                    <a:lnTo>
                      <a:pt x="144" y="106"/>
                    </a:lnTo>
                    <a:lnTo>
                      <a:pt x="134" y="110"/>
                    </a:lnTo>
                    <a:lnTo>
                      <a:pt x="126" y="114"/>
                    </a:lnTo>
                    <a:lnTo>
                      <a:pt x="120" y="120"/>
                    </a:lnTo>
                    <a:lnTo>
                      <a:pt x="114" y="126"/>
                    </a:lnTo>
                    <a:lnTo>
                      <a:pt x="110" y="134"/>
                    </a:lnTo>
                    <a:lnTo>
                      <a:pt x="106" y="144"/>
                    </a:lnTo>
                    <a:lnTo>
                      <a:pt x="106" y="154"/>
                    </a:lnTo>
                    <a:lnTo>
                      <a:pt x="106" y="154"/>
                    </a:lnTo>
                    <a:lnTo>
                      <a:pt x="106" y="162"/>
                    </a:lnTo>
                    <a:lnTo>
                      <a:pt x="110" y="172"/>
                    </a:lnTo>
                    <a:lnTo>
                      <a:pt x="114" y="180"/>
                    </a:lnTo>
                    <a:lnTo>
                      <a:pt x="120" y="186"/>
                    </a:lnTo>
                    <a:lnTo>
                      <a:pt x="126" y="192"/>
                    </a:lnTo>
                    <a:lnTo>
                      <a:pt x="134" y="198"/>
                    </a:lnTo>
                    <a:lnTo>
                      <a:pt x="144" y="200"/>
                    </a:lnTo>
                    <a:lnTo>
                      <a:pt x="154" y="200"/>
                    </a:lnTo>
                    <a:lnTo>
                      <a:pt x="154" y="200"/>
                    </a:lnTo>
                    <a:lnTo>
                      <a:pt x="162" y="200"/>
                    </a:lnTo>
                    <a:lnTo>
                      <a:pt x="172" y="198"/>
                    </a:lnTo>
                    <a:lnTo>
                      <a:pt x="180" y="192"/>
                    </a:lnTo>
                    <a:lnTo>
                      <a:pt x="186" y="186"/>
                    </a:lnTo>
                    <a:lnTo>
                      <a:pt x="192" y="180"/>
                    </a:lnTo>
                    <a:lnTo>
                      <a:pt x="196" y="172"/>
                    </a:lnTo>
                    <a:lnTo>
                      <a:pt x="200" y="162"/>
                    </a:lnTo>
                    <a:lnTo>
                      <a:pt x="200" y="154"/>
                    </a:lnTo>
                    <a:lnTo>
                      <a:pt x="200" y="154"/>
                    </a:lnTo>
                    <a:lnTo>
                      <a:pt x="200" y="144"/>
                    </a:lnTo>
                    <a:lnTo>
                      <a:pt x="196" y="134"/>
                    </a:lnTo>
                    <a:lnTo>
                      <a:pt x="192" y="126"/>
                    </a:lnTo>
                    <a:lnTo>
                      <a:pt x="186" y="120"/>
                    </a:lnTo>
                    <a:lnTo>
                      <a:pt x="180" y="114"/>
                    </a:lnTo>
                    <a:lnTo>
                      <a:pt x="172" y="110"/>
                    </a:lnTo>
                    <a:lnTo>
                      <a:pt x="162" y="106"/>
                    </a:lnTo>
                    <a:lnTo>
                      <a:pt x="154" y="106"/>
                    </a:lnTo>
                    <a:lnTo>
                      <a:pt x="154" y="106"/>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2" name="Freeform 9"/>
              <p:cNvSpPr/>
              <p:nvPr/>
            </p:nvSpPr>
            <p:spPr bwMode="auto">
              <a:xfrm>
                <a:off x="5875176" y="3006268"/>
                <a:ext cx="190168" cy="102957"/>
              </a:xfrm>
              <a:custGeom>
                <a:avLst/>
                <a:gdLst>
                  <a:gd name="T0" fmla="*/ 262 w 314"/>
                  <a:gd name="T1" fmla="*/ 170 h 170"/>
                  <a:gd name="T2" fmla="*/ 262 w 314"/>
                  <a:gd name="T3" fmla="*/ 170 h 170"/>
                  <a:gd name="T4" fmla="*/ 254 w 314"/>
                  <a:gd name="T5" fmla="*/ 170 h 170"/>
                  <a:gd name="T6" fmla="*/ 246 w 314"/>
                  <a:gd name="T7" fmla="*/ 168 h 170"/>
                  <a:gd name="T8" fmla="*/ 36 w 314"/>
                  <a:gd name="T9" fmla="*/ 104 h 170"/>
                  <a:gd name="T10" fmla="*/ 36 w 314"/>
                  <a:gd name="T11" fmla="*/ 104 h 170"/>
                  <a:gd name="T12" fmla="*/ 26 w 314"/>
                  <a:gd name="T13" fmla="*/ 100 h 170"/>
                  <a:gd name="T14" fmla="*/ 18 w 314"/>
                  <a:gd name="T15" fmla="*/ 94 h 170"/>
                  <a:gd name="T16" fmla="*/ 10 w 314"/>
                  <a:gd name="T17" fmla="*/ 86 h 170"/>
                  <a:gd name="T18" fmla="*/ 6 w 314"/>
                  <a:gd name="T19" fmla="*/ 78 h 170"/>
                  <a:gd name="T20" fmla="*/ 2 w 314"/>
                  <a:gd name="T21" fmla="*/ 68 h 170"/>
                  <a:gd name="T22" fmla="*/ 0 w 314"/>
                  <a:gd name="T23" fmla="*/ 58 h 170"/>
                  <a:gd name="T24" fmla="*/ 0 w 314"/>
                  <a:gd name="T25" fmla="*/ 48 h 170"/>
                  <a:gd name="T26" fmla="*/ 2 w 314"/>
                  <a:gd name="T27" fmla="*/ 38 h 170"/>
                  <a:gd name="T28" fmla="*/ 2 w 314"/>
                  <a:gd name="T29" fmla="*/ 38 h 170"/>
                  <a:gd name="T30" fmla="*/ 6 w 314"/>
                  <a:gd name="T31" fmla="*/ 28 h 170"/>
                  <a:gd name="T32" fmla="*/ 12 w 314"/>
                  <a:gd name="T33" fmla="*/ 20 h 170"/>
                  <a:gd name="T34" fmla="*/ 18 w 314"/>
                  <a:gd name="T35" fmla="*/ 12 h 170"/>
                  <a:gd name="T36" fmla="*/ 28 w 314"/>
                  <a:gd name="T37" fmla="*/ 6 h 170"/>
                  <a:gd name="T38" fmla="*/ 36 w 314"/>
                  <a:gd name="T39" fmla="*/ 2 h 170"/>
                  <a:gd name="T40" fmla="*/ 46 w 314"/>
                  <a:gd name="T41" fmla="*/ 0 h 170"/>
                  <a:gd name="T42" fmla="*/ 56 w 314"/>
                  <a:gd name="T43" fmla="*/ 0 h 170"/>
                  <a:gd name="T44" fmla="*/ 68 w 314"/>
                  <a:gd name="T45" fmla="*/ 4 h 170"/>
                  <a:gd name="T46" fmla="*/ 278 w 314"/>
                  <a:gd name="T47" fmla="*/ 68 h 170"/>
                  <a:gd name="T48" fmla="*/ 278 w 314"/>
                  <a:gd name="T49" fmla="*/ 68 h 170"/>
                  <a:gd name="T50" fmla="*/ 286 w 314"/>
                  <a:gd name="T51" fmla="*/ 72 h 170"/>
                  <a:gd name="T52" fmla="*/ 296 w 314"/>
                  <a:gd name="T53" fmla="*/ 78 h 170"/>
                  <a:gd name="T54" fmla="*/ 302 w 314"/>
                  <a:gd name="T55" fmla="*/ 86 h 170"/>
                  <a:gd name="T56" fmla="*/ 308 w 314"/>
                  <a:gd name="T57" fmla="*/ 94 h 170"/>
                  <a:gd name="T58" fmla="*/ 312 w 314"/>
                  <a:gd name="T59" fmla="*/ 104 h 170"/>
                  <a:gd name="T60" fmla="*/ 314 w 314"/>
                  <a:gd name="T61" fmla="*/ 114 h 170"/>
                  <a:gd name="T62" fmla="*/ 314 w 314"/>
                  <a:gd name="T63" fmla="*/ 124 h 170"/>
                  <a:gd name="T64" fmla="*/ 312 w 314"/>
                  <a:gd name="T65" fmla="*/ 134 h 170"/>
                  <a:gd name="T66" fmla="*/ 312 w 314"/>
                  <a:gd name="T67" fmla="*/ 134 h 170"/>
                  <a:gd name="T68" fmla="*/ 308 w 314"/>
                  <a:gd name="T69" fmla="*/ 142 h 170"/>
                  <a:gd name="T70" fmla="*/ 304 w 314"/>
                  <a:gd name="T71" fmla="*/ 150 h 170"/>
                  <a:gd name="T72" fmla="*/ 298 w 314"/>
                  <a:gd name="T73" fmla="*/ 156 h 170"/>
                  <a:gd name="T74" fmla="*/ 292 w 314"/>
                  <a:gd name="T75" fmla="*/ 160 h 170"/>
                  <a:gd name="T76" fmla="*/ 286 w 314"/>
                  <a:gd name="T77" fmla="*/ 166 h 170"/>
                  <a:gd name="T78" fmla="*/ 278 w 314"/>
                  <a:gd name="T79" fmla="*/ 168 h 170"/>
                  <a:gd name="T80" fmla="*/ 270 w 314"/>
                  <a:gd name="T81" fmla="*/ 170 h 170"/>
                  <a:gd name="T82" fmla="*/ 262 w 314"/>
                  <a:gd name="T83" fmla="*/ 170 h 170"/>
                  <a:gd name="T84" fmla="*/ 262 w 314"/>
                  <a:gd name="T85"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4" h="170">
                    <a:moveTo>
                      <a:pt x="262" y="170"/>
                    </a:moveTo>
                    <a:lnTo>
                      <a:pt x="262" y="170"/>
                    </a:lnTo>
                    <a:lnTo>
                      <a:pt x="254" y="170"/>
                    </a:lnTo>
                    <a:lnTo>
                      <a:pt x="246" y="168"/>
                    </a:lnTo>
                    <a:lnTo>
                      <a:pt x="36" y="104"/>
                    </a:lnTo>
                    <a:lnTo>
                      <a:pt x="36" y="104"/>
                    </a:lnTo>
                    <a:lnTo>
                      <a:pt x="26" y="100"/>
                    </a:lnTo>
                    <a:lnTo>
                      <a:pt x="18" y="94"/>
                    </a:lnTo>
                    <a:lnTo>
                      <a:pt x="10" y="86"/>
                    </a:lnTo>
                    <a:lnTo>
                      <a:pt x="6" y="78"/>
                    </a:lnTo>
                    <a:lnTo>
                      <a:pt x="2" y="68"/>
                    </a:lnTo>
                    <a:lnTo>
                      <a:pt x="0" y="58"/>
                    </a:lnTo>
                    <a:lnTo>
                      <a:pt x="0" y="48"/>
                    </a:lnTo>
                    <a:lnTo>
                      <a:pt x="2" y="38"/>
                    </a:lnTo>
                    <a:lnTo>
                      <a:pt x="2" y="38"/>
                    </a:lnTo>
                    <a:lnTo>
                      <a:pt x="6" y="28"/>
                    </a:lnTo>
                    <a:lnTo>
                      <a:pt x="12" y="20"/>
                    </a:lnTo>
                    <a:lnTo>
                      <a:pt x="18" y="12"/>
                    </a:lnTo>
                    <a:lnTo>
                      <a:pt x="28" y="6"/>
                    </a:lnTo>
                    <a:lnTo>
                      <a:pt x="36" y="2"/>
                    </a:lnTo>
                    <a:lnTo>
                      <a:pt x="46" y="0"/>
                    </a:lnTo>
                    <a:lnTo>
                      <a:pt x="56" y="0"/>
                    </a:lnTo>
                    <a:lnTo>
                      <a:pt x="68" y="4"/>
                    </a:lnTo>
                    <a:lnTo>
                      <a:pt x="278" y="68"/>
                    </a:lnTo>
                    <a:lnTo>
                      <a:pt x="278" y="68"/>
                    </a:lnTo>
                    <a:lnTo>
                      <a:pt x="286" y="72"/>
                    </a:lnTo>
                    <a:lnTo>
                      <a:pt x="296" y="78"/>
                    </a:lnTo>
                    <a:lnTo>
                      <a:pt x="302" y="86"/>
                    </a:lnTo>
                    <a:lnTo>
                      <a:pt x="308" y="94"/>
                    </a:lnTo>
                    <a:lnTo>
                      <a:pt x="312" y="104"/>
                    </a:lnTo>
                    <a:lnTo>
                      <a:pt x="314" y="114"/>
                    </a:lnTo>
                    <a:lnTo>
                      <a:pt x="314" y="124"/>
                    </a:lnTo>
                    <a:lnTo>
                      <a:pt x="312" y="134"/>
                    </a:lnTo>
                    <a:lnTo>
                      <a:pt x="312" y="134"/>
                    </a:lnTo>
                    <a:lnTo>
                      <a:pt x="308" y="142"/>
                    </a:lnTo>
                    <a:lnTo>
                      <a:pt x="304" y="150"/>
                    </a:lnTo>
                    <a:lnTo>
                      <a:pt x="298" y="156"/>
                    </a:lnTo>
                    <a:lnTo>
                      <a:pt x="292" y="160"/>
                    </a:lnTo>
                    <a:lnTo>
                      <a:pt x="286" y="166"/>
                    </a:lnTo>
                    <a:lnTo>
                      <a:pt x="278" y="168"/>
                    </a:lnTo>
                    <a:lnTo>
                      <a:pt x="270" y="170"/>
                    </a:lnTo>
                    <a:lnTo>
                      <a:pt x="262" y="170"/>
                    </a:lnTo>
                    <a:lnTo>
                      <a:pt x="262" y="170"/>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3" name="Freeform 10"/>
              <p:cNvSpPr/>
              <p:nvPr/>
            </p:nvSpPr>
            <p:spPr bwMode="auto">
              <a:xfrm>
                <a:off x="6123485" y="2952972"/>
                <a:ext cx="202281" cy="156253"/>
              </a:xfrm>
              <a:custGeom>
                <a:avLst/>
                <a:gdLst>
                  <a:gd name="T0" fmla="*/ 52 w 334"/>
                  <a:gd name="T1" fmla="*/ 258 h 258"/>
                  <a:gd name="T2" fmla="*/ 52 w 334"/>
                  <a:gd name="T3" fmla="*/ 258 h 258"/>
                  <a:gd name="T4" fmla="*/ 40 w 334"/>
                  <a:gd name="T5" fmla="*/ 258 h 258"/>
                  <a:gd name="T6" fmla="*/ 28 w 334"/>
                  <a:gd name="T7" fmla="*/ 252 h 258"/>
                  <a:gd name="T8" fmla="*/ 16 w 334"/>
                  <a:gd name="T9" fmla="*/ 246 h 258"/>
                  <a:gd name="T10" fmla="*/ 8 w 334"/>
                  <a:gd name="T11" fmla="*/ 236 h 258"/>
                  <a:gd name="T12" fmla="*/ 8 w 334"/>
                  <a:gd name="T13" fmla="*/ 236 h 258"/>
                  <a:gd name="T14" fmla="*/ 4 w 334"/>
                  <a:gd name="T15" fmla="*/ 226 h 258"/>
                  <a:gd name="T16" fmla="*/ 0 w 334"/>
                  <a:gd name="T17" fmla="*/ 216 h 258"/>
                  <a:gd name="T18" fmla="*/ 0 w 334"/>
                  <a:gd name="T19" fmla="*/ 206 h 258"/>
                  <a:gd name="T20" fmla="*/ 0 w 334"/>
                  <a:gd name="T21" fmla="*/ 196 h 258"/>
                  <a:gd name="T22" fmla="*/ 4 w 334"/>
                  <a:gd name="T23" fmla="*/ 186 h 258"/>
                  <a:gd name="T24" fmla="*/ 8 w 334"/>
                  <a:gd name="T25" fmla="*/ 178 h 258"/>
                  <a:gd name="T26" fmla="*/ 14 w 334"/>
                  <a:gd name="T27" fmla="*/ 170 h 258"/>
                  <a:gd name="T28" fmla="*/ 22 w 334"/>
                  <a:gd name="T29" fmla="*/ 162 h 258"/>
                  <a:gd name="T30" fmla="*/ 252 w 334"/>
                  <a:gd name="T31" fmla="*/ 8 h 258"/>
                  <a:gd name="T32" fmla="*/ 252 w 334"/>
                  <a:gd name="T33" fmla="*/ 8 h 258"/>
                  <a:gd name="T34" fmla="*/ 262 w 334"/>
                  <a:gd name="T35" fmla="*/ 4 h 258"/>
                  <a:gd name="T36" fmla="*/ 272 w 334"/>
                  <a:gd name="T37" fmla="*/ 0 h 258"/>
                  <a:gd name="T38" fmla="*/ 282 w 334"/>
                  <a:gd name="T39" fmla="*/ 0 h 258"/>
                  <a:gd name="T40" fmla="*/ 292 w 334"/>
                  <a:gd name="T41" fmla="*/ 0 h 258"/>
                  <a:gd name="T42" fmla="*/ 302 w 334"/>
                  <a:gd name="T43" fmla="*/ 4 h 258"/>
                  <a:gd name="T44" fmla="*/ 310 w 334"/>
                  <a:gd name="T45" fmla="*/ 8 h 258"/>
                  <a:gd name="T46" fmla="*/ 318 w 334"/>
                  <a:gd name="T47" fmla="*/ 14 h 258"/>
                  <a:gd name="T48" fmla="*/ 326 w 334"/>
                  <a:gd name="T49" fmla="*/ 22 h 258"/>
                  <a:gd name="T50" fmla="*/ 326 w 334"/>
                  <a:gd name="T51" fmla="*/ 22 h 258"/>
                  <a:gd name="T52" fmla="*/ 330 w 334"/>
                  <a:gd name="T53" fmla="*/ 32 h 258"/>
                  <a:gd name="T54" fmla="*/ 334 w 334"/>
                  <a:gd name="T55" fmla="*/ 42 h 258"/>
                  <a:gd name="T56" fmla="*/ 334 w 334"/>
                  <a:gd name="T57" fmla="*/ 52 h 258"/>
                  <a:gd name="T58" fmla="*/ 334 w 334"/>
                  <a:gd name="T59" fmla="*/ 62 h 258"/>
                  <a:gd name="T60" fmla="*/ 330 w 334"/>
                  <a:gd name="T61" fmla="*/ 72 h 258"/>
                  <a:gd name="T62" fmla="*/ 326 w 334"/>
                  <a:gd name="T63" fmla="*/ 80 h 258"/>
                  <a:gd name="T64" fmla="*/ 320 w 334"/>
                  <a:gd name="T65" fmla="*/ 88 h 258"/>
                  <a:gd name="T66" fmla="*/ 312 w 334"/>
                  <a:gd name="T67" fmla="*/ 96 h 258"/>
                  <a:gd name="T68" fmla="*/ 82 w 334"/>
                  <a:gd name="T69" fmla="*/ 250 h 258"/>
                  <a:gd name="T70" fmla="*/ 82 w 334"/>
                  <a:gd name="T71" fmla="*/ 250 h 258"/>
                  <a:gd name="T72" fmla="*/ 74 w 334"/>
                  <a:gd name="T73" fmla="*/ 254 h 258"/>
                  <a:gd name="T74" fmla="*/ 66 w 334"/>
                  <a:gd name="T75" fmla="*/ 256 h 258"/>
                  <a:gd name="T76" fmla="*/ 52 w 334"/>
                  <a:gd name="T77" fmla="*/ 258 h 258"/>
                  <a:gd name="T78" fmla="*/ 52 w 334"/>
                  <a:gd name="T79"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4" h="258">
                    <a:moveTo>
                      <a:pt x="52" y="258"/>
                    </a:moveTo>
                    <a:lnTo>
                      <a:pt x="52" y="258"/>
                    </a:lnTo>
                    <a:lnTo>
                      <a:pt x="40" y="258"/>
                    </a:lnTo>
                    <a:lnTo>
                      <a:pt x="28" y="252"/>
                    </a:lnTo>
                    <a:lnTo>
                      <a:pt x="16" y="246"/>
                    </a:lnTo>
                    <a:lnTo>
                      <a:pt x="8" y="236"/>
                    </a:lnTo>
                    <a:lnTo>
                      <a:pt x="8" y="236"/>
                    </a:lnTo>
                    <a:lnTo>
                      <a:pt x="4" y="226"/>
                    </a:lnTo>
                    <a:lnTo>
                      <a:pt x="0" y="216"/>
                    </a:lnTo>
                    <a:lnTo>
                      <a:pt x="0" y="206"/>
                    </a:lnTo>
                    <a:lnTo>
                      <a:pt x="0" y="196"/>
                    </a:lnTo>
                    <a:lnTo>
                      <a:pt x="4" y="186"/>
                    </a:lnTo>
                    <a:lnTo>
                      <a:pt x="8" y="178"/>
                    </a:lnTo>
                    <a:lnTo>
                      <a:pt x="14" y="170"/>
                    </a:lnTo>
                    <a:lnTo>
                      <a:pt x="22" y="162"/>
                    </a:lnTo>
                    <a:lnTo>
                      <a:pt x="252" y="8"/>
                    </a:lnTo>
                    <a:lnTo>
                      <a:pt x="252" y="8"/>
                    </a:lnTo>
                    <a:lnTo>
                      <a:pt x="262" y="4"/>
                    </a:lnTo>
                    <a:lnTo>
                      <a:pt x="272" y="0"/>
                    </a:lnTo>
                    <a:lnTo>
                      <a:pt x="282" y="0"/>
                    </a:lnTo>
                    <a:lnTo>
                      <a:pt x="292" y="0"/>
                    </a:lnTo>
                    <a:lnTo>
                      <a:pt x="302" y="4"/>
                    </a:lnTo>
                    <a:lnTo>
                      <a:pt x="310" y="8"/>
                    </a:lnTo>
                    <a:lnTo>
                      <a:pt x="318" y="14"/>
                    </a:lnTo>
                    <a:lnTo>
                      <a:pt x="326" y="22"/>
                    </a:lnTo>
                    <a:lnTo>
                      <a:pt x="326" y="22"/>
                    </a:lnTo>
                    <a:lnTo>
                      <a:pt x="330" y="32"/>
                    </a:lnTo>
                    <a:lnTo>
                      <a:pt x="334" y="42"/>
                    </a:lnTo>
                    <a:lnTo>
                      <a:pt x="334" y="52"/>
                    </a:lnTo>
                    <a:lnTo>
                      <a:pt x="334" y="62"/>
                    </a:lnTo>
                    <a:lnTo>
                      <a:pt x="330" y="72"/>
                    </a:lnTo>
                    <a:lnTo>
                      <a:pt x="326" y="80"/>
                    </a:lnTo>
                    <a:lnTo>
                      <a:pt x="320" y="88"/>
                    </a:lnTo>
                    <a:lnTo>
                      <a:pt x="312" y="96"/>
                    </a:lnTo>
                    <a:lnTo>
                      <a:pt x="82" y="250"/>
                    </a:lnTo>
                    <a:lnTo>
                      <a:pt x="82" y="250"/>
                    </a:lnTo>
                    <a:lnTo>
                      <a:pt x="74" y="254"/>
                    </a:lnTo>
                    <a:lnTo>
                      <a:pt x="66" y="256"/>
                    </a:lnTo>
                    <a:lnTo>
                      <a:pt x="52" y="258"/>
                    </a:lnTo>
                    <a:lnTo>
                      <a:pt x="52" y="258"/>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4" name="Freeform 11"/>
              <p:cNvSpPr/>
              <p:nvPr/>
            </p:nvSpPr>
            <p:spPr bwMode="auto">
              <a:xfrm>
                <a:off x="5628079" y="3026859"/>
                <a:ext cx="208337" cy="180478"/>
              </a:xfrm>
              <a:custGeom>
                <a:avLst/>
                <a:gdLst>
                  <a:gd name="T0" fmla="*/ 52 w 344"/>
                  <a:gd name="T1" fmla="*/ 298 h 298"/>
                  <a:gd name="T2" fmla="*/ 52 w 344"/>
                  <a:gd name="T3" fmla="*/ 298 h 298"/>
                  <a:gd name="T4" fmla="*/ 42 w 344"/>
                  <a:gd name="T5" fmla="*/ 298 h 298"/>
                  <a:gd name="T6" fmla="*/ 30 w 344"/>
                  <a:gd name="T7" fmla="*/ 294 h 298"/>
                  <a:gd name="T8" fmla="*/ 20 w 344"/>
                  <a:gd name="T9" fmla="*/ 288 h 298"/>
                  <a:gd name="T10" fmla="*/ 12 w 344"/>
                  <a:gd name="T11" fmla="*/ 278 h 298"/>
                  <a:gd name="T12" fmla="*/ 12 w 344"/>
                  <a:gd name="T13" fmla="*/ 278 h 298"/>
                  <a:gd name="T14" fmla="*/ 6 w 344"/>
                  <a:gd name="T15" fmla="*/ 270 h 298"/>
                  <a:gd name="T16" fmla="*/ 2 w 344"/>
                  <a:gd name="T17" fmla="*/ 260 h 298"/>
                  <a:gd name="T18" fmla="*/ 0 w 344"/>
                  <a:gd name="T19" fmla="*/ 250 h 298"/>
                  <a:gd name="T20" fmla="*/ 0 w 344"/>
                  <a:gd name="T21" fmla="*/ 240 h 298"/>
                  <a:gd name="T22" fmla="*/ 2 w 344"/>
                  <a:gd name="T23" fmla="*/ 230 h 298"/>
                  <a:gd name="T24" fmla="*/ 6 w 344"/>
                  <a:gd name="T25" fmla="*/ 220 h 298"/>
                  <a:gd name="T26" fmla="*/ 12 w 344"/>
                  <a:gd name="T27" fmla="*/ 212 h 298"/>
                  <a:gd name="T28" fmla="*/ 20 w 344"/>
                  <a:gd name="T29" fmla="*/ 204 h 298"/>
                  <a:gd name="T30" fmla="*/ 260 w 344"/>
                  <a:gd name="T31" fmla="*/ 10 h 298"/>
                  <a:gd name="T32" fmla="*/ 260 w 344"/>
                  <a:gd name="T33" fmla="*/ 10 h 298"/>
                  <a:gd name="T34" fmla="*/ 268 w 344"/>
                  <a:gd name="T35" fmla="*/ 6 h 298"/>
                  <a:gd name="T36" fmla="*/ 278 w 344"/>
                  <a:gd name="T37" fmla="*/ 2 h 298"/>
                  <a:gd name="T38" fmla="*/ 288 w 344"/>
                  <a:gd name="T39" fmla="*/ 0 h 298"/>
                  <a:gd name="T40" fmla="*/ 298 w 344"/>
                  <a:gd name="T41" fmla="*/ 0 h 298"/>
                  <a:gd name="T42" fmla="*/ 308 w 344"/>
                  <a:gd name="T43" fmla="*/ 2 h 298"/>
                  <a:gd name="T44" fmla="*/ 318 w 344"/>
                  <a:gd name="T45" fmla="*/ 6 h 298"/>
                  <a:gd name="T46" fmla="*/ 326 w 344"/>
                  <a:gd name="T47" fmla="*/ 12 h 298"/>
                  <a:gd name="T48" fmla="*/ 334 w 344"/>
                  <a:gd name="T49" fmla="*/ 18 h 298"/>
                  <a:gd name="T50" fmla="*/ 334 w 344"/>
                  <a:gd name="T51" fmla="*/ 18 h 298"/>
                  <a:gd name="T52" fmla="*/ 340 w 344"/>
                  <a:gd name="T53" fmla="*/ 28 h 298"/>
                  <a:gd name="T54" fmla="*/ 344 w 344"/>
                  <a:gd name="T55" fmla="*/ 38 h 298"/>
                  <a:gd name="T56" fmla="*/ 344 w 344"/>
                  <a:gd name="T57" fmla="*/ 48 h 298"/>
                  <a:gd name="T58" fmla="*/ 344 w 344"/>
                  <a:gd name="T59" fmla="*/ 58 h 298"/>
                  <a:gd name="T60" fmla="*/ 342 w 344"/>
                  <a:gd name="T61" fmla="*/ 68 h 298"/>
                  <a:gd name="T62" fmla="*/ 338 w 344"/>
                  <a:gd name="T63" fmla="*/ 76 h 298"/>
                  <a:gd name="T64" fmla="*/ 334 w 344"/>
                  <a:gd name="T65" fmla="*/ 86 h 298"/>
                  <a:gd name="T66" fmla="*/ 326 w 344"/>
                  <a:gd name="T67" fmla="*/ 92 h 298"/>
                  <a:gd name="T68" fmla="*/ 86 w 344"/>
                  <a:gd name="T69" fmla="*/ 286 h 298"/>
                  <a:gd name="T70" fmla="*/ 86 w 344"/>
                  <a:gd name="T71" fmla="*/ 286 h 298"/>
                  <a:gd name="T72" fmla="*/ 78 w 344"/>
                  <a:gd name="T73" fmla="*/ 292 h 298"/>
                  <a:gd name="T74" fmla="*/ 70 w 344"/>
                  <a:gd name="T75" fmla="*/ 296 h 298"/>
                  <a:gd name="T76" fmla="*/ 62 w 344"/>
                  <a:gd name="T77" fmla="*/ 298 h 298"/>
                  <a:gd name="T78" fmla="*/ 52 w 344"/>
                  <a:gd name="T79" fmla="*/ 298 h 298"/>
                  <a:gd name="T80" fmla="*/ 52 w 344"/>
                  <a:gd name="T81"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4" h="298">
                    <a:moveTo>
                      <a:pt x="52" y="298"/>
                    </a:moveTo>
                    <a:lnTo>
                      <a:pt x="52" y="298"/>
                    </a:lnTo>
                    <a:lnTo>
                      <a:pt x="42" y="298"/>
                    </a:lnTo>
                    <a:lnTo>
                      <a:pt x="30" y="294"/>
                    </a:lnTo>
                    <a:lnTo>
                      <a:pt x="20" y="288"/>
                    </a:lnTo>
                    <a:lnTo>
                      <a:pt x="12" y="278"/>
                    </a:lnTo>
                    <a:lnTo>
                      <a:pt x="12" y="278"/>
                    </a:lnTo>
                    <a:lnTo>
                      <a:pt x="6" y="270"/>
                    </a:lnTo>
                    <a:lnTo>
                      <a:pt x="2" y="260"/>
                    </a:lnTo>
                    <a:lnTo>
                      <a:pt x="0" y="250"/>
                    </a:lnTo>
                    <a:lnTo>
                      <a:pt x="0" y="240"/>
                    </a:lnTo>
                    <a:lnTo>
                      <a:pt x="2" y="230"/>
                    </a:lnTo>
                    <a:lnTo>
                      <a:pt x="6" y="220"/>
                    </a:lnTo>
                    <a:lnTo>
                      <a:pt x="12" y="212"/>
                    </a:lnTo>
                    <a:lnTo>
                      <a:pt x="20" y="204"/>
                    </a:lnTo>
                    <a:lnTo>
                      <a:pt x="260" y="10"/>
                    </a:lnTo>
                    <a:lnTo>
                      <a:pt x="260" y="10"/>
                    </a:lnTo>
                    <a:lnTo>
                      <a:pt x="268" y="6"/>
                    </a:lnTo>
                    <a:lnTo>
                      <a:pt x="278" y="2"/>
                    </a:lnTo>
                    <a:lnTo>
                      <a:pt x="288" y="0"/>
                    </a:lnTo>
                    <a:lnTo>
                      <a:pt x="298" y="0"/>
                    </a:lnTo>
                    <a:lnTo>
                      <a:pt x="308" y="2"/>
                    </a:lnTo>
                    <a:lnTo>
                      <a:pt x="318" y="6"/>
                    </a:lnTo>
                    <a:lnTo>
                      <a:pt x="326" y="12"/>
                    </a:lnTo>
                    <a:lnTo>
                      <a:pt x="334" y="18"/>
                    </a:lnTo>
                    <a:lnTo>
                      <a:pt x="334" y="18"/>
                    </a:lnTo>
                    <a:lnTo>
                      <a:pt x="340" y="28"/>
                    </a:lnTo>
                    <a:lnTo>
                      <a:pt x="344" y="38"/>
                    </a:lnTo>
                    <a:lnTo>
                      <a:pt x="344" y="48"/>
                    </a:lnTo>
                    <a:lnTo>
                      <a:pt x="344" y="58"/>
                    </a:lnTo>
                    <a:lnTo>
                      <a:pt x="342" y="68"/>
                    </a:lnTo>
                    <a:lnTo>
                      <a:pt x="338" y="76"/>
                    </a:lnTo>
                    <a:lnTo>
                      <a:pt x="334" y="86"/>
                    </a:lnTo>
                    <a:lnTo>
                      <a:pt x="326" y="92"/>
                    </a:lnTo>
                    <a:lnTo>
                      <a:pt x="86" y="286"/>
                    </a:lnTo>
                    <a:lnTo>
                      <a:pt x="86" y="286"/>
                    </a:lnTo>
                    <a:lnTo>
                      <a:pt x="78" y="292"/>
                    </a:lnTo>
                    <a:lnTo>
                      <a:pt x="70" y="296"/>
                    </a:lnTo>
                    <a:lnTo>
                      <a:pt x="62" y="298"/>
                    </a:lnTo>
                    <a:lnTo>
                      <a:pt x="52" y="298"/>
                    </a:lnTo>
                    <a:lnTo>
                      <a:pt x="52" y="298"/>
                    </a:lnTo>
                    <a:close/>
                  </a:path>
                </a:pathLst>
              </a:custGeom>
              <a:solidFill>
                <a:srgbClr val="1A86DB"/>
              </a:solidFill>
              <a:ln>
                <a:noFill/>
              </a:ln>
            </p:spPr>
            <p:txBody>
              <a:bodyPr vert="horz" wrap="square" lIns="91440" tIns="45720" rIns="91440" bIns="45720"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25" name="Oval 24"/>
              <p:cNvSpPr/>
              <p:nvPr/>
            </p:nvSpPr>
            <p:spPr bwMode="auto">
              <a:xfrm>
                <a:off x="5413104" y="2598477"/>
                <a:ext cx="1326042" cy="1326043"/>
              </a:xfrm>
              <a:prstGeom prst="ellipse">
                <a:avLst/>
              </a:prstGeom>
              <a:noFill/>
              <a:ln w="57150" cap="flat" cmpd="sng" algn="ctr">
                <a:solidFill>
                  <a:srgbClr val="1A86DB"/>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noAutofit/>
              </a:bodyPr>
              <a:lstStyle/>
              <a:p>
                <a:pPr marL="0" marR="0" lvl="0" indent="0" algn="ctr" defTabSz="950595"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grpSp>
      </p:grpSp>
      <p:grpSp>
        <p:nvGrpSpPr>
          <p:cNvPr id="26" name="Group 25"/>
          <p:cNvGrpSpPr/>
          <p:nvPr userDrawn="1"/>
        </p:nvGrpSpPr>
        <p:grpSpPr>
          <a:xfrm rot="16200000">
            <a:off x="2740442" y="3859666"/>
            <a:ext cx="186070" cy="5666952"/>
            <a:chOff x="9312007" y="34787"/>
            <a:chExt cx="1212906" cy="3143923"/>
          </a:xfrm>
        </p:grpSpPr>
        <p:sp>
          <p:nvSpPr>
            <p:cNvPr id="27" name="Bent Arrow 26"/>
            <p:cNvSpPr/>
            <p:nvPr/>
          </p:nvSpPr>
          <p:spPr bwMode="auto">
            <a:xfrm flipH="1">
              <a:off x="9832459" y="1745357"/>
              <a:ext cx="692454" cy="1433353"/>
            </a:xfrm>
            <a:prstGeom prst="bentArrow">
              <a:avLst>
                <a:gd name="adj1" fmla="val 25000"/>
                <a:gd name="adj2" fmla="val 0"/>
                <a:gd name="adj3" fmla="val 25000"/>
                <a:gd name="adj4" fmla="val 75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28" name="Bent Arrow 27"/>
            <p:cNvSpPr/>
            <p:nvPr/>
          </p:nvSpPr>
          <p:spPr bwMode="auto">
            <a:xfrm rot="10800000" flipH="1">
              <a:off x="9312007" y="34787"/>
              <a:ext cx="805099" cy="1711160"/>
            </a:xfrm>
            <a:prstGeom prst="bentArrow">
              <a:avLst>
                <a:gd name="adj1" fmla="val 25000"/>
                <a:gd name="adj2" fmla="val 0"/>
                <a:gd name="adj3" fmla="val 25000"/>
                <a:gd name="adj4" fmla="val 52871"/>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29" name="Bent Arrow 28"/>
          <p:cNvSpPr/>
          <p:nvPr userDrawn="1"/>
        </p:nvSpPr>
        <p:spPr bwMode="auto">
          <a:xfrm>
            <a:off x="5800305" y="6820878"/>
            <a:ext cx="3896736" cy="166767"/>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0" name="Bent Arrow 39"/>
          <p:cNvSpPr/>
          <p:nvPr userDrawn="1"/>
        </p:nvSpPr>
        <p:spPr bwMode="auto">
          <a:xfrm rot="10800000" flipH="1">
            <a:off x="2090781" y="5824227"/>
            <a:ext cx="8001150" cy="772911"/>
          </a:xfrm>
          <a:prstGeom prst="bentArrow">
            <a:avLst>
              <a:gd name="adj1" fmla="val 25000"/>
              <a:gd name="adj2" fmla="val 0"/>
              <a:gd name="adj3" fmla="val 25000"/>
              <a:gd name="adj4" fmla="val 20518"/>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4" name="Bent Arrow 43"/>
          <p:cNvSpPr/>
          <p:nvPr userDrawn="1"/>
        </p:nvSpPr>
        <p:spPr bwMode="auto">
          <a:xfrm rot="10800000">
            <a:off x="11449451" y="6428115"/>
            <a:ext cx="723540" cy="271351"/>
          </a:xfrm>
          <a:prstGeom prst="bentArrow">
            <a:avLst>
              <a:gd name="adj1" fmla="val 25000"/>
              <a:gd name="adj2" fmla="val 0"/>
              <a:gd name="adj3" fmla="val 25000"/>
              <a:gd name="adj4" fmla="val 100000"/>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3" name="Rectangle 42"/>
          <p:cNvSpPr/>
          <p:nvPr userDrawn="1"/>
        </p:nvSpPr>
        <p:spPr bwMode="auto">
          <a:xfrm>
            <a:off x="0" y="5482956"/>
            <a:ext cx="12436475" cy="97641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noAutofit/>
          </a:bodyPr>
          <a:lstStyle/>
          <a:p>
            <a:pPr algn="ctr" defTabSz="950595" fontAlgn="base">
              <a:spcBef>
                <a:spcPct val="0"/>
              </a:spcBef>
              <a:spcAft>
                <a:spcPct val="0"/>
              </a:spcAft>
            </a:pPr>
            <a:endParaRPr lang="en-US" sz="2450">
              <a:solidFill>
                <a:schemeClr val="tx1"/>
              </a:solidFill>
              <a:ea typeface="Segoe UI" panose="020B0502040204020203" pitchFamily="34" charset="0"/>
              <a:cs typeface="Segoe UI" panose="020B0502040204020203" pitchFamily="34" charset="0"/>
            </a:endParaRPr>
          </a:p>
        </p:txBody>
      </p:sp>
      <p:sp>
        <p:nvSpPr>
          <p:cNvPr id="45" name="Bent Arrow 44"/>
          <p:cNvSpPr/>
          <p:nvPr userDrawn="1"/>
        </p:nvSpPr>
        <p:spPr bwMode="auto">
          <a:xfrm rot="16200000">
            <a:off x="11768145" y="6741744"/>
            <a:ext cx="332072" cy="271390"/>
          </a:xfrm>
          <a:prstGeom prst="bentArrow">
            <a:avLst>
              <a:gd name="adj1" fmla="val 25000"/>
              <a:gd name="adj2" fmla="val 0"/>
              <a:gd name="adj3" fmla="val 25000"/>
              <a:gd name="adj4" fmla="val 15819"/>
            </a:avLst>
          </a:prstGeom>
          <a:solidFill>
            <a:schemeClr val="accent1"/>
          </a:solidFill>
          <a:ln w="38100">
            <a:solidFill>
              <a:srgbClr val="1A86D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noAutofit/>
          </a:bodyPr>
          <a:lstStyle/>
          <a:p>
            <a:pPr algn="ctr" defTabSz="950595" fontAlgn="base">
              <a:lnSpc>
                <a:spcPct val="90000"/>
              </a:lnSpc>
              <a:spcBef>
                <a:spcPct val="0"/>
              </a:spcBef>
              <a:spcAft>
                <a:spcPct val="0"/>
              </a:spcAft>
            </a:pPr>
            <a:endParaRPr lang="en-US" sz="245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46" name="Freeform 15"/>
          <p:cNvSpPr>
            <a:spLocks noEditPoints="1"/>
          </p:cNvSpPr>
          <p:nvPr userDrawn="1"/>
        </p:nvSpPr>
        <p:spPr bwMode="auto">
          <a:xfrm>
            <a:off x="4477246" y="6731768"/>
            <a:ext cx="123999" cy="123981"/>
          </a:xfrm>
          <a:custGeom>
            <a:avLst/>
            <a:gdLst>
              <a:gd name="T0" fmla="*/ 172 w 344"/>
              <a:gd name="T1" fmla="*/ 344 h 344"/>
              <a:gd name="T2" fmla="*/ 172 w 344"/>
              <a:gd name="T3" fmla="*/ 344 h 344"/>
              <a:gd name="T4" fmla="*/ 142 w 344"/>
              <a:gd name="T5" fmla="*/ 334 h 344"/>
              <a:gd name="T6" fmla="*/ 124 w 344"/>
              <a:gd name="T7" fmla="*/ 312 h 344"/>
              <a:gd name="T8" fmla="*/ 118 w 344"/>
              <a:gd name="T9" fmla="*/ 300 h 344"/>
              <a:gd name="T10" fmla="*/ 102 w 344"/>
              <a:gd name="T11" fmla="*/ 278 h 344"/>
              <a:gd name="T12" fmla="*/ 72 w 344"/>
              <a:gd name="T13" fmla="*/ 248 h 344"/>
              <a:gd name="T14" fmla="*/ 28 w 344"/>
              <a:gd name="T15" fmla="*/ 218 h 344"/>
              <a:gd name="T16" fmla="*/ 16 w 344"/>
              <a:gd name="T17" fmla="*/ 210 h 344"/>
              <a:gd name="T18" fmla="*/ 2 w 344"/>
              <a:gd name="T19" fmla="*/ 186 h 344"/>
              <a:gd name="T20" fmla="*/ 0 w 344"/>
              <a:gd name="T21" fmla="*/ 172 h 344"/>
              <a:gd name="T22" fmla="*/ 8 w 344"/>
              <a:gd name="T23" fmla="*/ 144 h 344"/>
              <a:gd name="T24" fmla="*/ 30 w 344"/>
              <a:gd name="T25" fmla="*/ 124 h 344"/>
              <a:gd name="T26" fmla="*/ 54 w 344"/>
              <a:gd name="T27" fmla="*/ 112 h 344"/>
              <a:gd name="T28" fmla="*/ 90 w 344"/>
              <a:gd name="T29" fmla="*/ 82 h 344"/>
              <a:gd name="T30" fmla="*/ 112 w 344"/>
              <a:gd name="T31" fmla="*/ 54 h 344"/>
              <a:gd name="T32" fmla="*/ 124 w 344"/>
              <a:gd name="T33" fmla="*/ 34 h 344"/>
              <a:gd name="T34" fmla="*/ 126 w 344"/>
              <a:gd name="T35" fmla="*/ 26 h 344"/>
              <a:gd name="T36" fmla="*/ 142 w 344"/>
              <a:gd name="T37" fmla="*/ 10 h 344"/>
              <a:gd name="T38" fmla="*/ 164 w 344"/>
              <a:gd name="T39" fmla="*/ 2 h 344"/>
              <a:gd name="T40" fmla="*/ 172 w 344"/>
              <a:gd name="T41" fmla="*/ 0 h 344"/>
              <a:gd name="T42" fmla="*/ 172 w 344"/>
              <a:gd name="T43" fmla="*/ 0 h 344"/>
              <a:gd name="T44" fmla="*/ 188 w 344"/>
              <a:gd name="T45" fmla="*/ 2 h 344"/>
              <a:gd name="T46" fmla="*/ 214 w 344"/>
              <a:gd name="T47" fmla="*/ 20 h 344"/>
              <a:gd name="T48" fmla="*/ 222 w 344"/>
              <a:gd name="T49" fmla="*/ 34 h 344"/>
              <a:gd name="T50" fmla="*/ 226 w 344"/>
              <a:gd name="T51" fmla="*/ 44 h 344"/>
              <a:gd name="T52" fmla="*/ 242 w 344"/>
              <a:gd name="T53" fmla="*/ 68 h 344"/>
              <a:gd name="T54" fmla="*/ 270 w 344"/>
              <a:gd name="T55" fmla="*/ 96 h 344"/>
              <a:gd name="T56" fmla="*/ 314 w 344"/>
              <a:gd name="T57" fmla="*/ 124 h 344"/>
              <a:gd name="T58" fmla="*/ 328 w 344"/>
              <a:gd name="T59" fmla="*/ 134 h 344"/>
              <a:gd name="T60" fmla="*/ 342 w 344"/>
              <a:gd name="T61" fmla="*/ 160 h 344"/>
              <a:gd name="T62" fmla="*/ 344 w 344"/>
              <a:gd name="T63" fmla="*/ 176 h 344"/>
              <a:gd name="T64" fmla="*/ 340 w 344"/>
              <a:gd name="T65" fmla="*/ 190 h 344"/>
              <a:gd name="T66" fmla="*/ 322 w 344"/>
              <a:gd name="T67" fmla="*/ 214 h 344"/>
              <a:gd name="T68" fmla="*/ 308 w 344"/>
              <a:gd name="T69" fmla="*/ 222 h 344"/>
              <a:gd name="T70" fmla="*/ 276 w 344"/>
              <a:gd name="T71" fmla="*/ 240 h 344"/>
              <a:gd name="T72" fmla="*/ 250 w 344"/>
              <a:gd name="T73" fmla="*/ 266 h 344"/>
              <a:gd name="T74" fmla="*/ 232 w 344"/>
              <a:gd name="T75" fmla="*/ 292 h 344"/>
              <a:gd name="T76" fmla="*/ 220 w 344"/>
              <a:gd name="T77" fmla="*/ 312 h 344"/>
              <a:gd name="T78" fmla="*/ 200 w 344"/>
              <a:gd name="T79" fmla="*/ 336 h 344"/>
              <a:gd name="T80" fmla="*/ 172 w 344"/>
              <a:gd name="T81" fmla="*/ 344 h 344"/>
              <a:gd name="T82" fmla="*/ 146 w 344"/>
              <a:gd name="T83" fmla="*/ 172 h 344"/>
              <a:gd name="T84" fmla="*/ 170 w 344"/>
              <a:gd name="T85" fmla="*/ 196 h 344"/>
              <a:gd name="T86" fmla="*/ 196 w 344"/>
              <a:gd name="T87" fmla="*/ 170 h 344"/>
              <a:gd name="T88" fmla="*/ 172 w 344"/>
              <a:gd name="T89" fmla="*/ 148 h 344"/>
              <a:gd name="T90" fmla="*/ 146 w 344"/>
              <a:gd name="T91"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4">
                <a:moveTo>
                  <a:pt x="172" y="344"/>
                </a:moveTo>
                <a:lnTo>
                  <a:pt x="172" y="344"/>
                </a:lnTo>
                <a:lnTo>
                  <a:pt x="172" y="344"/>
                </a:lnTo>
                <a:lnTo>
                  <a:pt x="172" y="344"/>
                </a:lnTo>
                <a:lnTo>
                  <a:pt x="156" y="342"/>
                </a:lnTo>
                <a:lnTo>
                  <a:pt x="142" y="334"/>
                </a:lnTo>
                <a:lnTo>
                  <a:pt x="132" y="324"/>
                </a:lnTo>
                <a:lnTo>
                  <a:pt x="124" y="312"/>
                </a:lnTo>
                <a:lnTo>
                  <a:pt x="124" y="312"/>
                </a:lnTo>
                <a:lnTo>
                  <a:pt x="118" y="300"/>
                </a:lnTo>
                <a:lnTo>
                  <a:pt x="112" y="290"/>
                </a:lnTo>
                <a:lnTo>
                  <a:pt x="102" y="278"/>
                </a:lnTo>
                <a:lnTo>
                  <a:pt x="90" y="264"/>
                </a:lnTo>
                <a:lnTo>
                  <a:pt x="72" y="248"/>
                </a:lnTo>
                <a:lnTo>
                  <a:pt x="52" y="232"/>
                </a:lnTo>
                <a:lnTo>
                  <a:pt x="28" y="218"/>
                </a:lnTo>
                <a:lnTo>
                  <a:pt x="28" y="218"/>
                </a:lnTo>
                <a:lnTo>
                  <a:pt x="16" y="210"/>
                </a:lnTo>
                <a:lnTo>
                  <a:pt x="8" y="198"/>
                </a:lnTo>
                <a:lnTo>
                  <a:pt x="2" y="186"/>
                </a:lnTo>
                <a:lnTo>
                  <a:pt x="0" y="172"/>
                </a:lnTo>
                <a:lnTo>
                  <a:pt x="0" y="172"/>
                </a:lnTo>
                <a:lnTo>
                  <a:pt x="2" y="156"/>
                </a:lnTo>
                <a:lnTo>
                  <a:pt x="8" y="144"/>
                </a:lnTo>
                <a:lnTo>
                  <a:pt x="18" y="132"/>
                </a:lnTo>
                <a:lnTo>
                  <a:pt x="30" y="124"/>
                </a:lnTo>
                <a:lnTo>
                  <a:pt x="30" y="124"/>
                </a:lnTo>
                <a:lnTo>
                  <a:pt x="54" y="112"/>
                </a:lnTo>
                <a:lnTo>
                  <a:pt x="74" y="96"/>
                </a:lnTo>
                <a:lnTo>
                  <a:pt x="90" y="82"/>
                </a:lnTo>
                <a:lnTo>
                  <a:pt x="102" y="68"/>
                </a:lnTo>
                <a:lnTo>
                  <a:pt x="112" y="54"/>
                </a:lnTo>
                <a:lnTo>
                  <a:pt x="118" y="44"/>
                </a:lnTo>
                <a:lnTo>
                  <a:pt x="124" y="34"/>
                </a:lnTo>
                <a:lnTo>
                  <a:pt x="124" y="34"/>
                </a:lnTo>
                <a:lnTo>
                  <a:pt x="126" y="26"/>
                </a:lnTo>
                <a:lnTo>
                  <a:pt x="130" y="20"/>
                </a:lnTo>
                <a:lnTo>
                  <a:pt x="142" y="10"/>
                </a:lnTo>
                <a:lnTo>
                  <a:pt x="156" y="2"/>
                </a:lnTo>
                <a:lnTo>
                  <a:pt x="164" y="2"/>
                </a:lnTo>
                <a:lnTo>
                  <a:pt x="172" y="0"/>
                </a:lnTo>
                <a:lnTo>
                  <a:pt x="172" y="0"/>
                </a:lnTo>
                <a:lnTo>
                  <a:pt x="172" y="0"/>
                </a:lnTo>
                <a:lnTo>
                  <a:pt x="172" y="0"/>
                </a:lnTo>
                <a:lnTo>
                  <a:pt x="180" y="2"/>
                </a:lnTo>
                <a:lnTo>
                  <a:pt x="188" y="2"/>
                </a:lnTo>
                <a:lnTo>
                  <a:pt x="202" y="10"/>
                </a:lnTo>
                <a:lnTo>
                  <a:pt x="214" y="20"/>
                </a:lnTo>
                <a:lnTo>
                  <a:pt x="218" y="28"/>
                </a:lnTo>
                <a:lnTo>
                  <a:pt x="222" y="34"/>
                </a:lnTo>
                <a:lnTo>
                  <a:pt x="222" y="34"/>
                </a:lnTo>
                <a:lnTo>
                  <a:pt x="226" y="44"/>
                </a:lnTo>
                <a:lnTo>
                  <a:pt x="232" y="56"/>
                </a:lnTo>
                <a:lnTo>
                  <a:pt x="242" y="68"/>
                </a:lnTo>
                <a:lnTo>
                  <a:pt x="254" y="82"/>
                </a:lnTo>
                <a:lnTo>
                  <a:pt x="270" y="96"/>
                </a:lnTo>
                <a:lnTo>
                  <a:pt x="290" y="112"/>
                </a:lnTo>
                <a:lnTo>
                  <a:pt x="314" y="124"/>
                </a:lnTo>
                <a:lnTo>
                  <a:pt x="314" y="124"/>
                </a:lnTo>
                <a:lnTo>
                  <a:pt x="328" y="134"/>
                </a:lnTo>
                <a:lnTo>
                  <a:pt x="336" y="146"/>
                </a:lnTo>
                <a:lnTo>
                  <a:pt x="342" y="160"/>
                </a:lnTo>
                <a:lnTo>
                  <a:pt x="344" y="176"/>
                </a:lnTo>
                <a:lnTo>
                  <a:pt x="344" y="176"/>
                </a:lnTo>
                <a:lnTo>
                  <a:pt x="342" y="184"/>
                </a:lnTo>
                <a:lnTo>
                  <a:pt x="340" y="190"/>
                </a:lnTo>
                <a:lnTo>
                  <a:pt x="334" y="204"/>
                </a:lnTo>
                <a:lnTo>
                  <a:pt x="322" y="214"/>
                </a:lnTo>
                <a:lnTo>
                  <a:pt x="308" y="222"/>
                </a:lnTo>
                <a:lnTo>
                  <a:pt x="308" y="222"/>
                </a:lnTo>
                <a:lnTo>
                  <a:pt x="292" y="230"/>
                </a:lnTo>
                <a:lnTo>
                  <a:pt x="276" y="240"/>
                </a:lnTo>
                <a:lnTo>
                  <a:pt x="262" y="252"/>
                </a:lnTo>
                <a:lnTo>
                  <a:pt x="250" y="266"/>
                </a:lnTo>
                <a:lnTo>
                  <a:pt x="240" y="278"/>
                </a:lnTo>
                <a:lnTo>
                  <a:pt x="232" y="292"/>
                </a:lnTo>
                <a:lnTo>
                  <a:pt x="220" y="312"/>
                </a:lnTo>
                <a:lnTo>
                  <a:pt x="220" y="312"/>
                </a:lnTo>
                <a:lnTo>
                  <a:pt x="212" y="326"/>
                </a:lnTo>
                <a:lnTo>
                  <a:pt x="200" y="336"/>
                </a:lnTo>
                <a:lnTo>
                  <a:pt x="188" y="342"/>
                </a:lnTo>
                <a:lnTo>
                  <a:pt x="172" y="344"/>
                </a:lnTo>
                <a:lnTo>
                  <a:pt x="172" y="344"/>
                </a:lnTo>
                <a:close/>
                <a:moveTo>
                  <a:pt x="146" y="172"/>
                </a:moveTo>
                <a:lnTo>
                  <a:pt x="146" y="172"/>
                </a:lnTo>
                <a:lnTo>
                  <a:pt x="170" y="196"/>
                </a:lnTo>
                <a:lnTo>
                  <a:pt x="170" y="196"/>
                </a:lnTo>
                <a:lnTo>
                  <a:pt x="196" y="170"/>
                </a:lnTo>
                <a:lnTo>
                  <a:pt x="196" y="170"/>
                </a:lnTo>
                <a:lnTo>
                  <a:pt x="172" y="148"/>
                </a:lnTo>
                <a:lnTo>
                  <a:pt x="172" y="148"/>
                </a:lnTo>
                <a:lnTo>
                  <a:pt x="146" y="172"/>
                </a:lnTo>
                <a:lnTo>
                  <a:pt x="146" y="172"/>
                </a:lnTo>
                <a:close/>
              </a:path>
            </a:pathLst>
          </a:custGeom>
          <a:solidFill>
            <a:srgbClr val="1A86DB"/>
          </a:solidFill>
          <a:ln>
            <a:noFill/>
          </a:ln>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47" name="Freeform 18"/>
          <p:cNvSpPr/>
          <p:nvPr userDrawn="1"/>
        </p:nvSpPr>
        <p:spPr bwMode="auto">
          <a:xfrm>
            <a:off x="4520501" y="6591208"/>
            <a:ext cx="38209" cy="126864"/>
          </a:xfrm>
          <a:custGeom>
            <a:avLst/>
            <a:gdLst>
              <a:gd name="T0" fmla="*/ 52 w 106"/>
              <a:gd name="T1" fmla="*/ 352 h 352"/>
              <a:gd name="T2" fmla="*/ 52 w 106"/>
              <a:gd name="T3" fmla="*/ 352 h 352"/>
              <a:gd name="T4" fmla="*/ 52 w 106"/>
              <a:gd name="T5" fmla="*/ 352 h 352"/>
              <a:gd name="T6" fmla="*/ 52 w 106"/>
              <a:gd name="T7" fmla="*/ 352 h 352"/>
              <a:gd name="T8" fmla="*/ 40 w 106"/>
              <a:gd name="T9" fmla="*/ 352 h 352"/>
              <a:gd name="T10" fmla="*/ 32 w 106"/>
              <a:gd name="T11" fmla="*/ 348 h 352"/>
              <a:gd name="T12" fmla="*/ 22 w 106"/>
              <a:gd name="T13" fmla="*/ 342 h 352"/>
              <a:gd name="T14" fmla="*/ 14 w 106"/>
              <a:gd name="T15" fmla="*/ 336 h 352"/>
              <a:gd name="T16" fmla="*/ 8 w 106"/>
              <a:gd name="T17" fmla="*/ 328 h 352"/>
              <a:gd name="T18" fmla="*/ 4 w 106"/>
              <a:gd name="T19" fmla="*/ 320 h 352"/>
              <a:gd name="T20" fmla="*/ 0 w 106"/>
              <a:gd name="T21" fmla="*/ 310 h 352"/>
              <a:gd name="T22" fmla="*/ 0 w 106"/>
              <a:gd name="T23" fmla="*/ 300 h 352"/>
              <a:gd name="T24" fmla="*/ 0 w 106"/>
              <a:gd name="T25" fmla="*/ 300 h 352"/>
              <a:gd name="T26" fmla="*/ 0 w 106"/>
              <a:gd name="T27" fmla="*/ 134 h 352"/>
              <a:gd name="T28" fmla="*/ 0 w 106"/>
              <a:gd name="T29" fmla="*/ 44 h 352"/>
              <a:gd name="T30" fmla="*/ 52 w 106"/>
              <a:gd name="T31" fmla="*/ 36 h 352"/>
              <a:gd name="T32" fmla="*/ 90 w 106"/>
              <a:gd name="T33" fmla="*/ 0 h 352"/>
              <a:gd name="T34" fmla="*/ 90 w 106"/>
              <a:gd name="T35" fmla="*/ 0 h 352"/>
              <a:gd name="T36" fmla="*/ 96 w 106"/>
              <a:gd name="T37" fmla="*/ 6 h 352"/>
              <a:gd name="T38" fmla="*/ 100 w 106"/>
              <a:gd name="T39" fmla="*/ 16 h 352"/>
              <a:gd name="T40" fmla="*/ 104 w 106"/>
              <a:gd name="T41" fmla="*/ 28 h 352"/>
              <a:gd name="T42" fmla="*/ 106 w 106"/>
              <a:gd name="T43" fmla="*/ 52 h 352"/>
              <a:gd name="T44" fmla="*/ 106 w 106"/>
              <a:gd name="T45" fmla="*/ 138 h 352"/>
              <a:gd name="T46" fmla="*/ 104 w 106"/>
              <a:gd name="T47" fmla="*/ 300 h 352"/>
              <a:gd name="T48" fmla="*/ 104 w 106"/>
              <a:gd name="T49" fmla="*/ 300 h 352"/>
              <a:gd name="T50" fmla="*/ 104 w 106"/>
              <a:gd name="T51" fmla="*/ 310 h 352"/>
              <a:gd name="T52" fmla="*/ 100 w 106"/>
              <a:gd name="T53" fmla="*/ 320 h 352"/>
              <a:gd name="T54" fmla="*/ 96 w 106"/>
              <a:gd name="T55" fmla="*/ 330 h 352"/>
              <a:gd name="T56" fmla="*/ 88 w 106"/>
              <a:gd name="T57" fmla="*/ 338 h 352"/>
              <a:gd name="T58" fmla="*/ 82 w 106"/>
              <a:gd name="T59" fmla="*/ 344 h 352"/>
              <a:gd name="T60" fmla="*/ 72 w 106"/>
              <a:gd name="T61" fmla="*/ 348 h 352"/>
              <a:gd name="T62" fmla="*/ 62 w 106"/>
              <a:gd name="T63" fmla="*/ 352 h 352"/>
              <a:gd name="T64" fmla="*/ 52 w 106"/>
              <a:gd name="T65" fmla="*/ 352 h 352"/>
              <a:gd name="T66" fmla="*/ 52 w 106"/>
              <a:gd name="T67" fmla="*/ 35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52">
                <a:moveTo>
                  <a:pt x="52" y="352"/>
                </a:moveTo>
                <a:lnTo>
                  <a:pt x="52" y="352"/>
                </a:lnTo>
                <a:lnTo>
                  <a:pt x="52" y="352"/>
                </a:lnTo>
                <a:lnTo>
                  <a:pt x="52" y="352"/>
                </a:lnTo>
                <a:lnTo>
                  <a:pt x="40" y="352"/>
                </a:lnTo>
                <a:lnTo>
                  <a:pt x="32" y="348"/>
                </a:lnTo>
                <a:lnTo>
                  <a:pt x="22" y="342"/>
                </a:lnTo>
                <a:lnTo>
                  <a:pt x="14" y="336"/>
                </a:lnTo>
                <a:lnTo>
                  <a:pt x="8" y="328"/>
                </a:lnTo>
                <a:lnTo>
                  <a:pt x="4" y="320"/>
                </a:lnTo>
                <a:lnTo>
                  <a:pt x="0" y="310"/>
                </a:lnTo>
                <a:lnTo>
                  <a:pt x="0" y="300"/>
                </a:lnTo>
                <a:lnTo>
                  <a:pt x="0" y="300"/>
                </a:lnTo>
                <a:lnTo>
                  <a:pt x="0" y="134"/>
                </a:lnTo>
                <a:lnTo>
                  <a:pt x="0" y="44"/>
                </a:lnTo>
                <a:lnTo>
                  <a:pt x="52" y="36"/>
                </a:lnTo>
                <a:lnTo>
                  <a:pt x="90" y="0"/>
                </a:lnTo>
                <a:lnTo>
                  <a:pt x="90" y="0"/>
                </a:lnTo>
                <a:lnTo>
                  <a:pt x="96" y="6"/>
                </a:lnTo>
                <a:lnTo>
                  <a:pt x="100" y="16"/>
                </a:lnTo>
                <a:lnTo>
                  <a:pt x="104" y="28"/>
                </a:lnTo>
                <a:lnTo>
                  <a:pt x="106" y="52"/>
                </a:lnTo>
                <a:lnTo>
                  <a:pt x="106" y="138"/>
                </a:lnTo>
                <a:lnTo>
                  <a:pt x="104" y="300"/>
                </a:lnTo>
                <a:lnTo>
                  <a:pt x="104" y="300"/>
                </a:lnTo>
                <a:lnTo>
                  <a:pt x="104" y="310"/>
                </a:lnTo>
                <a:lnTo>
                  <a:pt x="100" y="320"/>
                </a:lnTo>
                <a:lnTo>
                  <a:pt x="96" y="330"/>
                </a:lnTo>
                <a:lnTo>
                  <a:pt x="88" y="338"/>
                </a:lnTo>
                <a:lnTo>
                  <a:pt x="82" y="344"/>
                </a:lnTo>
                <a:lnTo>
                  <a:pt x="72" y="348"/>
                </a:lnTo>
                <a:lnTo>
                  <a:pt x="62" y="352"/>
                </a:lnTo>
                <a:lnTo>
                  <a:pt x="52" y="352"/>
                </a:lnTo>
                <a:lnTo>
                  <a:pt x="52" y="352"/>
                </a:lnTo>
                <a:close/>
              </a:path>
            </a:pathLst>
          </a:custGeom>
          <a:solidFill>
            <a:srgbClr val="1A86DB"/>
          </a:solidFill>
          <a:ln>
            <a:noFill/>
          </a:ln>
        </p:spPr>
        <p:txBody>
          <a:bodyPr vert="horz" wrap="square" lIns="93247" tIns="46623" rIns="93247" bIns="46623" numCol="1" anchor="t" anchorCtr="0" compatLnSpc="1"/>
          <a:lstStyle/>
          <a:p>
            <a:pPr marL="0" marR="0" lvl="0" indent="0" defTabSz="932180" eaLnBrk="1" fontAlgn="auto" latinLnBrk="0" hangingPunct="1">
              <a:lnSpc>
                <a:spcPct val="100000"/>
              </a:lnSpc>
              <a:spcBef>
                <a:spcPts val="0"/>
              </a:spcBef>
              <a:spcAft>
                <a:spcPts val="0"/>
              </a:spcAft>
              <a:buClrTx/>
              <a:buSzTx/>
              <a:buFontTx/>
              <a:buNone/>
              <a:defRPr/>
            </a:pPr>
            <a:endParaRPr kumimoji="0" lang="en-US" sz="1835" b="0" i="0" u="none" strike="noStrike" kern="0" cap="none" spc="0" normalizeH="0" baseline="0" noProof="0">
              <a:ln>
                <a:noFill/>
              </a:ln>
              <a:solidFill>
                <a:srgbClr val="FFFFFF"/>
              </a:solidFill>
              <a:effectLst/>
              <a:uLnTx/>
              <a:uFillTx/>
            </a:endParaRPr>
          </a:p>
        </p:txBody>
      </p:sp>
      <p:sp>
        <p:nvSpPr>
          <p:cNvPr id="49" name="Rectangle 48"/>
          <p:cNvSpPr/>
          <p:nvPr userDrawn="1"/>
        </p:nvSpPr>
        <p:spPr bwMode="auto">
          <a:xfrm>
            <a:off x="-221962" y="6994525"/>
            <a:ext cx="12784400"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noAutofit/>
          </a:bodyPr>
          <a:lstStyle/>
          <a:p>
            <a:pPr algn="ctr" defTabSz="950595" fontAlgn="base">
              <a:spcBef>
                <a:spcPct val="0"/>
              </a:spcBef>
              <a:spcAft>
                <a:spcPct val="0"/>
              </a:spcAft>
            </a:pPr>
            <a:endParaRPr lang="en-US" sz="2450">
              <a:solidFill>
                <a:schemeClr val="tx1"/>
              </a:solidFill>
              <a:ea typeface="Segoe UI" panose="020B0502040204020203" pitchFamily="34" charset="0"/>
              <a:cs typeface="Segoe UI" panose="020B0502040204020203" pitchFamily="34" charset="0"/>
            </a:endParaRPr>
          </a:p>
        </p:txBody>
      </p:sp>
      <p:sp>
        <p:nvSpPr>
          <p:cNvPr id="52" name="Rectangle 51"/>
          <p:cNvSpPr/>
          <p:nvPr userDrawn="1"/>
        </p:nvSpPr>
        <p:spPr bwMode="auto">
          <a:xfrm>
            <a:off x="-399744" y="6195153"/>
            <a:ext cx="399744" cy="799374"/>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noAutofit/>
          </a:bodyPr>
          <a:lstStyle/>
          <a:p>
            <a:pPr algn="ctr" defTabSz="950595" fontAlgn="base">
              <a:spcBef>
                <a:spcPct val="0"/>
              </a:spcBef>
              <a:spcAft>
                <a:spcPct val="0"/>
              </a:spcAft>
            </a:pPr>
            <a:endParaRPr lang="en-US" sz="2450">
              <a:solidFill>
                <a:schemeClr val="tx1"/>
              </a:solidFill>
              <a:ea typeface="Segoe UI" panose="020B0502040204020203" pitchFamily="34" charset="0"/>
              <a:cs typeface="Segoe UI" panose="020B0502040204020203" pitchFamily="34" charset="0"/>
            </a:endParaRPr>
          </a:p>
        </p:txBody>
      </p:sp>
      <p:sp>
        <p:nvSpPr>
          <p:cNvPr id="53" name="Rectangle 52"/>
          <p:cNvSpPr/>
          <p:nvPr userDrawn="1"/>
        </p:nvSpPr>
        <p:spPr bwMode="auto">
          <a:xfrm>
            <a:off x="0" y="6471311"/>
            <a:ext cx="12436475" cy="523216"/>
          </a:xfrm>
          <a:prstGeom prst="rect">
            <a:avLst/>
          </a:prstGeom>
          <a:solidFill>
            <a:schemeClr val="accent1">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noAutofit/>
          </a:bodyPr>
          <a:lstStyle/>
          <a:p>
            <a:pPr algn="ctr" defTabSz="950595" fontAlgn="base">
              <a:spcBef>
                <a:spcPct val="0"/>
              </a:spcBef>
              <a:spcAft>
                <a:spcPct val="0"/>
              </a:spcAft>
            </a:pPr>
            <a:endParaRPr lang="en-US" sz="2450">
              <a:solidFill>
                <a:schemeClr val="tx1"/>
              </a:solidFill>
              <a:ea typeface="Segoe UI" panose="020B0502040204020203" pitchFamily="34" charset="0"/>
              <a:cs typeface="Segoe UI" panose="020B0502040204020203" pitchFamily="34" charset="0"/>
            </a:endParaRPr>
          </a:p>
        </p:txBody>
      </p:sp>
      <p:pic>
        <p:nvPicPr>
          <p:cNvPr id="41" name="Picture 40"/>
          <p:cNvPicPr>
            <a:picLocks noChangeAspect="1"/>
          </p:cNvPicPr>
          <p:nvPr userDrawn="1"/>
        </p:nvPicPr>
        <p:blipFill>
          <a:blip r:embed="rId2" cstate="email">
            <a:biLevel thresh="25000"/>
          </a:blip>
          <a:stretch>
            <a:fillRect/>
          </a:stretch>
        </p:blipFill>
        <p:spPr>
          <a:xfrm>
            <a:off x="174951" y="6620265"/>
            <a:ext cx="955390" cy="210480"/>
          </a:xfrm>
          <a:prstGeom prst="rect">
            <a:avLst/>
          </a:prstGeom>
        </p:spPr>
      </p:pic>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4" name="Title 1"/>
          <p:cNvSpPr>
            <a:spLocks noGrp="1"/>
          </p:cNvSpPr>
          <p:nvPr>
            <p:ph type="title"/>
          </p:nvPr>
        </p:nvSpPr>
        <p:spPr>
          <a:xfrm>
            <a:off x="855008" y="327059"/>
            <a:ext cx="10726460" cy="1351952"/>
          </a:xfrm>
        </p:spPr>
        <p:txBody>
          <a:bodyPr/>
          <a:lstStyle>
            <a:lvl1pPr>
              <a:defRPr>
                <a:latin typeface="+mj-lt"/>
              </a:defRPr>
            </a:lvl1pPr>
          </a:lstStyle>
          <a:p>
            <a:r>
              <a:rPr lang="en-US"/>
              <a:t>Click to edit Master title style</a:t>
            </a:r>
          </a:p>
        </p:txBody>
      </p:sp>
      <p:sp>
        <p:nvSpPr>
          <p:cNvPr id="5" name="Content Placeholder 2"/>
          <p:cNvSpPr>
            <a:spLocks noGrp="1"/>
          </p:cNvSpPr>
          <p:nvPr>
            <p:ph idx="1"/>
          </p:nvPr>
        </p:nvSpPr>
        <p:spPr>
          <a:xfrm>
            <a:off x="855008" y="1861968"/>
            <a:ext cx="10726460" cy="24199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55008" y="6482889"/>
            <a:ext cx="2798207" cy="372394"/>
          </a:xfrm>
          <a:prstGeom prst="rect">
            <a:avLst/>
          </a:prstGeom>
        </p:spPr>
        <p:txBody>
          <a:bodyPr/>
          <a:lstStyle/>
          <a:p>
            <a:endParaRPr lang="en-US"/>
          </a:p>
        </p:txBody>
      </p:sp>
      <p:sp>
        <p:nvSpPr>
          <p:cNvPr id="8" name="Footer Placeholder 4"/>
          <p:cNvSpPr>
            <a:spLocks noGrp="1"/>
          </p:cNvSpPr>
          <p:nvPr>
            <p:ph type="ftr" sz="quarter" idx="11"/>
          </p:nvPr>
        </p:nvSpPr>
        <p:spPr>
          <a:xfrm>
            <a:off x="4119583" y="6482889"/>
            <a:ext cx="4197310" cy="372394"/>
          </a:xfrm>
          <a:prstGeom prst="rect">
            <a:avLst/>
          </a:prstGeom>
        </p:spPr>
        <p:txBody>
          <a:bodyPr/>
          <a:lstStyle/>
          <a:p>
            <a:endParaRPr lang="en-US" dirty="0"/>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dirty="0"/>
              <a:t>Click to edit Master text styles</a:t>
            </a:r>
          </a:p>
          <a:p>
            <a:pPr marL="427355" marR="0" lvl="1" indent="-17145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Second level</a:t>
            </a:r>
          </a:p>
          <a:p>
            <a:pPr marL="640080" marR="0" lvl="2" indent="-1892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Third level</a:t>
            </a:r>
          </a:p>
          <a:p>
            <a:pPr marL="828675" marR="0" lvl="3" indent="-17653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ourth level</a:t>
            </a:r>
          </a:p>
          <a:p>
            <a:pPr marL="1024255" marR="0" lvl="4" indent="-17018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pPr>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Build 2017">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srcRect/>
          <a:stretch>
            <a:fillRect/>
          </a:stretch>
        </p:blipFill>
        <p:spPr>
          <a:xfrm>
            <a:off x="-1" y="0"/>
            <a:ext cx="12436475" cy="5571636"/>
          </a:xfrm>
          <a:prstGeom prst="rect">
            <a:avLst/>
          </a:prstGeom>
        </p:spPr>
      </p:pic>
      <p:sp>
        <p:nvSpPr>
          <p:cNvPr id="8" name="Rectangle 7"/>
          <p:cNvSpPr/>
          <p:nvPr userDrawn="1"/>
        </p:nvSpPr>
        <p:spPr bwMode="auto">
          <a:xfrm>
            <a:off x="1681" y="4960286"/>
            <a:ext cx="12434794" cy="203423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3" cstate="screen"/>
          <a:stretch>
            <a:fillRect/>
          </a:stretch>
        </p:blipFill>
        <p:spPr bwMode="invGray">
          <a:xfrm>
            <a:off x="460689" y="5357956"/>
            <a:ext cx="2648621" cy="1169808"/>
          </a:xfrm>
          <a:prstGeom prst="rect">
            <a:avLst/>
          </a:prstGeom>
        </p:spPr>
      </p:pic>
      <p:pic>
        <p:nvPicPr>
          <p:cNvPr id="12" name="Picture 11"/>
          <p:cNvPicPr>
            <a:picLocks noChangeAspect="1"/>
          </p:cNvPicPr>
          <p:nvPr userDrawn="1"/>
        </p:nvPicPr>
        <p:blipFill>
          <a:blip r:embed="rId4" cstate="screen"/>
          <a:stretch>
            <a:fillRect/>
          </a:stretch>
        </p:blipFill>
        <p:spPr>
          <a:xfrm>
            <a:off x="460688" y="479424"/>
            <a:ext cx="1451843" cy="309656"/>
          </a:xfrm>
          <a:prstGeom prst="rect">
            <a:avLst/>
          </a:prstGeom>
        </p:spPr>
      </p:pic>
      <p:pic>
        <p:nvPicPr>
          <p:cNvPr id="14" name="Picture 13"/>
          <p:cNvPicPr>
            <a:picLocks noChangeAspect="1"/>
          </p:cNvPicPr>
          <p:nvPr userDrawn="1"/>
        </p:nvPicPr>
        <p:blipFill rotWithShape="1">
          <a:blip r:embed="rId5" cstate="print"/>
          <a:srcRect l="-17523"/>
          <a:stretch>
            <a:fillRect/>
          </a:stretch>
        </p:blipFill>
        <p:spPr>
          <a:xfrm>
            <a:off x="7752216" y="4960286"/>
            <a:ext cx="4684259" cy="2034239"/>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pic>
        <p:nvPicPr>
          <p:cNvPr id="7" name="Picture 6"/>
          <p:cNvPicPr>
            <a:picLocks noChangeAspect="1"/>
          </p:cNvPicPr>
          <p:nvPr userDrawn="1"/>
        </p:nvPicPr>
        <p:blipFill rotWithShape="1">
          <a:blip r:embed="rId3" cstate="print"/>
          <a:srcRect l="-33002"/>
          <a:stretch>
            <a:fillRect/>
          </a:stretch>
        </p:blipFill>
        <p:spPr>
          <a:xfrm>
            <a:off x="7752216" y="5084764"/>
            <a:ext cx="4684259" cy="1909762"/>
          </a:xfrm>
          <a:prstGeom prst="rect">
            <a:avLst/>
          </a:prstGeom>
        </p:spPr>
      </p:pic>
      <p:sp>
        <p:nvSpPr>
          <p:cNvPr id="8" name="Text Placeholder 3"/>
          <p:cNvSpPr>
            <a:spLocks noGrp="1"/>
          </p:cNvSpPr>
          <p:nvPr>
            <p:ph type="body" sz="quarter" idx="15" hasCustomPrompt="1"/>
          </p:nvPr>
        </p:nvSpPr>
        <p:spPr>
          <a:xfrm>
            <a:off x="9418638" y="296863"/>
            <a:ext cx="2743200" cy="461665"/>
          </a:xfrm>
        </p:spPr>
        <p:txBody>
          <a:bodyPr/>
          <a:lstStyle>
            <a:lvl1pPr marL="0" marR="0" indent="0" algn="r" defTabSz="932180" rtl="0" eaLnBrk="1" fontAlgn="auto" latinLnBrk="0" hangingPunct="1">
              <a:lnSpc>
                <a:spcPct val="90000"/>
              </a:lnSpc>
              <a:spcBef>
                <a:spcPct val="20000"/>
              </a:spcBef>
              <a:spcAft>
                <a:spcPts val="0"/>
              </a:spcAft>
              <a:buClrTx/>
              <a:buSzPct val="90000"/>
              <a:buFont typeface="Arial" panose="020B0604020202020204" pitchFamily="34" charset="0"/>
              <a:buNone/>
              <a:defRPr lang="en-US" sz="2000" kern="1200" spc="0" baseline="0" dirty="0">
                <a:gradFill>
                  <a:gsLst>
                    <a:gs pos="1250">
                      <a:schemeClr val="tx1"/>
                    </a:gs>
                    <a:gs pos="100000">
                      <a:schemeClr val="tx1"/>
                    </a:gs>
                  </a:gsLst>
                  <a:lin ang="5400000" scaled="0"/>
                </a:gradFill>
                <a:latin typeface="+mn-lt"/>
                <a:ea typeface="+mn-ea"/>
                <a:cs typeface="+mn-cs"/>
              </a:defRPr>
            </a:lvl1pPr>
          </a:lstStyle>
          <a:p>
            <a:pPr lvl="0"/>
            <a:r>
              <a:rPr lang="en-US"/>
              <a:t>Session Code</a:t>
            </a:r>
          </a:p>
        </p:txBody>
      </p:sp>
      <p:sp>
        <p:nvSpPr>
          <p:cNvPr id="4" name="Rectangle 3"/>
          <p:cNvSpPr/>
          <p:nvPr userDrawn="1"/>
        </p:nvSpPr>
        <p:spPr>
          <a:xfrm>
            <a:off x="282738" y="6041341"/>
            <a:ext cx="1634102" cy="664797"/>
          </a:xfrm>
          <a:prstGeom prst="rect">
            <a:avLst/>
          </a:prstGeom>
        </p:spPr>
        <p:txBody>
          <a:bodyPr wrap="none" lIns="182880" tIns="146304" rIns="182880" bIns="146304">
            <a:spAutoFit/>
          </a:bodyPr>
          <a:lstStyle/>
          <a:p>
            <a:r>
              <a:rPr lang="en-US" sz="2400">
                <a:gradFill>
                  <a:gsLst>
                    <a:gs pos="2597">
                      <a:schemeClr val="tx1"/>
                    </a:gs>
                    <a:gs pos="18182">
                      <a:schemeClr val="tx1"/>
                    </a:gs>
                  </a:gsLst>
                  <a:lin ang="5400000" scaled="1"/>
                </a:gradFill>
              </a:rPr>
              <a:t>#</a:t>
            </a:r>
            <a:r>
              <a:rPr lang="en-US" sz="2400" err="1">
                <a:gradFill>
                  <a:gsLst>
                    <a:gs pos="2597">
                      <a:schemeClr val="tx1"/>
                    </a:gs>
                    <a:gs pos="18182">
                      <a:schemeClr val="tx1"/>
                    </a:gs>
                  </a:gsLst>
                  <a:lin ang="5400000" scaled="1"/>
                </a:gradFill>
              </a:rPr>
              <a:t>MSBuild</a:t>
            </a:r>
            <a:endParaRPr lang="en-US" sz="2400">
              <a:gradFill>
                <a:gsLst>
                  <a:gs pos="2597">
                    <a:schemeClr val="tx1"/>
                  </a:gs>
                  <a:gs pos="18182">
                    <a:schemeClr val="tx1"/>
                  </a:gs>
                </a:gsLst>
                <a:lin ang="5400000" scaled="1"/>
              </a:gradFill>
            </a:endParaRP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5"/>
              </a:spcBef>
              <a:buClr>
                <a:schemeClr val="tx1"/>
              </a:buClr>
              <a:buFont typeface="Wingdings" panose="05000000000000000000" pitchFamily="2" charset="2"/>
              <a:buNone/>
              <a:defRPr sz="3000" b="0">
                <a:latin typeface="+mn-lt"/>
              </a:defRPr>
            </a:lvl1pPr>
            <a:lvl2pPr marL="255905" indent="0">
              <a:buFont typeface="Wingdings" panose="05000000000000000000" pitchFamily="2" charset="2"/>
              <a:buNone/>
              <a:defRPr sz="2400" b="0"/>
            </a:lvl2pPr>
            <a:lvl3pPr marL="450850" indent="0">
              <a:buFont typeface="Wingdings" panose="05000000000000000000" pitchFamily="2" charset="2"/>
              <a:buNone/>
              <a:defRPr sz="2200" b="0"/>
            </a:lvl3pPr>
            <a:lvl4pPr marL="652145" indent="0">
              <a:buFont typeface="Wingdings" panose="05000000000000000000" pitchFamily="2" charset="2"/>
              <a:buNone/>
              <a:defRPr sz="2200" b="0"/>
            </a:lvl4pPr>
            <a:lvl5pPr marL="854075" indent="0">
              <a:buFont typeface="Wingdings" panose="05000000000000000000" pitchFamily="2" charset="2"/>
              <a:buNone/>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5"/>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905"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3pPr>
            <a:lvl4pPr marL="65214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180" rtl="0" eaLnBrk="1" fontAlgn="auto" latinLnBrk="0" hangingPunct="1">
              <a:lnSpc>
                <a:spcPct val="90000"/>
              </a:lnSpc>
              <a:spcBef>
                <a:spcPts val="1225"/>
              </a:spcBef>
              <a:spcAft>
                <a:spcPts val="0"/>
              </a:spcAft>
              <a:buClr>
                <a:schemeClr val="tx1"/>
              </a:buClr>
              <a:buSzPct val="90000"/>
            </a:pPr>
            <a:r>
              <a:rPr lang="en-US"/>
              <a:t>Edit Master text styles</a:t>
            </a:r>
          </a:p>
          <a:p>
            <a:pPr marL="514350" marR="0" lvl="1" indent="-514350" algn="l" defTabSz="932180" rtl="0" eaLnBrk="1" fontAlgn="auto" latinLnBrk="0" hangingPunct="1">
              <a:lnSpc>
                <a:spcPct val="90000"/>
              </a:lnSpc>
              <a:spcBef>
                <a:spcPts val="1225"/>
              </a:spcBef>
              <a:spcAft>
                <a:spcPts val="0"/>
              </a:spcAft>
              <a:buClr>
                <a:schemeClr val="tx1"/>
              </a:buClr>
              <a:buSzPct val="90000"/>
            </a:pPr>
            <a:r>
              <a:rPr lang="en-US"/>
              <a:t>Second level</a:t>
            </a:r>
          </a:p>
          <a:p>
            <a:pPr marL="514350" marR="0" lvl="2" indent="-514350" algn="l" defTabSz="932180" rtl="0" eaLnBrk="1" fontAlgn="auto" latinLnBrk="0" hangingPunct="1">
              <a:lnSpc>
                <a:spcPct val="90000"/>
              </a:lnSpc>
              <a:spcBef>
                <a:spcPts val="1225"/>
              </a:spcBef>
              <a:spcAft>
                <a:spcPts val="0"/>
              </a:spcAft>
              <a:buClr>
                <a:schemeClr val="tx1"/>
              </a:buClr>
              <a:buSzPct val="90000"/>
            </a:pPr>
            <a:r>
              <a:rPr lang="en-US"/>
              <a:t>Third level</a:t>
            </a:r>
          </a:p>
          <a:p>
            <a:pPr marL="514350" marR="0" lvl="3" indent="-514350" algn="l" defTabSz="932180" rtl="0" eaLnBrk="1" fontAlgn="auto" latinLnBrk="0" hangingPunct="1">
              <a:lnSpc>
                <a:spcPct val="90000"/>
              </a:lnSpc>
              <a:spcBef>
                <a:spcPts val="1225"/>
              </a:spcBef>
              <a:spcAft>
                <a:spcPts val="0"/>
              </a:spcAft>
              <a:buClr>
                <a:schemeClr val="tx1"/>
              </a:buClr>
              <a:buSzPct val="90000"/>
            </a:pPr>
            <a:r>
              <a:rPr lang="en-US"/>
              <a:t>Fourth level</a:t>
            </a:r>
          </a:p>
          <a:p>
            <a:pPr marL="514350" marR="0" lvl="4" indent="-514350" algn="l" defTabSz="932180" rtl="0" eaLnBrk="1" fontAlgn="auto" latinLnBrk="0" hangingPunct="1">
              <a:lnSpc>
                <a:spcPct val="90000"/>
              </a:lnSpc>
              <a:spcBef>
                <a:spcPts val="1225"/>
              </a:spcBef>
              <a:spcAft>
                <a:spcPts val="0"/>
              </a:spcAft>
              <a:buClr>
                <a:schemeClr val="tx1"/>
              </a:buClr>
              <a:buSzPct val="90000"/>
            </a:pPr>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5"/>
              </a:spcBef>
              <a:buClr>
                <a:schemeClr val="tx1"/>
              </a:buClr>
              <a:buFont typeface="Wingdings" panose="05000000000000000000" pitchFamily="2" charset="2"/>
              <a:buChar char=""/>
              <a:defRPr sz="3000" b="0">
                <a:latin typeface="+mn-lt"/>
              </a:defRPr>
            </a:lvl1pPr>
            <a:lvl2pPr marL="427355" indent="-171450">
              <a:buFont typeface="Wingdings" panose="05000000000000000000" pitchFamily="2" charset="2"/>
              <a:buChar char=""/>
              <a:defRPr sz="2400" b="0"/>
            </a:lvl2pPr>
            <a:lvl3pPr marL="640080" indent="-189230">
              <a:buFont typeface="Wingdings" panose="05000000000000000000" pitchFamily="2" charset="2"/>
              <a:buChar char=""/>
              <a:defRPr sz="2200" b="0"/>
            </a:lvl3pPr>
            <a:lvl4pPr marL="828675" indent="-176530">
              <a:buFont typeface="Wingdings" panose="05000000000000000000" pitchFamily="2" charset="2"/>
              <a:buChar char=""/>
              <a:defRPr sz="2200" b="0"/>
            </a:lvl4pPr>
            <a:lvl5pPr marL="1024255" indent="-170180">
              <a:buFont typeface="Wingdings" panose="05000000000000000000" pitchFamily="2" charset="2"/>
              <a:buChar char=""/>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655" indent="-287655">
              <a:spcBef>
                <a:spcPts val="1225"/>
              </a:spcBef>
              <a:buClr>
                <a:schemeClr val="tx1"/>
              </a:buClr>
              <a:buFont typeface="Arial" panose="020B0604020202020204"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805"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defRPr lang="en-US" sz="2200" b="0" kern="1200" spc="0" baseline="0" dirty="0">
                <a:gradFill>
                  <a:gsLst>
                    <a:gs pos="1250">
                      <a:schemeClr val="tx1"/>
                    </a:gs>
                    <a:gs pos="100000">
                      <a:schemeClr val="tx1"/>
                    </a:gs>
                  </a:gsLst>
                  <a:lin ang="5400000" scaled="0"/>
                </a:gradFill>
                <a:latin typeface="+mn-lt"/>
                <a:ea typeface="+mn-ea"/>
                <a:cs typeface="+mn-cs"/>
              </a:defRPr>
            </a:lvl3pPr>
            <a:lvl4pPr marL="995045"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Edit Master text styles</a:t>
            </a:r>
          </a:p>
          <a:p>
            <a:pPr marL="231775" marR="0" lvl="1"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Second level</a:t>
            </a:r>
          </a:p>
          <a:p>
            <a:pPr marL="231775" marR="0" lvl="2"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Third level</a:t>
            </a:r>
          </a:p>
          <a:p>
            <a:pPr marL="231775" marR="0" lvl="3"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ourth level</a:t>
            </a:r>
          </a:p>
          <a:p>
            <a:pPr marL="231775" marR="0" lvl="4" indent="-231775" algn="l" defTabSz="932180" rtl="0" eaLnBrk="1" fontAlgn="auto" latinLnBrk="0" hangingPunct="1">
              <a:lnSpc>
                <a:spcPct val="90000"/>
              </a:lnSpc>
              <a:spcBef>
                <a:spcPts val="1225"/>
              </a:spcBef>
              <a:spcAft>
                <a:spcPts val="0"/>
              </a:spcAft>
              <a:buClr>
                <a:schemeClr val="tx1"/>
              </a:buClr>
              <a:buSzPct val="90000"/>
              <a:buFont typeface="Wingdings" panose="05000000000000000000" pitchFamily="2" charset="2"/>
              <a:buChar char=""/>
            </a:pPr>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7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83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70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2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spAutoFit/>
          </a:bodyPr>
          <a:lstStyle/>
          <a:p>
            <a:pPr defTabSz="932180" eaLnBrk="0" hangingPunct="0"/>
            <a:r>
              <a:rPr lang="en-US" sz="700">
                <a:gradFill>
                  <a:gsLst>
                    <a:gs pos="0">
                      <a:schemeClr val="tx1"/>
                    </a:gs>
                    <a:gs pos="100000">
                      <a:schemeClr val="tx1"/>
                    </a:gs>
                  </a:gsLst>
                  <a:lin ang="5400000" scaled="0"/>
                </a:gradFill>
                <a:cs typeface="Segoe UI" panose="020B0502040204020203" pitchFamily="34" charset="0"/>
              </a:rPr>
              <a:t>© Copyright Microsoft Corporation. All rights reserved. </a:t>
            </a:r>
          </a:p>
        </p:txBody>
      </p:sp>
      <p:pic>
        <p:nvPicPr>
          <p:cNvPr id="8" name="MS logo white - EMF"/>
          <p:cNvPicPr>
            <a:picLocks noChangeAspect="1"/>
          </p:cNvPicPr>
          <p:nvPr userDrawn="1"/>
        </p:nvPicPr>
        <p:blipFill>
          <a:blip r:embed="rId2" cstate="screen"/>
          <a:stretch>
            <a:fillRect/>
          </a:stretch>
        </p:blipFill>
        <p:spPr bwMode="black">
          <a:xfrm>
            <a:off x="460688" y="479425"/>
            <a:ext cx="1451843"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830" indent="-290830">
              <a:buClr>
                <a:schemeClr val="tx1"/>
              </a:buClr>
              <a:buSzPct val="90000"/>
              <a:buFont typeface="Arial" panose="020B0604020202020204" pitchFamily="34" charset="0"/>
              <a:buChar char="•"/>
              <a:defRPr sz="36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vl2pPr marL="571500" indent="-281305">
              <a:buClr>
                <a:schemeClr val="tx1"/>
              </a:buClr>
              <a:buSzPct val="90000"/>
              <a:buFont typeface="Arial" panose="020B0604020202020204" pitchFamily="34" charset="0"/>
              <a:buChar char="•"/>
              <a:defRPr sz="32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2pPr>
            <a:lvl3pPr marL="862330" indent="-290830">
              <a:buClr>
                <a:schemeClr val="tx1"/>
              </a:buClr>
              <a:buSzPct val="90000"/>
              <a:buFont typeface="Arial" panose="020B0604020202020204" pitchFamily="34" charset="0"/>
              <a:buChar char="•"/>
              <a:defRPr sz="28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3pPr>
            <a:lvl4pPr marL="1090930" indent="-228600">
              <a:buClr>
                <a:schemeClr val="tx1"/>
              </a:buClr>
              <a:buSzPct val="90000"/>
              <a:buFont typeface="Arial" panose="020B0604020202020204" pitchFamily="34" charset="0"/>
              <a:buChar char="•"/>
              <a:defRPr sz="24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4pPr>
            <a:lvl5pPr marL="1319530" indent="-228600">
              <a:buClr>
                <a:schemeClr val="tx1"/>
              </a:buClr>
              <a:buSzPct val="90000"/>
              <a:buFont typeface="Arial" panose="020B0604020202020204" pitchFamily="34" charset="0"/>
              <a:buChar char="•"/>
              <a:defRPr sz="200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anose="020B0604020202020204" pitchFamily="34" charset="0"/>
              <a:buNone/>
              <a:defRPr sz="3700" spc="-51" baseline="0">
                <a:gradFill>
                  <a:gsLst>
                    <a:gs pos="0">
                      <a:srgbClr val="000000"/>
                    </a:gs>
                    <a:gs pos="100000">
                      <a:srgbClr val="000000"/>
                    </a:gs>
                  </a:gsLst>
                  <a:lin ang="5400000" scaled="0"/>
                </a:gradFill>
                <a:effectLst/>
                <a:latin typeface="Segoe UI" panose="020B0502040204020203" pitchFamily="34" charset="0"/>
                <a:ea typeface="Segoe UI" panose="020B0502040204020203" pitchFamily="34" charset="0"/>
                <a:cs typeface="Segoe UI" panose="020B05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Page Breaker 2">
    <p:spTree>
      <p:nvGrpSpPr>
        <p:cNvPr id="1" name=""/>
        <p:cNvGrpSpPr/>
        <p:nvPr/>
      </p:nvGrpSpPr>
      <p:grpSpPr>
        <a:xfrm>
          <a:off x="0" y="0"/>
          <a:ext cx="0" cy="0"/>
          <a:chOff x="0" y="0"/>
          <a:chExt cx="0" cy="0"/>
        </a:xfrm>
      </p:grpSpPr>
      <p:sp>
        <p:nvSpPr>
          <p:cNvPr id="5" name="Rectangle 7"/>
          <p:cNvSpPr/>
          <p:nvPr userDrawn="1"/>
        </p:nvSpPr>
        <p:spPr>
          <a:xfrm>
            <a:off x="621824" y="0"/>
            <a:ext cx="11814651" cy="629507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7" name="Rectangle 7"/>
          <p:cNvSpPr/>
          <p:nvPr userDrawn="1"/>
        </p:nvSpPr>
        <p:spPr>
          <a:xfrm>
            <a:off x="621824" y="466302"/>
            <a:ext cx="11187069" cy="932603"/>
          </a:xfrm>
          <a:prstGeom prst="rect">
            <a:avLst/>
          </a:prstGeom>
          <a:solidFill>
            <a:srgbClr val="409B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5"/>
          </a:p>
        </p:txBody>
      </p:sp>
      <p:sp>
        <p:nvSpPr>
          <p:cNvPr id="8" name="Title 1"/>
          <p:cNvSpPr>
            <a:spLocks noGrp="1"/>
          </p:cNvSpPr>
          <p:nvPr>
            <p:ph type="title" hasCustomPrompt="1"/>
          </p:nvPr>
        </p:nvSpPr>
        <p:spPr>
          <a:xfrm>
            <a:off x="1169029" y="232486"/>
            <a:ext cx="10380772" cy="1166419"/>
          </a:xfrm>
        </p:spPr>
        <p:txBody>
          <a:bodyPr anchor="ctr" anchorCtr="0">
            <a:normAutofit/>
          </a:bodyPr>
          <a:lstStyle>
            <a:lvl1pPr algn="l">
              <a:defRPr sz="4080" b="0" cap="none">
                <a:solidFill>
                  <a:schemeClr val="bg2"/>
                </a:solidFill>
              </a:defRPr>
            </a:lvl1pPr>
          </a:lstStyle>
          <a:p>
            <a:r>
              <a:rPr lang="en-US"/>
              <a:t>Click to edit master title style</a:t>
            </a:r>
          </a:p>
        </p:txBody>
      </p:sp>
      <p:sp>
        <p:nvSpPr>
          <p:cNvPr id="9" name="Content Placeholder 2"/>
          <p:cNvSpPr>
            <a:spLocks noGrp="1"/>
          </p:cNvSpPr>
          <p:nvPr>
            <p:ph idx="1"/>
          </p:nvPr>
        </p:nvSpPr>
        <p:spPr>
          <a:xfrm>
            <a:off x="1243648" y="1632056"/>
            <a:ext cx="10565245" cy="2308324"/>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marL="1771650" indent="-307975">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hthoek 5"/>
          <p:cNvSpPr/>
          <p:nvPr userDrawn="1"/>
        </p:nvSpPr>
        <p:spPr>
          <a:xfrm>
            <a:off x="0" y="466302"/>
            <a:ext cx="621824" cy="932603"/>
          </a:xfrm>
          <a:prstGeom prst="rect">
            <a:avLst/>
          </a:prstGeom>
          <a:solidFill>
            <a:srgbClr val="7FC1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35">
              <a:solidFill>
                <a:schemeClr val="bg1"/>
              </a:solidFill>
            </a:endParaRPr>
          </a:p>
        </p:txBody>
      </p:sp>
    </p:spTree>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8" name="Picture 7"/>
          <p:cNvPicPr>
            <a:picLocks noChangeAspect="1"/>
          </p:cNvPicPr>
          <p:nvPr userDrawn="1"/>
        </p:nvPicPr>
        <p:blipFill>
          <a:blip r:embed="rId3" cstate="print"/>
          <a:stretch>
            <a:fillRect/>
          </a:stretch>
        </p:blipFill>
        <p:spPr>
          <a:xfrm>
            <a:off x="462280" y="6209084"/>
            <a:ext cx="1456418" cy="310896"/>
          </a:xfrm>
          <a:prstGeom prst="rect">
            <a:avLst/>
          </a:prstGeom>
        </p:spPr>
      </p:pic>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pic>
        <p:nvPicPr>
          <p:cNvPr id="11" name="Picture 10"/>
          <p:cNvPicPr>
            <a:picLocks noChangeAspect="1"/>
          </p:cNvPicPr>
          <p:nvPr userDrawn="1"/>
        </p:nvPicPr>
        <p:blipFill>
          <a:blip r:embed="rId2" cstate="print"/>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655" indent="-287655">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770" indent="-168275">
              <a:defRPr sz="2000"/>
            </a:lvl3pPr>
            <a:lvl4pPr marL="880745" indent="-181610">
              <a:defRPr/>
            </a:lvl4pPr>
            <a:lvl5pPr marL="1049655"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655" indent="-287655">
              <a:spcBef>
                <a:spcPts val="1225"/>
              </a:spcBef>
              <a:buClr>
                <a:schemeClr val="tx2"/>
              </a:buClr>
              <a:buFont typeface="Arial" panose="020B0604020202020204" pitchFamily="34" charset="0"/>
              <a:buChar char="•"/>
              <a:defRPr sz="3200">
                <a:gradFill>
                  <a:gsLst>
                    <a:gs pos="1250">
                      <a:schemeClr val="tx2"/>
                    </a:gs>
                    <a:gs pos="99000">
                      <a:schemeClr val="tx2"/>
                    </a:gs>
                  </a:gsLst>
                  <a:lin ang="5400000" scaled="0"/>
                </a:gradFill>
              </a:defRPr>
            </a:lvl1pPr>
            <a:lvl2pPr marL="530860" indent="-233045">
              <a:defRPr sz="2400"/>
            </a:lvl2pPr>
            <a:lvl3pPr marL="699770" indent="-168275">
              <a:defRPr sz="2000"/>
            </a:lvl3pPr>
            <a:lvl4pPr marL="880745" indent="-181610">
              <a:defRPr/>
            </a:lvl4pPr>
            <a:lvl5pPr marL="1049655"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655" indent="-287655">
              <a:spcBef>
                <a:spcPts val="1225"/>
              </a:spcBef>
              <a:buClr>
                <a:schemeClr val="tx1"/>
              </a:buClr>
              <a:buFont typeface="Arial" panose="020B0604020202020204" pitchFamily="34" charset="0"/>
              <a:buChar char="•"/>
              <a:defRPr sz="3200"/>
            </a:lvl1pPr>
            <a:lvl2pPr marL="530860" indent="-233045">
              <a:defRPr sz="2400"/>
            </a:lvl2pPr>
            <a:lvl3pPr marL="699770" indent="-168275">
              <a:defRPr sz="2000"/>
            </a:lvl3pPr>
            <a:lvl4pPr marL="880745" indent="-181610">
              <a:defRPr/>
            </a:lvl4pPr>
            <a:lvl5pPr marL="1049655" indent="-1682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a:t>Speaker Nam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noAutofit/>
          </a:bodyPr>
          <a:lstStyle/>
          <a:p>
            <a:pPr algn="ctr" defTabSz="932180" fontAlgn="base">
              <a:spcBef>
                <a:spcPct val="0"/>
              </a:spcBef>
              <a:spcAft>
                <a:spcPct val="0"/>
              </a:spcAft>
            </a:pPr>
            <a:endParaRPr lang="en-US">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71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83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7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anose="020B0502040204020203" pitchFamily="34" charset="0"/>
              </a:defRPr>
            </a:lvl1pPr>
          </a:lstStyle>
          <a:p>
            <a:r>
              <a:rPr lang="en-US" dirty="0"/>
              <a:t>Video title</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spAutoFit/>
          </a:bodyPr>
          <a:lstStyle/>
          <a:p>
            <a:pPr defTabSz="932180" eaLnBrk="0" hangingPunct="0"/>
            <a:r>
              <a:rPr lang="en-US" sz="700">
                <a:gradFill>
                  <a:gsLst>
                    <a:gs pos="0">
                      <a:schemeClr val="tx1"/>
                    </a:gs>
                    <a:gs pos="100000">
                      <a:schemeClr val="tx1"/>
                    </a:gs>
                  </a:gsLst>
                  <a:lin ang="5400000" scaled="0"/>
                </a:gradFill>
                <a:cs typeface="Segoe UI" panose="020B0502040204020203" pitchFamily="34" charset="0"/>
              </a:rPr>
              <a:t>© 2016 Microsoft Corporation. All rights reserved. </a:t>
            </a:r>
          </a:p>
        </p:txBody>
      </p:sp>
      <p:pic>
        <p:nvPicPr>
          <p:cNvPr id="5" name="Picture 4"/>
          <p:cNvPicPr>
            <a:picLocks noChangeAspect="1"/>
          </p:cNvPicPr>
          <p:nvPr userDrawn="1"/>
        </p:nvPicPr>
        <p:blipFill rotWithShape="1">
          <a:blip r:embed="rId2" cstate="screen"/>
          <a:srcRect b="1380"/>
          <a:stretch>
            <a:fillRect/>
          </a:stretch>
        </p:blipFill>
        <p:spPr bwMode="invGray">
          <a:xfrm>
            <a:off x="457200" y="479425"/>
            <a:ext cx="1449939" cy="306604"/>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1-Color w/Photo Block Title on Lef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srcRect/>
          <a:stretch>
            <a:fillRect/>
          </a:stretch>
        </p:blipFill>
        <p:spPr>
          <a:xfrm>
            <a:off x="6775288" y="-1"/>
            <a:ext cx="5661187" cy="6994527"/>
          </a:xfrm>
          <a:prstGeom prst="rect">
            <a:avLst/>
          </a:prstGeom>
        </p:spPr>
      </p:pic>
      <p:sp>
        <p:nvSpPr>
          <p:cNvPr id="7" name="Title 2"/>
          <p:cNvSpPr>
            <a:spLocks noGrp="1"/>
          </p:cNvSpPr>
          <p:nvPr>
            <p:ph type="title"/>
          </p:nvPr>
        </p:nvSpPr>
        <p:spPr>
          <a:xfrm>
            <a:off x="481595" y="1130744"/>
            <a:ext cx="4013672" cy="946413"/>
          </a:xfrm>
          <a:prstGeom prst="rect">
            <a:avLst/>
          </a:prstGeom>
        </p:spPr>
        <p:txBody>
          <a:bodyPr/>
          <a:lstStyle>
            <a:lvl1pPr algn="l">
              <a:defRPr sz="4485" spc="0">
                <a:solidFill>
                  <a:schemeClr val="bg1"/>
                </a:solidFill>
              </a:defRPr>
            </a:lvl1pPr>
          </a:lstStyle>
          <a:p>
            <a:r>
              <a:rPr lang="en-US"/>
              <a:t>Click to edit Master title style</a:t>
            </a:r>
          </a:p>
        </p:txBody>
      </p:sp>
      <p:sp>
        <p:nvSpPr>
          <p:cNvPr id="30" name="Freeform 29"/>
          <p:cNvSpPr/>
          <p:nvPr userDrawn="1"/>
        </p:nvSpPr>
        <p:spPr bwMode="auto">
          <a:xfrm rot="10800000">
            <a:off x="0" y="-2"/>
            <a:ext cx="8346289" cy="6994527"/>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2" tIns="149178" rIns="186472" bIns="149178"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040" b="1" i="0" u="none" strike="noStrike" kern="1200" cap="none" spc="0" normalizeH="0" baseline="0" noProof="0">
              <a:ln>
                <a:noFill/>
              </a:ln>
              <a:solidFill>
                <a:srgbClr val="FFFFFF"/>
              </a:solidFill>
              <a:effectLst/>
              <a:uLnTx/>
              <a:uFillTx/>
              <a:latin typeface="Segoe UI Light" panose="020B0502040204020203"/>
              <a:ea typeface="Segoe UI" panose="020B0502040204020203" pitchFamily="34" charset="0"/>
              <a:cs typeface="Segoe UI" panose="020B0502040204020203" pitchFamily="34" charset="0"/>
            </a:endParaRPr>
          </a:p>
        </p:txBody>
      </p:sp>
    </p:spTree>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10" name="Freeform 9"/>
          <p:cNvSpPr/>
          <p:nvPr userDrawn="1"/>
        </p:nvSpPr>
        <p:spPr bwMode="auto">
          <a:xfrm rot="10800000" flipH="1" flipV="1">
            <a:off x="9327850" y="3"/>
            <a:ext cx="3108625" cy="6994526"/>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3236" tIns="46618" rIns="93236" bIns="46618" numCol="1" anchor="t" anchorCtr="0" compatLnSpc="1">
            <a:noAutofit/>
          </a:bodyPr>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1835" b="0" i="0" u="none" strike="noStrike" kern="1200" cap="none" spc="0" normalizeH="0" baseline="0" noProof="0">
              <a:ln>
                <a:noFill/>
              </a:ln>
              <a:solidFill>
                <a:srgbClr val="000000"/>
              </a:solidFill>
              <a:effectLst/>
              <a:uLnTx/>
              <a:uFillTx/>
              <a:latin typeface="Segoe UI" panose="020B0502040204020203"/>
              <a:ea typeface="+mn-ea"/>
              <a:cs typeface="+mn-cs"/>
            </a:endParaRPr>
          </a:p>
        </p:txBody>
      </p:sp>
      <p:sp>
        <p:nvSpPr>
          <p:cNvPr id="6" name="Text Placeholder 5"/>
          <p:cNvSpPr>
            <a:spLocks noGrp="1"/>
          </p:cNvSpPr>
          <p:nvPr>
            <p:ph type="body" sz="quarter" idx="13"/>
          </p:nvPr>
        </p:nvSpPr>
        <p:spPr>
          <a:xfrm>
            <a:off x="274640" y="1042679"/>
            <a:ext cx="9556884" cy="574675"/>
          </a:xfrm>
          <a:prstGeom prst="rect">
            <a:avLst/>
          </a:prstGeom>
        </p:spPr>
        <p:txBody>
          <a:bodyPr lIns="192024"/>
          <a:lstStyle>
            <a:lvl1pPr marL="0" indent="0">
              <a:buNone/>
              <a:defRPr lang="en-US" sz="2855"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1" y="292082"/>
            <a:ext cx="10296684" cy="789455"/>
          </a:xfrm>
          <a:prstGeom prst="rect">
            <a:avLst/>
          </a:prstGeom>
        </p:spPr>
        <p:txBody>
          <a:bodyPr/>
          <a:lstStyle>
            <a:lvl1pPr algn="l">
              <a:defRPr sz="4485">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pPr defTabSz="932180"/>
            <a:fld id="{6052FC3A-E1BD-E54F-9A48-71EBDEF00552}" type="slidenum">
              <a:rPr lang="en-US" smtClean="0">
                <a:solidFill>
                  <a:srgbClr val="FFFFFF"/>
                </a:solidFill>
              </a:rPr>
              <a:t>‹#›</a:t>
            </a:fld>
            <a:endParaRPr lang="en-US">
              <a:solidFill>
                <a:srgbClr val="FFFFFF"/>
              </a:solidFill>
            </a:endParaRPr>
          </a:p>
        </p:txBody>
      </p:sp>
    </p:spTree>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BF1305-67F4-4BBE-BBAB-E9B5D6714BFC}" type="datetimeFigureOut">
              <a:rPr lang="en-US" smtClean="0"/>
              <a:t>4/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B79EE6-A409-4B68-B8FC-E3B87B95811E}" type="slidenum">
              <a:rPr lang="en-US" smtClean="0"/>
              <a:t>‹#›</a:t>
            </a:fld>
            <a:endParaRPr lang="en-US"/>
          </a:p>
        </p:txBody>
      </p:sp>
    </p:spTree>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alkin (event nam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3" cstate="print"/>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sz="1800"/>
            </a:p>
          </p:txBody>
        </p:sp>
      </p:grpSp>
      <p:pic>
        <p:nvPicPr>
          <p:cNvPr id="9" name="Picture 8"/>
          <p:cNvPicPr>
            <a:picLocks noChangeAspect="1"/>
          </p:cNvPicPr>
          <p:nvPr userDrawn="1"/>
        </p:nvPicPr>
        <p:blipFill>
          <a:blip r:embed="rId4" cstate="print"/>
          <a:stretch>
            <a:fillRect/>
          </a:stretch>
        </p:blipFill>
        <p:spPr>
          <a:xfrm>
            <a:off x="5004630" y="493939"/>
            <a:ext cx="6959571" cy="1325880"/>
          </a:xfrm>
          <a:prstGeom prst="rect">
            <a:avLst/>
          </a:prstGeom>
        </p:spPr>
      </p:pic>
    </p:spTree>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 ANIMATED">
    <p:bg>
      <p:bgPr>
        <a:solidFill>
          <a:schemeClr val="bg2"/>
        </a:solidFill>
        <a:effectLst/>
      </p:bgPr>
    </p:bg>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lstStyle/>
          <a:p>
            <a:endParaRPr lang="en-US" sz="1800">
              <a:solidFill>
                <a:srgbClr val="FFFFFF"/>
              </a:solidFill>
              <a:latin typeface="Segoe UI" panose="020B0502040204020203"/>
            </a:endParaRPr>
          </a:p>
        </p:txBody>
      </p:sp>
      <p:sp>
        <p:nvSpPr>
          <p:cNvPr id="20" name="Rectangle 7"/>
          <p:cNvSpPr>
            <a:spLocks noChangeArrowheads="1"/>
          </p:cNvSpPr>
          <p:nvPr userDrawn="1"/>
        </p:nvSpPr>
        <p:spPr bwMode="auto">
          <a:xfrm>
            <a:off x="1" y="5843588"/>
            <a:ext cx="12433301" cy="1154113"/>
          </a:xfrm>
          <a:prstGeom prst="rect">
            <a:avLst/>
          </a:prstGeom>
          <a:solidFill>
            <a:srgbClr val="00188F"/>
          </a:solidFill>
          <a:ln>
            <a:noFill/>
          </a:ln>
        </p:spPr>
        <p:txBody>
          <a:bodyPr vert="horz" wrap="square" lIns="91427" tIns="45713" rIns="91427" bIns="45713" numCol="1" anchor="t" anchorCtr="0" compatLnSpc="1"/>
          <a:lstStyle/>
          <a:p>
            <a:endParaRPr lang="en-US" sz="1800">
              <a:solidFill>
                <a:srgbClr val="FFFFFF"/>
              </a:solidFill>
              <a:latin typeface="Segoe UI" panose="020B0502040204020203"/>
            </a:endParaRPr>
          </a:p>
        </p:txBody>
      </p:sp>
      <p:sp>
        <p:nvSpPr>
          <p:cNvPr id="2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lstStyle/>
          <a:p>
            <a:endParaRPr lang="en-US" sz="1800">
              <a:solidFill>
                <a:srgbClr val="FFFFFF"/>
              </a:solidFill>
              <a:latin typeface="Segoe UI" panose="020B0502040204020203"/>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noAutofit/>
          </a:bodyPr>
          <a:lstStyle/>
          <a:p>
            <a:pPr marL="0" marR="0" lvl="0" indent="0" algn="ctr" defTabSz="932180" eaLnBrk="1" fontAlgn="base" latinLnBrk="0" hangingPunct="1">
              <a:lnSpc>
                <a:spcPct val="90000"/>
              </a:lnSpc>
              <a:spcBef>
                <a:spcPct val="0"/>
              </a:spcBef>
              <a:spcAft>
                <a:spcPct val="0"/>
              </a:spcAft>
              <a:buClrTx/>
              <a:buSzTx/>
              <a:buFontTx/>
              <a:buNone/>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panose="020B0502040204020203"/>
              <a:ea typeface="Segoe UI" panose="020B0502040204020203" pitchFamily="34" charset="0"/>
              <a:cs typeface="Segoe UI" panose="020B0502040204020203" pitchFamily="34" charset="0"/>
            </a:endParaRPr>
          </a:p>
        </p:txBody>
      </p:sp>
      <p:sp>
        <p:nvSpPr>
          <p:cNvPr id="23"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lstStyle/>
          <a:p>
            <a:endParaRPr lang="en-US" sz="1800">
              <a:solidFill>
                <a:srgbClr val="FFFFFF"/>
              </a:solidFill>
              <a:latin typeface="Segoe UI" panose="020B0502040204020203"/>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sz="1800"/>
            </a:p>
          </p:txBody>
        </p:sp>
      </p:grpSp>
      <p:sp>
        <p:nvSpPr>
          <p:cNvPr id="11" name="TextBox 7"/>
          <p:cNvSpPr txBox="1"/>
          <p:nvPr userDrawn="1"/>
        </p:nvSpPr>
        <p:spPr bwMode="white">
          <a:xfrm>
            <a:off x="4443286" y="6696086"/>
            <a:ext cx="3549904"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print"/>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lstStyle/>
            <a:p>
              <a:endParaRPr lang="en-US" sz="1800"/>
            </a:p>
          </p:txBody>
        </p:sp>
      </p:grpSp>
      <p:sp>
        <p:nvSpPr>
          <p:cNvPr id="11"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Session Code</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a:t>Yammer hashtag</a:t>
            </a:r>
          </a:p>
        </p:txBody>
      </p:sp>
    </p:spTree>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a:lstStyle>
          <a:p>
            <a:pPr algn="ctr"/>
            <a:r>
              <a:rPr lang="en-US" sz="1050"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slideLayout" Target="../slideLayouts/slideLayout199.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slideLayout" Target="../slideLayouts/slideLayout198.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23" Type="http://schemas.openxmlformats.org/officeDocument/2006/relationships/image" Target="../media/image1.emf"/><Relationship Id="rId10" Type="http://schemas.openxmlformats.org/officeDocument/2006/relationships/slideLayout" Target="../slideLayouts/slideLayout188.xml"/><Relationship Id="rId19" Type="http://schemas.openxmlformats.org/officeDocument/2006/relationships/slideLayout" Target="../slideLayouts/slideLayout197.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02.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5" Type="http://schemas.openxmlformats.org/officeDocument/2006/relationships/image" Target="../media/image1.emf"/><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image" Target="../media/image1.emf"/><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10" Type="http://schemas.openxmlformats.org/officeDocument/2006/relationships/slideLayout" Target="../slideLayouts/slideLayout212.xml"/><Relationship Id="rId19" Type="http://schemas.openxmlformats.org/officeDocument/2006/relationships/theme" Target="../theme/theme12.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theme" Target="../theme/theme13.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image" Target="../media/image1.emf"/><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10" Type="http://schemas.openxmlformats.org/officeDocument/2006/relationships/slideLayout" Target="../slideLayouts/slideLayout250.xml"/><Relationship Id="rId19" Type="http://schemas.openxmlformats.org/officeDocument/2006/relationships/theme" Target="../theme/theme14.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image" Target="../media/image1.emf"/><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theme" Target="../theme/theme15.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280.xml"/><Relationship Id="rId7" Type="http://schemas.openxmlformats.org/officeDocument/2006/relationships/theme" Target="../theme/theme16.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5" Type="http://schemas.openxmlformats.org/officeDocument/2006/relationships/slideLayout" Target="../slideLayouts/slideLayout282.xml"/><Relationship Id="rId4" Type="http://schemas.openxmlformats.org/officeDocument/2006/relationships/slideLayout" Target="../slideLayouts/slideLayout28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theme" Target="../theme/theme17.xml"/><Relationship Id="rId3" Type="http://schemas.openxmlformats.org/officeDocument/2006/relationships/slideLayout" Target="../slideLayouts/slideLayout286.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19" Type="http://schemas.openxmlformats.org/officeDocument/2006/relationships/image" Target="../media/image1.emf"/><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theme" Target="../theme/theme18.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10" Type="http://schemas.openxmlformats.org/officeDocument/2006/relationships/slideLayout" Target="../slideLayouts/slideLayout310.xml"/><Relationship Id="rId19" Type="http://schemas.openxmlformats.org/officeDocument/2006/relationships/image" Target="../media/image1.emf"/><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25.xml"/><Relationship Id="rId13" Type="http://schemas.openxmlformats.org/officeDocument/2006/relationships/theme" Target="../theme/theme19.xml"/><Relationship Id="rId3" Type="http://schemas.openxmlformats.org/officeDocument/2006/relationships/slideLayout" Target="../slideLayouts/slideLayout320.xml"/><Relationship Id="rId7" Type="http://schemas.openxmlformats.org/officeDocument/2006/relationships/slideLayout" Target="../slideLayouts/slideLayout324.xml"/><Relationship Id="rId12" Type="http://schemas.openxmlformats.org/officeDocument/2006/relationships/slideLayout" Target="../slideLayouts/slideLayout329.xml"/><Relationship Id="rId2" Type="http://schemas.openxmlformats.org/officeDocument/2006/relationships/slideLayout" Target="../slideLayouts/slideLayout319.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11" Type="http://schemas.openxmlformats.org/officeDocument/2006/relationships/slideLayout" Target="../slideLayouts/slideLayout328.xml"/><Relationship Id="rId5" Type="http://schemas.openxmlformats.org/officeDocument/2006/relationships/slideLayout" Target="../slideLayouts/slideLayout322.xml"/><Relationship Id="rId10" Type="http://schemas.openxmlformats.org/officeDocument/2006/relationships/slideLayout" Target="../slideLayouts/slideLayout327.xml"/><Relationship Id="rId4" Type="http://schemas.openxmlformats.org/officeDocument/2006/relationships/slideLayout" Target="../slideLayouts/slideLayout321.xml"/><Relationship Id="rId9" Type="http://schemas.openxmlformats.org/officeDocument/2006/relationships/slideLayout" Target="../slideLayouts/slideLayout3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image" Target="../media/image1.emf"/><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theme" Target="../theme/theme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heme" Target="../theme/theme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image" Target="../media/image1.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theme" Target="../theme/theme4.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theme" Target="../theme/theme6.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theme" Target="../theme/theme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19" Type="http://schemas.openxmlformats.org/officeDocument/2006/relationships/image" Target="../media/image1.emf"/><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1"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3" cstate="print"/>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5" cstate="print"/>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0" cstate="screen"/>
          <a:stretch>
            <a:fillRect/>
          </a:stretch>
        </p:blipFill>
        <p:spPr>
          <a:xfrm rot="5400000">
            <a:off x="9371795" y="3072299"/>
            <a:ext cx="6995160" cy="849926"/>
          </a:xfrm>
          <a:prstGeom prst="rect">
            <a:avLst/>
          </a:prstGeom>
        </p:spPr>
      </p:pic>
    </p:spTree>
  </p:cSld>
  <p:clrMap bg1="dk1" tx1="lt1" bg2="dk2" tx2="lt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Lst>
  <p:transition>
    <p:fade/>
  </p:transition>
  <p:txStyles>
    <p:titleStyle>
      <a:lvl1pPr algn="l" defTabSz="932180" rtl="0" eaLnBrk="1" latinLnBrk="0" hangingPunct="1">
        <a:lnSpc>
          <a:spcPct val="90000"/>
        </a:lnSpc>
        <a:spcBef>
          <a:spcPct val="0"/>
        </a:spcBef>
        <a:buNone/>
        <a:defRPr lang="en-US" sz="4795"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3995"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3565"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799465"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065"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6665"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349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2958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567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1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180" algn="l" defTabSz="932180" rtl="0" eaLnBrk="1" latinLnBrk="0" hangingPunct="1">
        <a:defRPr sz="1800" kern="1200">
          <a:solidFill>
            <a:schemeClr val="tx1"/>
          </a:solidFill>
          <a:latin typeface="+mn-lt"/>
          <a:ea typeface="+mn-ea"/>
          <a:cs typeface="+mn-cs"/>
        </a:defRPr>
      </a:lvl3pPr>
      <a:lvl4pPr marL="1398270" algn="l" defTabSz="932180" rtl="0" eaLnBrk="1" latinLnBrk="0" hangingPunct="1">
        <a:defRPr sz="1800" kern="1200">
          <a:solidFill>
            <a:schemeClr val="tx1"/>
          </a:solidFill>
          <a:latin typeface="+mn-lt"/>
          <a:ea typeface="+mn-ea"/>
          <a:cs typeface="+mn-cs"/>
        </a:defRPr>
      </a:lvl4pPr>
      <a:lvl5pPr marL="1864360" algn="l" defTabSz="932180" rtl="0" eaLnBrk="1" latinLnBrk="0" hangingPunct="1">
        <a:defRPr sz="1800" kern="1200">
          <a:solidFill>
            <a:schemeClr val="tx1"/>
          </a:solidFill>
          <a:latin typeface="+mn-lt"/>
          <a:ea typeface="+mn-ea"/>
          <a:cs typeface="+mn-cs"/>
        </a:defRPr>
      </a:lvl5pPr>
      <a:lvl6pPr marL="2330450" algn="l" defTabSz="932180" rtl="0" eaLnBrk="1" latinLnBrk="0" hangingPunct="1">
        <a:defRPr sz="1800" kern="1200">
          <a:solidFill>
            <a:schemeClr val="tx1"/>
          </a:solidFill>
          <a:latin typeface="+mn-lt"/>
          <a:ea typeface="+mn-ea"/>
          <a:cs typeface="+mn-cs"/>
        </a:defRPr>
      </a:lvl6pPr>
      <a:lvl7pPr marL="2796540" algn="l" defTabSz="932180" rtl="0" eaLnBrk="1" latinLnBrk="0" hangingPunct="1">
        <a:defRPr sz="1800" kern="1200">
          <a:solidFill>
            <a:schemeClr val="tx1"/>
          </a:solidFill>
          <a:latin typeface="+mn-lt"/>
          <a:ea typeface="+mn-ea"/>
          <a:cs typeface="+mn-cs"/>
        </a:defRPr>
      </a:lvl7pPr>
      <a:lvl8pPr marL="3262630" algn="l" defTabSz="932180" rtl="0" eaLnBrk="1" latinLnBrk="0" hangingPunct="1">
        <a:defRPr sz="1800" kern="1200">
          <a:solidFill>
            <a:schemeClr val="tx1"/>
          </a:solidFill>
          <a:latin typeface="+mn-lt"/>
          <a:ea typeface="+mn-ea"/>
          <a:cs typeface="+mn-cs"/>
        </a:defRPr>
      </a:lvl8pPr>
      <a:lvl9pPr marL="3728720" algn="l" defTabSz="93218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0"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415347"/>
            <a:ext cx="11887198" cy="209275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8" cstate="print"/>
          <a:stretch>
            <a:fillRect/>
          </a:stretch>
        </p:blipFill>
        <p:spPr>
          <a:xfrm rot="5400000">
            <a:off x="9393899" y="3050514"/>
            <a:ext cx="6995160" cy="894134"/>
          </a:xfrm>
          <a:prstGeom prst="rect">
            <a:avLst/>
          </a:prstGeom>
        </p:spPr>
      </p:pic>
    </p:spTree>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solidFill>
            <a:srgbClr val="00B0F0"/>
          </a:solidFill>
          <a:effectLst/>
          <a:latin typeface="Segoe UI Light" panose="020B0502040204020203" pitchFamily="34" charset="0"/>
          <a:ea typeface="Century Gothic" panose="020B0502020202020204" pitchFamily="34" charset="0"/>
          <a:cs typeface="Segoe UI Light"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Segoe UI Light" panose="020B0502040204020203"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Segoe UI Light" panose="020B0502040204020203"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Segoe UI Light" panose="020B0502040204020203"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Segoe UI Light" panose="020B0502040204020203"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Segoe UI Light" panose="020B0502040204020203"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85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0625" algn="l" defTabSz="93218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9"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19" cstate="screen"/>
          <a:stretch>
            <a:fillRect/>
          </a:stretch>
        </p:blipFill>
        <p:spPr>
          <a:xfrm rot="5400000">
            <a:off x="9371795" y="3072299"/>
            <a:ext cx="6995160" cy="849926"/>
          </a:xfrm>
          <a:prstGeom prst="rect">
            <a:avLst/>
          </a:prstGeom>
        </p:spPr>
      </p:pic>
    </p:spTree>
  </p:cSld>
  <p:clrMap bg1="dk1" tx1="lt1" bg2="dk2" tx2="lt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lumMod val="88000"/>
              </a:schemeClr>
            </a:gs>
            <a:gs pos="50000">
              <a:schemeClr val="bg1"/>
            </a:gs>
            <a:gs pos="100000">
              <a:schemeClr val="bg1">
                <a:lumMod val="97000"/>
              </a:schemeClr>
            </a:gs>
          </a:gsLst>
          <a:lin ang="0" scaled="0"/>
          <a:tileRect/>
        </a:gra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21824" y="280107"/>
            <a:ext cx="11192828" cy="1165755"/>
          </a:xfrm>
          <a:prstGeom prst="rect">
            <a:avLst/>
          </a:prstGeom>
        </p:spPr>
        <p:txBody>
          <a:bodyPr vert="horz" lIns="108850" tIns="54425" rIns="108850" bIns="54425" rtlCol="0" anchor="ctr">
            <a:normAutofit/>
          </a:bodyPr>
          <a:lstStyle/>
          <a:p>
            <a:r>
              <a:rPr lang="zh-CN" altLang="en-US"/>
              <a:t>单击此处编辑母版标题样式</a:t>
            </a:r>
          </a:p>
        </p:txBody>
      </p:sp>
      <p:sp>
        <p:nvSpPr>
          <p:cNvPr id="3" name="文本占位符 2"/>
          <p:cNvSpPr>
            <a:spLocks noGrp="1"/>
          </p:cNvSpPr>
          <p:nvPr>
            <p:ph type="body" idx="1"/>
          </p:nvPr>
        </p:nvSpPr>
        <p:spPr>
          <a:xfrm>
            <a:off x="621824" y="1632058"/>
            <a:ext cx="11192828" cy="4616063"/>
          </a:xfrm>
          <a:prstGeom prst="rect">
            <a:avLst/>
          </a:prstGeom>
        </p:spPr>
        <p:txBody>
          <a:bodyPr vert="horz" lIns="108850" tIns="54425" rIns="108850" bIns="54425"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21823" y="6482891"/>
            <a:ext cx="2901844" cy="372394"/>
          </a:xfrm>
          <a:prstGeom prst="rect">
            <a:avLst/>
          </a:prstGeom>
        </p:spPr>
        <p:txBody>
          <a:bodyPr vert="horz" lIns="108850" tIns="54425" rIns="108850" bIns="54425" rtlCol="0" anchor="ctr"/>
          <a:lstStyle>
            <a:lvl1pPr algn="l">
              <a:defRPr sz="1430">
                <a:solidFill>
                  <a:schemeClr val="tx1">
                    <a:tint val="75000"/>
                  </a:schemeClr>
                </a:solidFill>
                <a:latin typeface="Century Gothic" panose="020B0502020202020204" pitchFamily="34" charset="0"/>
                <a:ea typeface="Century Gothic" panose="020B0502020202020204" pitchFamily="34" charset="0"/>
              </a:defRPr>
            </a:lvl1pPr>
          </a:lstStyle>
          <a:p>
            <a:fld id="{0DA38294-7141-40EF-BD4D-E10873ED0017}" type="datetimeFigureOut">
              <a:rPr lang="zh-CN" altLang="en-US" smtClean="0"/>
              <a:t>2020/4/8</a:t>
            </a:fld>
            <a:endParaRPr lang="zh-CN" altLang="en-US"/>
          </a:p>
        </p:txBody>
      </p:sp>
      <p:sp>
        <p:nvSpPr>
          <p:cNvPr id="5" name="页脚占位符 4"/>
          <p:cNvSpPr>
            <a:spLocks noGrp="1"/>
          </p:cNvSpPr>
          <p:nvPr>
            <p:ph type="ftr" sz="quarter" idx="3"/>
          </p:nvPr>
        </p:nvSpPr>
        <p:spPr>
          <a:xfrm>
            <a:off x="4249130" y="6482891"/>
            <a:ext cx="3938217" cy="372394"/>
          </a:xfrm>
          <a:prstGeom prst="rect">
            <a:avLst/>
          </a:prstGeom>
        </p:spPr>
        <p:txBody>
          <a:bodyPr vert="horz" lIns="108850" tIns="54425" rIns="108850" bIns="54425" rtlCol="0" anchor="ctr"/>
          <a:lstStyle>
            <a:lvl1pPr algn="ctr">
              <a:defRPr sz="1430">
                <a:solidFill>
                  <a:schemeClr val="tx1">
                    <a:tint val="75000"/>
                  </a:schemeClr>
                </a:solidFill>
                <a:latin typeface="Century Gothic" panose="020B0502020202020204" pitchFamily="34" charset="0"/>
                <a:ea typeface="Century Gothic" panose="020B0502020202020204" pitchFamily="34" charset="0"/>
              </a:defRPr>
            </a:lvl1pPr>
          </a:lstStyle>
          <a:p>
            <a:endParaRPr lang="zh-CN" altLang="en-US"/>
          </a:p>
        </p:txBody>
      </p:sp>
      <p:sp>
        <p:nvSpPr>
          <p:cNvPr id="6" name="灯片编号占位符 5"/>
          <p:cNvSpPr>
            <a:spLocks noGrp="1"/>
          </p:cNvSpPr>
          <p:nvPr>
            <p:ph type="sldNum" sz="quarter" idx="4"/>
          </p:nvPr>
        </p:nvSpPr>
        <p:spPr>
          <a:xfrm>
            <a:off x="8912808" y="6482891"/>
            <a:ext cx="2901844" cy="372394"/>
          </a:xfrm>
          <a:prstGeom prst="rect">
            <a:avLst/>
          </a:prstGeom>
        </p:spPr>
        <p:txBody>
          <a:bodyPr vert="horz" lIns="108850" tIns="54425" rIns="108850" bIns="54425" rtlCol="0" anchor="ctr"/>
          <a:lstStyle>
            <a:lvl1pPr algn="r">
              <a:defRPr sz="1430">
                <a:solidFill>
                  <a:schemeClr val="tx1">
                    <a:tint val="75000"/>
                  </a:schemeClr>
                </a:solidFill>
                <a:latin typeface="Century Gothic" panose="020B0502020202020204" pitchFamily="34" charset="0"/>
                <a:ea typeface="Century Gothic" panose="020B0502020202020204" pitchFamily="34" charset="0"/>
              </a:defRPr>
            </a:lvl1pPr>
          </a:lstStyle>
          <a:p>
            <a:fld id="{902775CD-4271-42C1-80E3-17FB2D4242E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Lst>
  <p:transition>
    <p:fade/>
  </p:transition>
  <p:txStyles>
    <p:titleStyle>
      <a:lvl1pPr algn="ctr" defTabSz="1109345" rtl="0" eaLnBrk="1" latinLnBrk="0" hangingPunct="1">
        <a:spcBef>
          <a:spcPct val="0"/>
        </a:spcBef>
        <a:buNone/>
        <a:defRPr sz="5300" kern="1200">
          <a:solidFill>
            <a:schemeClr val="tx1"/>
          </a:solidFill>
          <a:latin typeface="Century Gothic" panose="020B0502020202020204" pitchFamily="34" charset="0"/>
          <a:ea typeface="Century Gothic" panose="020B0502020202020204" pitchFamily="34" charset="0"/>
          <a:cs typeface="+mj-cs"/>
        </a:defRPr>
      </a:lvl1pPr>
    </p:titleStyle>
    <p:bodyStyle>
      <a:lvl1pPr marL="415925" indent="-415925" algn="l" defTabSz="1109345" rtl="0" eaLnBrk="1" latinLnBrk="0" hangingPunct="1">
        <a:spcBef>
          <a:spcPct val="20000"/>
        </a:spcBef>
        <a:buFont typeface="Arial" panose="020B0604020202020204" pitchFamily="34" charset="0"/>
        <a:buChar char="•"/>
        <a:defRPr sz="3875" kern="1200">
          <a:solidFill>
            <a:schemeClr val="tx1"/>
          </a:solidFill>
          <a:latin typeface="Century Gothic" panose="020B0502020202020204" pitchFamily="34" charset="0"/>
          <a:ea typeface="Century Gothic" panose="020B0502020202020204" pitchFamily="34" charset="0"/>
          <a:cs typeface="+mn-cs"/>
        </a:defRPr>
      </a:lvl1pPr>
      <a:lvl2pPr marL="901700" indent="-346710" algn="l" defTabSz="1109345" rtl="0" eaLnBrk="1" latinLnBrk="0" hangingPunct="1">
        <a:spcBef>
          <a:spcPct val="20000"/>
        </a:spcBef>
        <a:buFont typeface="Arial" panose="020B0604020202020204" pitchFamily="34" charset="0"/>
        <a:buChar char="–"/>
        <a:defRPr sz="3365" kern="1200">
          <a:solidFill>
            <a:schemeClr val="tx1"/>
          </a:solidFill>
          <a:latin typeface="Century Gothic" panose="020B0502020202020204" pitchFamily="34" charset="0"/>
          <a:ea typeface="Century Gothic" panose="020B0502020202020204" pitchFamily="34" charset="0"/>
          <a:cs typeface="+mn-cs"/>
        </a:defRPr>
      </a:lvl2pPr>
      <a:lvl3pPr marL="1387475" indent="-277495" algn="l" defTabSz="1109345" rtl="0" eaLnBrk="1" latinLnBrk="0" hangingPunct="1">
        <a:spcBef>
          <a:spcPct val="20000"/>
        </a:spcBef>
        <a:buFont typeface="Arial" panose="020B0604020202020204" pitchFamily="34" charset="0"/>
        <a:buChar char="•"/>
        <a:defRPr sz="2955" kern="1200">
          <a:solidFill>
            <a:schemeClr val="tx1"/>
          </a:solidFill>
          <a:latin typeface="Century Gothic" panose="020B0502020202020204" pitchFamily="34" charset="0"/>
          <a:ea typeface="Century Gothic" panose="020B0502020202020204" pitchFamily="34" charset="0"/>
          <a:cs typeface="+mn-cs"/>
        </a:defRPr>
      </a:lvl3pPr>
      <a:lvl4pPr marL="1941830" indent="-277495" algn="l" defTabSz="1109345" rtl="0" eaLnBrk="1" latinLnBrk="0" hangingPunct="1">
        <a:spcBef>
          <a:spcPct val="20000"/>
        </a:spcBef>
        <a:buFont typeface="Arial" panose="020B0604020202020204" pitchFamily="34" charset="0"/>
        <a:buChar char="–"/>
        <a:defRPr sz="2445" kern="1200">
          <a:solidFill>
            <a:schemeClr val="tx1"/>
          </a:solidFill>
          <a:latin typeface="Century Gothic" panose="020B0502020202020204" pitchFamily="34" charset="0"/>
          <a:ea typeface="Century Gothic" panose="020B0502020202020204" pitchFamily="34" charset="0"/>
          <a:cs typeface="+mn-cs"/>
        </a:defRPr>
      </a:lvl4pPr>
      <a:lvl5pPr marL="2496820" indent="-277495" algn="l" defTabSz="1109345" rtl="0" eaLnBrk="1" latinLnBrk="0" hangingPunct="1">
        <a:spcBef>
          <a:spcPct val="20000"/>
        </a:spcBef>
        <a:buFont typeface="Arial" panose="020B0604020202020204" pitchFamily="34" charset="0"/>
        <a:buChar char="»"/>
        <a:defRPr sz="2445" kern="1200">
          <a:solidFill>
            <a:schemeClr val="tx1"/>
          </a:solidFill>
          <a:latin typeface="Century Gothic" panose="020B0502020202020204" pitchFamily="34" charset="0"/>
          <a:ea typeface="Century Gothic" panose="020B0502020202020204" pitchFamily="34" charset="0"/>
          <a:cs typeface="+mn-cs"/>
        </a:defRPr>
      </a:lvl5pPr>
      <a:lvl6pPr marL="3051810" indent="-277495" algn="l" defTabSz="1109345" rtl="0" eaLnBrk="1" latinLnBrk="0" hangingPunct="1">
        <a:spcBef>
          <a:spcPct val="20000"/>
        </a:spcBef>
        <a:buFont typeface="Arial" panose="020B0604020202020204" pitchFamily="34" charset="0"/>
        <a:buChar char="•"/>
        <a:defRPr sz="2445" kern="1200">
          <a:solidFill>
            <a:schemeClr val="tx1"/>
          </a:solidFill>
          <a:latin typeface="+mn-lt"/>
          <a:ea typeface="+mn-ea"/>
          <a:cs typeface="+mn-cs"/>
        </a:defRPr>
      </a:lvl6pPr>
      <a:lvl7pPr marL="3606800" indent="-277495" algn="l" defTabSz="1109345" rtl="0" eaLnBrk="1" latinLnBrk="0" hangingPunct="1">
        <a:spcBef>
          <a:spcPct val="20000"/>
        </a:spcBef>
        <a:buFont typeface="Arial" panose="020B0604020202020204" pitchFamily="34" charset="0"/>
        <a:buChar char="•"/>
        <a:defRPr sz="2445" kern="1200">
          <a:solidFill>
            <a:schemeClr val="tx1"/>
          </a:solidFill>
          <a:latin typeface="+mn-lt"/>
          <a:ea typeface="+mn-ea"/>
          <a:cs typeface="+mn-cs"/>
        </a:defRPr>
      </a:lvl7pPr>
      <a:lvl8pPr marL="4161790" indent="-277495" algn="l" defTabSz="1109345" rtl="0" eaLnBrk="1" latinLnBrk="0" hangingPunct="1">
        <a:spcBef>
          <a:spcPct val="20000"/>
        </a:spcBef>
        <a:buFont typeface="Arial" panose="020B0604020202020204" pitchFamily="34" charset="0"/>
        <a:buChar char="•"/>
        <a:defRPr sz="2445" kern="1200">
          <a:solidFill>
            <a:schemeClr val="tx1"/>
          </a:solidFill>
          <a:latin typeface="+mn-lt"/>
          <a:ea typeface="+mn-ea"/>
          <a:cs typeface="+mn-cs"/>
        </a:defRPr>
      </a:lvl8pPr>
      <a:lvl9pPr marL="4716145" indent="-277495" algn="l" defTabSz="1109345" rtl="0" eaLnBrk="1" latinLnBrk="0" hangingPunct="1">
        <a:spcBef>
          <a:spcPct val="20000"/>
        </a:spcBef>
        <a:buFont typeface="Arial" panose="020B0604020202020204" pitchFamily="34" charset="0"/>
        <a:buChar char="•"/>
        <a:defRPr sz="2445" kern="1200">
          <a:solidFill>
            <a:schemeClr val="tx1"/>
          </a:solidFill>
          <a:latin typeface="+mn-lt"/>
          <a:ea typeface="+mn-ea"/>
          <a:cs typeface="+mn-cs"/>
        </a:defRPr>
      </a:lvl9pPr>
    </p:bodyStyle>
    <p:otherStyle>
      <a:defPPr>
        <a:defRPr lang="zh-CN"/>
      </a:defPPr>
      <a:lvl1pPr marL="0" algn="l" defTabSz="1109345" rtl="0" eaLnBrk="1" latinLnBrk="0" hangingPunct="1">
        <a:defRPr sz="2140" kern="1200">
          <a:solidFill>
            <a:schemeClr val="tx1"/>
          </a:solidFill>
          <a:latin typeface="+mn-lt"/>
          <a:ea typeface="+mn-ea"/>
          <a:cs typeface="+mn-cs"/>
        </a:defRPr>
      </a:lvl1pPr>
      <a:lvl2pPr marL="554990" algn="l" defTabSz="1109345" rtl="0" eaLnBrk="1" latinLnBrk="0" hangingPunct="1">
        <a:defRPr sz="2140" kern="1200">
          <a:solidFill>
            <a:schemeClr val="tx1"/>
          </a:solidFill>
          <a:latin typeface="+mn-lt"/>
          <a:ea typeface="+mn-ea"/>
          <a:cs typeface="+mn-cs"/>
        </a:defRPr>
      </a:lvl2pPr>
      <a:lvl3pPr marL="1109980" algn="l" defTabSz="1109345" rtl="0" eaLnBrk="1" latinLnBrk="0" hangingPunct="1">
        <a:defRPr sz="2140" kern="1200">
          <a:solidFill>
            <a:schemeClr val="tx1"/>
          </a:solidFill>
          <a:latin typeface="+mn-lt"/>
          <a:ea typeface="+mn-ea"/>
          <a:cs typeface="+mn-cs"/>
        </a:defRPr>
      </a:lvl3pPr>
      <a:lvl4pPr marL="1664335" algn="l" defTabSz="1109345" rtl="0" eaLnBrk="1" latinLnBrk="0" hangingPunct="1">
        <a:defRPr sz="2140" kern="1200">
          <a:solidFill>
            <a:schemeClr val="tx1"/>
          </a:solidFill>
          <a:latin typeface="+mn-lt"/>
          <a:ea typeface="+mn-ea"/>
          <a:cs typeface="+mn-cs"/>
        </a:defRPr>
      </a:lvl4pPr>
      <a:lvl5pPr marL="2219325" algn="l" defTabSz="1109345" rtl="0" eaLnBrk="1" latinLnBrk="0" hangingPunct="1">
        <a:defRPr sz="2140" kern="1200">
          <a:solidFill>
            <a:schemeClr val="tx1"/>
          </a:solidFill>
          <a:latin typeface="+mn-lt"/>
          <a:ea typeface="+mn-ea"/>
          <a:cs typeface="+mn-cs"/>
        </a:defRPr>
      </a:lvl5pPr>
      <a:lvl6pPr marL="2774315" algn="l" defTabSz="1109345" rtl="0" eaLnBrk="1" latinLnBrk="0" hangingPunct="1">
        <a:defRPr sz="2140" kern="1200">
          <a:solidFill>
            <a:schemeClr val="tx1"/>
          </a:solidFill>
          <a:latin typeface="+mn-lt"/>
          <a:ea typeface="+mn-ea"/>
          <a:cs typeface="+mn-cs"/>
        </a:defRPr>
      </a:lvl6pPr>
      <a:lvl7pPr marL="3329305" algn="l" defTabSz="1109345" rtl="0" eaLnBrk="1" latinLnBrk="0" hangingPunct="1">
        <a:defRPr sz="2140" kern="1200">
          <a:solidFill>
            <a:schemeClr val="tx1"/>
          </a:solidFill>
          <a:latin typeface="+mn-lt"/>
          <a:ea typeface="+mn-ea"/>
          <a:cs typeface="+mn-cs"/>
        </a:defRPr>
      </a:lvl7pPr>
      <a:lvl8pPr marL="3884295" algn="l" defTabSz="1109345" rtl="0" eaLnBrk="1" latinLnBrk="0" hangingPunct="1">
        <a:defRPr sz="2140" kern="1200">
          <a:solidFill>
            <a:schemeClr val="tx1"/>
          </a:solidFill>
          <a:latin typeface="+mn-lt"/>
          <a:ea typeface="+mn-ea"/>
          <a:cs typeface="+mn-cs"/>
        </a:defRPr>
      </a:lvl8pPr>
      <a:lvl9pPr marL="4438650" algn="l" defTabSz="1109345" rtl="0" eaLnBrk="1" latinLnBrk="0" hangingPunct="1">
        <a:defRPr sz="214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19" cstate="screen"/>
          <a:stretch>
            <a:fillRect/>
          </a:stretch>
        </p:blipFill>
        <p:spPr>
          <a:xfrm rot="5400000">
            <a:off x="9371795" y="3072299"/>
            <a:ext cx="6995160" cy="849926"/>
          </a:xfrm>
          <a:prstGeom prst="rect">
            <a:avLst/>
          </a:prstGeom>
        </p:spPr>
      </p:pic>
    </p:spTree>
  </p:cSld>
  <p:clrMap bg1="dk1" tx1="lt1" bg2="dk2" tx2="lt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3"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 id="2147484064" r:id="rId14"/>
    <p:sldLayoutId id="2147484065" r:id="rId15"/>
    <p:sldLayoutId id="2147484066" r:id="rId16"/>
    <p:sldLayoutId id="2147484067" r:id="rId17"/>
    <p:sldLayoutId id="2147484068" r:id="rId18"/>
    <p:sldLayoutId id="2147484069" r:id="rId19"/>
    <p:sldLayoutId id="2147484070" r:id="rId20"/>
    <p:sldLayoutId id="2147484071" r:id="rId21"/>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423336"/>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5" cstate="screen"/>
          <a:stretch>
            <a:fillRect/>
          </a:stretch>
        </p:blipFill>
        <p:spPr>
          <a:xfrm rot="5400000">
            <a:off x="9371796" y="3072300"/>
            <a:ext cx="6995160" cy="849926"/>
          </a:xfrm>
          <a:prstGeom prst="rect">
            <a:avLst/>
          </a:prstGeom>
        </p:spPr>
      </p:pic>
    </p:spTree>
  </p:cSld>
  <p:clrMap bg1="dk1" tx1="lt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Lst>
  <p:transition>
    <p:fade/>
  </p:transition>
  <p:hf hdr="0" ftr="0" dt="0"/>
  <p:txStyles>
    <p:titleStyle>
      <a:lvl1pPr algn="l" defTabSz="932180" rtl="0" eaLnBrk="1" latinLnBrk="0" hangingPunct="1">
        <a:lnSpc>
          <a:spcPct val="90000"/>
        </a:lnSpc>
        <a:spcBef>
          <a:spcPct val="0"/>
        </a:spcBef>
        <a:buNone/>
        <a:defRPr lang="en-US" sz="4895"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7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55"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5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5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5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85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694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3900" algn="l" defTabSz="932180" rtl="0" eaLnBrk="1" latinLnBrk="0" hangingPunct="1">
        <a:defRPr sz="1800" kern="1200">
          <a:solidFill>
            <a:schemeClr val="tx1"/>
          </a:solidFill>
          <a:latin typeface="+mn-lt"/>
          <a:ea typeface="+mn-ea"/>
          <a:cs typeface="+mn-cs"/>
        </a:defRPr>
      </a:lvl8pPr>
      <a:lvl9pPr marL="3729990" algn="l" defTabSz="93218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0" cstate="screen"/>
          <a:stretch>
            <a:fillRect/>
          </a:stretch>
        </p:blipFill>
        <p:spPr>
          <a:xfrm rot="5400000">
            <a:off x="9371795" y="3072299"/>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algn="l" defTabSz="932180"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Oragen</a:t>
                </a:r>
                <a:endPar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a:p>
                <a:pPr algn="l" defTabSz="932180" fontAlgn="base">
                  <a:lnSpc>
                    <a:spcPct val="100000"/>
                  </a:lnSpc>
                  <a:spcBef>
                    <a:spcPct val="0"/>
                  </a:spcBef>
                  <a:spcAft>
                    <a:spcPct val="0"/>
                  </a:spcAft>
                </a:pPr>
                <a:r>
                  <a:rPr lang="en-US" sz="50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216 G:59 B:1</a:t>
                </a:r>
                <a:endParaRPr lang="en-US" sz="50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algn="l" defTabSz="932180"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Blue</a:t>
                </a:r>
              </a:p>
              <a:p>
                <a:pPr marL="0" algn="l" defTabSz="932180"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Gray</a:t>
                </a:r>
              </a:p>
              <a:p>
                <a:pPr marL="0" algn="l" defTabSz="932180"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Yellow</a:t>
                </a:r>
              </a:p>
              <a:p>
                <a:pPr marL="0" algn="l" defTabSz="932180"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Orange</a:t>
                </a:r>
              </a:p>
              <a:p>
                <a:pPr marL="0" algn="l" defTabSz="932180"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Gray</a:t>
                </a:r>
              </a:p>
              <a:p>
                <a:pPr algn="l" defTabSz="932180" fontAlgn="base">
                  <a:lnSpc>
                    <a:spcPct val="100000"/>
                  </a:lnSpc>
                  <a:spcBef>
                    <a:spcPct val="0"/>
                  </a:spcBef>
                  <a:spcAft>
                    <a:spcPct val="0"/>
                  </a:spcAft>
                </a:pPr>
                <a:r>
                  <a:rPr lang="en-US" sz="50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210 G:210 B:210</a:t>
                </a:r>
                <a:endParaRPr lang="en-US" sz="50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180"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180"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Red</a:t>
              </a:r>
            </a:p>
            <a:p>
              <a:pPr algn="l" defTabSz="932180" fontAlgn="base">
                <a:lnSpc>
                  <a:spcPct val="100000"/>
                </a:lnSpc>
                <a:spcBef>
                  <a:spcPct val="0"/>
                </a:spcBef>
                <a:spcAft>
                  <a:spcPct val="0"/>
                </a:spcAft>
              </a:pPr>
              <a:r>
                <a:rPr lang="en-US" sz="5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168 G:0 B:0</a:t>
              </a:r>
              <a:endParaRPr lang="en-US" sz="5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Blue</a:t>
              </a:r>
            </a:p>
            <a:p>
              <a:pPr algn="l" defTabSz="932180" fontAlgn="base">
                <a:lnSpc>
                  <a:spcPct val="100000"/>
                </a:lnSpc>
                <a:spcBef>
                  <a:spcPct val="0"/>
                </a:spcBef>
                <a:spcAft>
                  <a:spcPct val="0"/>
                </a:spcAft>
              </a:pPr>
              <a:r>
                <a:rPr lang="en-US" sz="5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16</a:t>
              </a:r>
              <a:r>
                <a:rPr lang="en-US" sz="500" baseline="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 G:124 B:16</a:t>
              </a:r>
              <a:endParaRPr lang="en-US" sz="5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Blue</a:t>
              </a:r>
            </a:p>
            <a:p>
              <a:pPr algn="l" defTabSz="932180" fontAlgn="base">
                <a:lnSpc>
                  <a:spcPct val="100000"/>
                </a:lnSpc>
                <a:spcBef>
                  <a:spcPct val="0"/>
                </a:spcBef>
                <a:spcAft>
                  <a:spcPct val="0"/>
                </a:spcAft>
              </a:pPr>
              <a:r>
                <a:rPr lang="en-US" sz="50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32 B80</a:t>
              </a:r>
            </a:p>
          </p:txBody>
        </p:sp>
      </p:grpSp>
    </p:spTree>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149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758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430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2" cstate="print"/>
          <a:stretch>
            <a:fillRect/>
          </a:stretch>
        </p:blipFill>
        <p:spPr>
          <a:xfrm rot="5400000">
            <a:off x="9371796" y="3072300"/>
            <a:ext cx="6995160" cy="849926"/>
          </a:xfrm>
          <a:prstGeom prst="rect">
            <a:avLst/>
          </a:prstGeom>
        </p:spPr>
      </p:pic>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85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694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3900" algn="l" defTabSz="932180" rtl="0" eaLnBrk="1" latinLnBrk="0" hangingPunct="1">
        <a:defRPr sz="1800" kern="1200">
          <a:solidFill>
            <a:schemeClr val="tx1"/>
          </a:solidFill>
          <a:latin typeface="+mn-lt"/>
          <a:ea typeface="+mn-ea"/>
          <a:cs typeface="+mn-cs"/>
        </a:defRPr>
      </a:lvl8pPr>
      <a:lvl9pPr marL="3729990" algn="l" defTabSz="93218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19" cstate="screen"/>
          <a:stretch>
            <a:fillRect/>
          </a:stretch>
        </p:blipFill>
        <p:spPr>
          <a:xfrm rot="5400000">
            <a:off x="9371796" y="3072300"/>
            <a:ext cx="6995160" cy="849926"/>
          </a:xfrm>
          <a:prstGeom prst="rect">
            <a:avLst/>
          </a:prstGeom>
        </p:spPr>
      </p:pic>
    </p:spTree>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2286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36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4572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6858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9144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143000" marR="0" indent="-228600" algn="l" defTabSz="932180" rtl="0" eaLnBrk="1" fontAlgn="auto" latinLnBrk="0" hangingPunct="1">
        <a:lnSpc>
          <a:spcPct val="90000"/>
        </a:lnSpc>
        <a:spcBef>
          <a:spcPct val="20000"/>
        </a:spcBef>
        <a:spcAft>
          <a:spcPts val="0"/>
        </a:spcAft>
        <a:buClrTx/>
        <a:buSzPct val="90000"/>
        <a:buFont typeface="Wingdings" panose="05000000000000000000" pitchFamily="2" charset="2"/>
        <a:buChar char=""/>
        <a:defRPr sz="22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85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694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3900" algn="l" defTabSz="932180" rtl="0" eaLnBrk="1" latinLnBrk="0" hangingPunct="1">
        <a:defRPr sz="1800" kern="1200">
          <a:solidFill>
            <a:schemeClr val="tx1"/>
          </a:solidFill>
          <a:latin typeface="+mn-lt"/>
          <a:ea typeface="+mn-ea"/>
          <a:cs typeface="+mn-cs"/>
        </a:defRPr>
      </a:lvl8pPr>
      <a:lvl9pPr marL="3729990" algn="l" defTabSz="93218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algn="l" defTabSz="932180"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Oragen</a:t>
                </a:r>
                <a:endPar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a:p>
                <a:pPr algn="l" defTabSz="932180" fontAlgn="base">
                  <a:lnSpc>
                    <a:spcPct val="100000"/>
                  </a:lnSpc>
                  <a:spcBef>
                    <a:spcPct val="0"/>
                  </a:spcBef>
                  <a:spcAft>
                    <a:spcPct val="0"/>
                  </a:spcAft>
                </a:pPr>
                <a:r>
                  <a:rPr lang="en-US" sz="50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216 G:59 B:1</a:t>
                </a:r>
                <a:endParaRPr lang="en-US" sz="50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algn="l" defTabSz="932180"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Blue</a:t>
                </a:r>
              </a:p>
              <a:p>
                <a:pPr marL="0" algn="l" defTabSz="932180"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Gray</a:t>
                </a:r>
              </a:p>
              <a:p>
                <a:pPr marL="0" algn="l" defTabSz="932180"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Yellow</a:t>
                </a:r>
              </a:p>
              <a:p>
                <a:pPr marL="0" algn="l" defTabSz="932180"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Orange</a:t>
                </a:r>
              </a:p>
              <a:p>
                <a:pPr marL="0" algn="l" defTabSz="932180"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Gray</a:t>
                </a:r>
              </a:p>
              <a:p>
                <a:pPr algn="l" defTabSz="932180" fontAlgn="base">
                  <a:lnSpc>
                    <a:spcPct val="100000"/>
                  </a:lnSpc>
                  <a:spcBef>
                    <a:spcPct val="0"/>
                  </a:spcBef>
                  <a:spcAft>
                    <a:spcPct val="0"/>
                  </a:spcAft>
                </a:pPr>
                <a:r>
                  <a:rPr lang="en-US" sz="5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210 G:210 B:210</a:t>
                </a:r>
                <a:endParaRPr lang="en-US" sz="5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180"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180"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Red</a:t>
              </a:r>
            </a:p>
            <a:p>
              <a:pPr algn="l" defTabSz="932180" fontAlgn="base">
                <a:lnSpc>
                  <a:spcPct val="100000"/>
                </a:lnSpc>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a:t>
              </a:r>
              <a:r>
                <a:rPr lang="en-US" sz="500" baseline="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168 G:0 B:0</a:t>
              </a:r>
              <a:endPar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Blue</a:t>
              </a:r>
            </a:p>
            <a:p>
              <a:pPr algn="l" defTabSz="932180" fontAlgn="base">
                <a:lnSpc>
                  <a:spcPct val="100000"/>
                </a:lnSpc>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16</a:t>
              </a:r>
              <a:r>
                <a:rPr lang="en-US" sz="500" baseline="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 G:124 B:16</a:t>
              </a:r>
              <a:endPar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marL="0" algn="l" defTabSz="932180"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Blue</a:t>
              </a:r>
            </a:p>
            <a:p>
              <a:pPr algn="l" defTabSz="932180" fontAlgn="base">
                <a:lnSpc>
                  <a:spcPct val="100000"/>
                </a:lnSpc>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32 B80</a:t>
              </a:r>
            </a:p>
          </p:txBody>
        </p:sp>
      </p:gr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7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73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76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85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6945"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367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3900" algn="l" defTabSz="932180" rtl="0" eaLnBrk="1" latinLnBrk="0" hangingPunct="1">
        <a:defRPr sz="1800" kern="1200">
          <a:solidFill>
            <a:schemeClr val="tx1"/>
          </a:solidFill>
          <a:latin typeface="+mn-lt"/>
          <a:ea typeface="+mn-ea"/>
          <a:cs typeface="+mn-cs"/>
        </a:defRPr>
      </a:lvl8pPr>
      <a:lvl9pPr marL="3729990" algn="l" defTabSz="93218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p:nvGrpSpPr>
        <p:grpSpPr>
          <a:xfrm>
            <a:off x="12618965" y="-8394"/>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err="1">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Oragen</a:t>
                </a:r>
                <a:endPar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a:p>
                <a:pPr defTabSz="931545" fontAlgn="base">
                  <a:spcBef>
                    <a:spcPct val="0"/>
                  </a:spcBef>
                  <a:spcAft>
                    <a:spcPct val="0"/>
                  </a:spcAft>
                </a:pPr>
                <a:r>
                  <a:rPr lang="en-US" sz="500"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R:216 G:59 B:1</a:t>
                </a: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Blue</a:t>
                </a:r>
              </a:p>
              <a:p>
                <a:pPr defTabSz="931545" fontAlgn="base">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Gray</a:t>
                </a:r>
              </a:p>
              <a:p>
                <a:pPr defTabSz="931545" fontAlgn="base">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Yellow</a:t>
                </a:r>
              </a:p>
              <a:p>
                <a:pPr defTabSz="931545" fontAlgn="base">
                  <a:spcBef>
                    <a:spcPct val="0"/>
                  </a:spcBef>
                  <a:spcAft>
                    <a:spcPct val="0"/>
                  </a:spcAft>
                </a:pPr>
                <a:r>
                  <a:rPr lang="en-US" sz="5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Orange</a:t>
                </a:r>
              </a:p>
              <a:p>
                <a:pPr defTabSz="931545" fontAlgn="base">
                  <a:spcBef>
                    <a:spcPct val="0"/>
                  </a:spcBef>
                  <a:spcAft>
                    <a:spcPct val="0"/>
                  </a:spcAft>
                </a:pPr>
                <a:r>
                  <a:rPr lang="en-US" sz="5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Gray</a:t>
                </a:r>
              </a:p>
              <a:p>
                <a:pPr defTabSz="931545" fontAlgn="base">
                  <a:spcBef>
                    <a:spcPct val="0"/>
                  </a:spcBef>
                  <a:spcAft>
                    <a:spcPct val="0"/>
                  </a:spcAft>
                </a:pPr>
                <a:r>
                  <a:rPr lang="en-US" sz="500" dirty="0">
                    <a:gradFill>
                      <a:gsLst>
                        <a:gs pos="37168">
                          <a:srgbClr val="292929"/>
                        </a:gs>
                        <a:gs pos="72000">
                          <a:srgbClr val="292929"/>
                        </a:gs>
                      </a:gsLst>
                      <a:lin ang="5400000" scaled="0"/>
                    </a:gradFill>
                    <a:latin typeface="Century Gothic" panose="020B0502020202020204" pitchFamily="34" charset="0"/>
                    <a:ea typeface="Segoe UI" panose="020B0502040204020203" pitchFamily="34" charset="0"/>
                    <a:cs typeface="Segoe UI" panose="020B0502040204020203" pitchFamily="34" charset="0"/>
                  </a:rPr>
                  <a:t>R:210 G:210 B:210</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defTabSz="932180">
                <a:lnSpc>
                  <a:spcPct val="90000"/>
                </a:lnSpc>
                <a:spcAft>
                  <a:spcPts val="600"/>
                </a:spcAft>
              </a:pPr>
              <a:r>
                <a:rPr lang="en-US" sz="1000" dirty="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rPr>
                <a:t>Main colors</a:t>
              </a:r>
            </a:p>
          </p:txBody>
        </p:sp>
        <p:sp>
          <p:nvSpPr>
            <p:cNvPr id="32" name="TextBox 31"/>
            <p:cNvSpPr txBox="1"/>
            <p:nvPr userDrawn="1"/>
          </p:nvSpPr>
          <p:spPr>
            <a:xfrm rot="5400000">
              <a:off x="11715629" y="4227340"/>
              <a:ext cx="2709380" cy="329645"/>
            </a:xfrm>
            <a:prstGeom prst="rect">
              <a:avLst/>
            </a:prstGeom>
            <a:noFill/>
          </p:spPr>
          <p:txBody>
            <a:bodyPr wrap="none" lIns="0" tIns="91440" rIns="182880" bIns="91440" rtlCol="0">
              <a:spAutoFit/>
            </a:bodyPr>
            <a:lstStyle/>
            <a:p>
              <a:pPr defTabSz="932180">
                <a:lnSpc>
                  <a:spcPct val="90000"/>
                </a:lnSpc>
                <a:spcAft>
                  <a:spcPts val="600"/>
                </a:spcAft>
              </a:pPr>
              <a:r>
                <a:rPr lang="en-US" sz="1000" dirty="0">
                  <a:gradFill>
                    <a:gsLst>
                      <a:gs pos="82301">
                        <a:srgbClr val="292929"/>
                      </a:gs>
                      <a:gs pos="62000">
                        <a:srgbClr val="292929"/>
                      </a:gs>
                    </a:gsLst>
                    <a:lin ang="5400000" scaled="0"/>
                  </a:gradFill>
                  <a:latin typeface="Century Gothic" panose="020B0502020202020204" pitchFamily="34" charset="0"/>
                  <a:ea typeface="Century Gothic" panose="020B0502020202020204" pitchFamily="34" charset="0"/>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Red</a:t>
              </a:r>
            </a:p>
            <a:p>
              <a:pPr defTabSz="931545" fontAlgn="base">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168 G:0 B:0</a:t>
              </a: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Light Blue</a:t>
              </a:r>
            </a:p>
            <a:p>
              <a:pPr defTabSz="931545" fontAlgn="base">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16 G:124 B:16</a:t>
              </a: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noAutofit/>
            </a:bodyPr>
            <a:lstStyle/>
            <a:p>
              <a:pPr defTabSz="931545" fontAlgn="base">
                <a:spcBef>
                  <a:spcPct val="0"/>
                </a:spcBef>
                <a:spcAft>
                  <a:spcPct val="0"/>
                </a:spcAft>
              </a:pPr>
              <a:r>
                <a:rPr lang="en-US" sz="500" b="1" dirty="0">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rPr>
                <a:t>Dark Blue</a:t>
              </a:r>
            </a:p>
            <a:p>
              <a:pPr defTabSz="931545" fontAlgn="base">
                <a:spcBef>
                  <a:spcPct val="0"/>
                </a:spcBef>
                <a:spcAft>
                  <a:spcPct val="0"/>
                </a:spcAft>
              </a:pPr>
              <a:r>
                <a:rPr lang="en-US" sz="500" dirty="0">
                  <a:gradFill>
                    <a:gsLst>
                      <a:gs pos="2092">
                        <a:srgbClr val="F8F8F8"/>
                      </a:gs>
                      <a:gs pos="10042">
                        <a:srgbClr val="F8F8F8"/>
                      </a:gs>
                    </a:gsLst>
                    <a:lin ang="5400000" scaled="0"/>
                  </a:gradFill>
                  <a:latin typeface="Century Gothic" panose="020B0502020202020204" pitchFamily="34" charset="0"/>
                  <a:ea typeface="Segoe UI" panose="020B0502040204020203" pitchFamily="34" charset="0"/>
                  <a:cs typeface="Segoe UI" panose="020B0502040204020203" pitchFamily="34" charset="0"/>
                </a:rPr>
                <a:t>R0 G32 B80</a:t>
              </a:r>
            </a:p>
          </p:txBody>
        </p:sp>
      </p:grpSp>
    </p:spTree>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 id="2147483851" r:id="rId25"/>
    <p:sldLayoutId id="2147483852" r:id="rId26"/>
  </p:sldLayoutIdLst>
  <p:transition>
    <p:fade/>
  </p:transition>
  <p:txStyles>
    <p:title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p:titleStyle>
    <p:bodyStyle>
      <a:lvl1pPr marL="342900" marR="0" indent="-3429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4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1pPr>
      <a:lvl2pPr marL="584200" marR="0" indent="-2413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4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2pPr>
      <a:lvl3pPr marL="800100"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20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3pPr>
      <a:lvl4pPr marL="1028065"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4pPr>
      <a:lvl5pPr marL="1256665" marR="0" indent="-228600" algn="l" defTabSz="932180" rtl="0" eaLnBrk="1" fontAlgn="auto" latinLnBrk="0" hangingPunct="1">
        <a:lnSpc>
          <a:spcPct val="90000"/>
        </a:lnSpc>
        <a:spcBef>
          <a:spcPct val="20000"/>
        </a:spcBef>
        <a:spcAft>
          <a:spcPts val="0"/>
        </a:spcAft>
        <a:buClrTx/>
        <a:buSzPct val="90000"/>
        <a:buFont typeface="Arial" panose="020B0604020202020204" pitchFamily="34" charset="0"/>
        <a:buChar char="•"/>
        <a:defRPr sz="1800" kern="1200" spc="0" baseline="0">
          <a:gradFill>
            <a:gsLst>
              <a:gs pos="1250">
                <a:schemeClr val="tx1"/>
              </a:gs>
              <a:gs pos="100000">
                <a:schemeClr val="tx1"/>
              </a:gs>
            </a:gsLst>
            <a:lin ang="5400000" scaled="0"/>
          </a:gradFill>
          <a:latin typeface="Century Gothic" panose="020B0502020202020204" pitchFamily="34" charset="0"/>
          <a:ea typeface="Century Gothic" panose="020B0502020202020204" pitchFamily="34" charset="0"/>
          <a:cs typeface="+mn-cs"/>
        </a:defRPr>
      </a:lvl5pPr>
      <a:lvl6pPr marL="256413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3022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9631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62400" indent="-233045" algn="l" defTabSz="93218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180" algn="l" defTabSz="932180" rtl="0" eaLnBrk="1" latinLnBrk="0" hangingPunct="1">
        <a:defRPr sz="1800" kern="1200">
          <a:solidFill>
            <a:schemeClr val="tx1"/>
          </a:solidFill>
          <a:latin typeface="+mn-lt"/>
          <a:ea typeface="+mn-ea"/>
          <a:cs typeface="+mn-cs"/>
        </a:defRPr>
      </a:lvl3pPr>
      <a:lvl4pPr marL="1398270"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085" algn="l" defTabSz="932180" rtl="0" eaLnBrk="1" latinLnBrk="0" hangingPunct="1">
        <a:defRPr sz="1800" kern="1200">
          <a:solidFill>
            <a:schemeClr val="tx1"/>
          </a:solidFill>
          <a:latin typeface="+mn-lt"/>
          <a:ea typeface="+mn-ea"/>
          <a:cs typeface="+mn-cs"/>
        </a:defRPr>
      </a:lvl6pPr>
      <a:lvl7pPr marL="2797175" algn="l" defTabSz="932180" rtl="0" eaLnBrk="1" latinLnBrk="0" hangingPunct="1">
        <a:defRPr sz="1800" kern="1200">
          <a:solidFill>
            <a:schemeClr val="tx1"/>
          </a:solidFill>
          <a:latin typeface="+mn-lt"/>
          <a:ea typeface="+mn-ea"/>
          <a:cs typeface="+mn-cs"/>
        </a:defRPr>
      </a:lvl7pPr>
      <a:lvl8pPr marL="3263265" algn="l" defTabSz="932180" rtl="0" eaLnBrk="1" latinLnBrk="0" hangingPunct="1">
        <a:defRPr sz="1800" kern="1200">
          <a:solidFill>
            <a:schemeClr val="tx1"/>
          </a:solidFill>
          <a:latin typeface="+mn-lt"/>
          <a:ea typeface="+mn-ea"/>
          <a:cs typeface="+mn-cs"/>
        </a:defRPr>
      </a:lvl8pPr>
      <a:lvl9pPr marL="3729355" algn="l" defTabSz="93218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312.xml"/></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1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2.xml"/><Relationship Id="rId6" Type="http://schemas.openxmlformats.org/officeDocument/2006/relationships/image" Target="../media/image73.emf"/><Relationship Id="rId5" Type="http://schemas.openxmlformats.org/officeDocument/2006/relationships/image" Target="../media/image72.png"/><Relationship Id="rId4" Type="http://schemas.openxmlformats.org/officeDocument/2006/relationships/image" Target="../media/image71.jpeg"/></Relationships>
</file>

<file path=ppt/slides/_rels/slide14.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78.jpeg"/><Relationship Id="rId2" Type="http://schemas.openxmlformats.org/officeDocument/2006/relationships/image" Target="../media/image74.png"/><Relationship Id="rId1" Type="http://schemas.openxmlformats.org/officeDocument/2006/relationships/slideLayout" Target="../slideLayouts/slideLayout18.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3.xml"/><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18.xml"/><Relationship Id="rId7" Type="http://schemas.openxmlformats.org/officeDocument/2006/relationships/image" Target="../media/image82.jpeg"/><Relationship Id="rId2" Type="http://schemas.openxmlformats.org/officeDocument/2006/relationships/video" Target="NULL" TargetMode="External"/><Relationship Id="rId1" Type="http://schemas.openxmlformats.org/officeDocument/2006/relationships/tags" Target="../tags/tag4.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11.xml"/><Relationship Id="rId7" Type="http://schemas.openxmlformats.org/officeDocument/2006/relationships/image" Target="../media/image86.png"/><Relationship Id="rId2" Type="http://schemas.openxmlformats.org/officeDocument/2006/relationships/slideLayout" Target="../slideLayouts/slideLayout18.xml"/><Relationship Id="rId1" Type="http://schemas.openxmlformats.org/officeDocument/2006/relationships/tags" Target="../tags/tag5.xml"/><Relationship Id="rId6" Type="http://schemas.openxmlformats.org/officeDocument/2006/relationships/image" Target="../media/image85.png"/><Relationship Id="rId5" Type="http://schemas.openxmlformats.org/officeDocument/2006/relationships/image" Target="../media/image84.jpeg"/><Relationship Id="rId4" Type="http://schemas.openxmlformats.org/officeDocument/2006/relationships/image" Target="../media/image8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8.xml"/><Relationship Id="rId1" Type="http://schemas.openxmlformats.org/officeDocument/2006/relationships/tags" Target="../tags/tag6.xml"/><Relationship Id="rId4" Type="http://schemas.openxmlformats.org/officeDocument/2006/relationships/image" Target="../media/image87.jpeg"/></Relationships>
</file>

<file path=ppt/slides/_rels/slide1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13.xml"/><Relationship Id="rId7" Type="http://schemas.openxmlformats.org/officeDocument/2006/relationships/image" Target="../media/image90.png"/><Relationship Id="rId2" Type="http://schemas.openxmlformats.org/officeDocument/2006/relationships/slideLayout" Target="../slideLayouts/slideLayout18.xml"/><Relationship Id="rId1" Type="http://schemas.openxmlformats.org/officeDocument/2006/relationships/tags" Target="../tags/tag7.xml"/><Relationship Id="rId6" Type="http://schemas.openxmlformats.org/officeDocument/2006/relationships/image" Target="../media/image89.png"/><Relationship Id="rId5" Type="http://schemas.microsoft.com/office/2007/relationships/hdphoto" Target="../media/hdphoto4.wdp"/><Relationship Id="rId4" Type="http://schemas.openxmlformats.org/officeDocument/2006/relationships/image" Target="../media/image88.png"/><Relationship Id="rId9" Type="http://schemas.openxmlformats.org/officeDocument/2006/relationships/image" Target="../media/image9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95.png"/><Relationship Id="rId2" Type="http://schemas.openxmlformats.org/officeDocument/2006/relationships/slideLayout" Target="../slideLayouts/slideLayout18.xml"/><Relationship Id="rId1" Type="http://schemas.openxmlformats.org/officeDocument/2006/relationships/tags" Target="../tags/tag8.xml"/><Relationship Id="rId6" Type="http://schemas.openxmlformats.org/officeDocument/2006/relationships/image" Target="../media/image94.jpeg"/><Relationship Id="rId5" Type="http://schemas.openxmlformats.org/officeDocument/2006/relationships/image" Target="../media/image93.png"/><Relationship Id="rId4" Type="http://schemas.openxmlformats.org/officeDocument/2006/relationships/image" Target="../media/image89.png"/></Relationships>
</file>

<file path=ppt/slides/_rels/slide2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eg"/><Relationship Id="rId1" Type="http://schemas.openxmlformats.org/officeDocument/2006/relationships/slideLayout" Target="../slideLayouts/slideLayout18.xml"/><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101.png"/><Relationship Id="rId4" Type="http://schemas.openxmlformats.org/officeDocument/2006/relationships/image" Target="../media/image100.png"/></Relationships>
</file>

<file path=ppt/slides/_rels/slide23.xml.rels><?xml version="1.0" encoding="UTF-8" standalone="yes"?>
<Relationships xmlns="http://schemas.openxmlformats.org/package/2006/relationships"><Relationship Id="rId3" Type="http://schemas.openxmlformats.org/officeDocument/2006/relationships/image" Target="../media/image102.png"/><Relationship Id="rId7" Type="http://schemas.microsoft.com/office/2007/relationships/hdphoto" Target="../media/hdphoto4.wdp"/><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image" Target="../media/image88.png"/><Relationship Id="rId5" Type="http://schemas.openxmlformats.org/officeDocument/2006/relationships/image" Target="../media/image103.png"/><Relationship Id="rId4" Type="http://schemas.openxmlformats.org/officeDocument/2006/relationships/image" Target="../media/image81.png"/></Relationships>
</file>

<file path=ppt/slides/_rels/slide24.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png"/><Relationship Id="rId1" Type="http://schemas.openxmlformats.org/officeDocument/2006/relationships/slideLayout" Target="../slideLayouts/slideLayout18.xml"/><Relationship Id="rId4" Type="http://schemas.openxmlformats.org/officeDocument/2006/relationships/image" Target="../media/image106.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9.xml"/><Relationship Id="rId5" Type="http://schemas.openxmlformats.org/officeDocument/2006/relationships/image" Target="../media/image108.png"/><Relationship Id="rId4" Type="http://schemas.openxmlformats.org/officeDocument/2006/relationships/image" Target="../media/image107.png"/></Relationships>
</file>

<file path=ppt/slides/_rels/slide26.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png"/><Relationship Id="rId2" Type="http://schemas.openxmlformats.org/officeDocument/2006/relationships/image" Target="../media/image109.png"/><Relationship Id="rId1" Type="http://schemas.openxmlformats.org/officeDocument/2006/relationships/slideLayout" Target="../slideLayouts/slideLayout18.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slideLayout" Target="../slideLayouts/slideLayout18.xml"/><Relationship Id="rId1" Type="http://schemas.openxmlformats.org/officeDocument/2006/relationships/tags" Target="../tags/tag10.xml"/><Relationship Id="rId4" Type="http://schemas.microsoft.com/office/2007/relationships/hdphoto" Target="../media/hdphoto5.wdp"/></Relationships>
</file>

<file path=ppt/slides/_rels/slide2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8.xml"/><Relationship Id="rId7" Type="http://schemas.microsoft.com/office/2007/relationships/hdphoto" Target="../media/hdphoto6.wdp"/><Relationship Id="rId2" Type="http://schemas.openxmlformats.org/officeDocument/2006/relationships/video" Target="NULL" TargetMode="External"/><Relationship Id="rId1" Type="http://schemas.openxmlformats.org/officeDocument/2006/relationships/tags" Target="../tags/tag11.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notesSlide" Target="../notesSlides/notesSlide18.xml"/><Relationship Id="rId9" Type="http://schemas.openxmlformats.org/officeDocument/2006/relationships/image" Target="../media/image119.png"/></Relationships>
</file>

<file path=ppt/slides/_rels/slide29.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121.png"/><Relationship Id="rId7" Type="http://schemas.openxmlformats.org/officeDocument/2006/relationships/image" Target="../media/image122.png"/><Relationship Id="rId2" Type="http://schemas.openxmlformats.org/officeDocument/2006/relationships/image" Target="../media/image120.png"/><Relationship Id="rId1" Type="http://schemas.openxmlformats.org/officeDocument/2006/relationships/slideLayout" Target="../slideLayouts/slideLayout18.xml"/><Relationship Id="rId6" Type="http://schemas.openxmlformats.org/officeDocument/2006/relationships/image" Target="../media/image117.png"/><Relationship Id="rId5" Type="http://schemas.microsoft.com/office/2007/relationships/hdphoto" Target="../media/hdphoto6.wdp"/><Relationship Id="rId10" Type="http://schemas.microsoft.com/office/2007/relationships/hdphoto" Target="../media/hdphoto8.wdp"/><Relationship Id="rId4" Type="http://schemas.openxmlformats.org/officeDocument/2006/relationships/image" Target="../media/image118.png"/><Relationship Id="rId9" Type="http://schemas.openxmlformats.org/officeDocument/2006/relationships/image" Target="../media/image12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25.png"/><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124.png"/><Relationship Id="rId5" Type="http://schemas.microsoft.com/office/2007/relationships/hdphoto" Target="../media/hdphoto4.wdp"/><Relationship Id="rId4" Type="http://schemas.openxmlformats.org/officeDocument/2006/relationships/image" Target="../media/image88.png"/></Relationships>
</file>

<file path=ppt/slides/_rels/slide3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20.xml"/><Relationship Id="rId1" Type="http://schemas.openxmlformats.org/officeDocument/2006/relationships/slideLayout" Target="../slideLayouts/slideLayout18.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33.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slideLayout" Target="../slideLayouts/slideLayout18.xml"/><Relationship Id="rId1" Type="http://schemas.openxmlformats.org/officeDocument/2006/relationships/tags" Target="../tags/tag13.xml"/></Relationships>
</file>

<file path=ppt/slides/_rels/slide34.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image" Target="../media/image133.png"/><Relationship Id="rId1" Type="http://schemas.openxmlformats.org/officeDocument/2006/relationships/slideLayout" Target="../slideLayouts/slideLayout18.xml"/><Relationship Id="rId4" Type="http://schemas.openxmlformats.org/officeDocument/2006/relationships/image" Target="../media/image135.png"/></Relationships>
</file>

<file path=ppt/slides/_rels/slide35.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notesSlide" Target="../notesSlides/notesSlide21.xml"/><Relationship Id="rId7" Type="http://schemas.openxmlformats.org/officeDocument/2006/relationships/image" Target="../media/image90.png"/><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138.png"/><Relationship Id="rId5" Type="http://schemas.openxmlformats.org/officeDocument/2006/relationships/image" Target="../media/image137.jpeg"/><Relationship Id="rId4" Type="http://schemas.openxmlformats.org/officeDocument/2006/relationships/image" Target="../media/image136.png"/></Relationships>
</file>

<file path=ppt/slides/_rels/slide36.xml.rels><?xml version="1.0" encoding="UTF-8" standalone="yes"?>
<Relationships xmlns="http://schemas.openxmlformats.org/package/2006/relationships"><Relationship Id="rId8" Type="http://schemas.openxmlformats.org/officeDocument/2006/relationships/image" Target="../media/image82.jpeg"/><Relationship Id="rId3" Type="http://schemas.openxmlformats.org/officeDocument/2006/relationships/notesSlide" Target="../notesSlides/notesSlide22.xml"/><Relationship Id="rId7" Type="http://schemas.openxmlformats.org/officeDocument/2006/relationships/image" Target="../media/image84.jpeg"/><Relationship Id="rId2" Type="http://schemas.openxmlformats.org/officeDocument/2006/relationships/slideLayout" Target="../slideLayouts/slideLayout18.xml"/><Relationship Id="rId1" Type="http://schemas.openxmlformats.org/officeDocument/2006/relationships/tags" Target="../tags/tag15.xml"/><Relationship Id="rId6" Type="http://schemas.openxmlformats.org/officeDocument/2006/relationships/image" Target="../media/image142.png"/><Relationship Id="rId5" Type="http://schemas.openxmlformats.org/officeDocument/2006/relationships/image" Target="../media/image141.jpeg"/><Relationship Id="rId10" Type="http://schemas.openxmlformats.org/officeDocument/2006/relationships/image" Target="../media/image143.png"/><Relationship Id="rId4" Type="http://schemas.openxmlformats.org/officeDocument/2006/relationships/image" Target="../media/image140.png"/><Relationship Id="rId9" Type="http://schemas.openxmlformats.org/officeDocument/2006/relationships/image" Target="../media/image103.png"/></Relationships>
</file>

<file path=ppt/slides/_rels/slide37.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png"/><Relationship Id="rId18" Type="http://schemas.openxmlformats.org/officeDocument/2006/relationships/image" Target="../media/image158.png"/><Relationship Id="rId3" Type="http://schemas.openxmlformats.org/officeDocument/2006/relationships/image" Target="../media/image127.png"/><Relationship Id="rId21" Type="http://schemas.openxmlformats.org/officeDocument/2006/relationships/image" Target="../media/image161.png"/><Relationship Id="rId7" Type="http://schemas.openxmlformats.org/officeDocument/2006/relationships/image" Target="../media/image147.png"/><Relationship Id="rId12" Type="http://schemas.openxmlformats.org/officeDocument/2006/relationships/image" Target="../media/image152.png"/><Relationship Id="rId17" Type="http://schemas.openxmlformats.org/officeDocument/2006/relationships/image" Target="../media/image157.png"/><Relationship Id="rId25" Type="http://schemas.openxmlformats.org/officeDocument/2006/relationships/image" Target="../media/image165.jpeg"/><Relationship Id="rId2" Type="http://schemas.openxmlformats.org/officeDocument/2006/relationships/image" Target="../media/image144.png"/><Relationship Id="rId16" Type="http://schemas.openxmlformats.org/officeDocument/2006/relationships/image" Target="../media/image156.png"/><Relationship Id="rId20" Type="http://schemas.openxmlformats.org/officeDocument/2006/relationships/image" Target="../media/image160.png"/><Relationship Id="rId1" Type="http://schemas.openxmlformats.org/officeDocument/2006/relationships/slideLayout" Target="../slideLayouts/slideLayout18.xml"/><Relationship Id="rId6" Type="http://schemas.openxmlformats.org/officeDocument/2006/relationships/image" Target="../media/image92.png"/><Relationship Id="rId11" Type="http://schemas.openxmlformats.org/officeDocument/2006/relationships/image" Target="../media/image151.png"/><Relationship Id="rId24" Type="http://schemas.openxmlformats.org/officeDocument/2006/relationships/image" Target="../media/image164.jpeg"/><Relationship Id="rId5" Type="http://schemas.openxmlformats.org/officeDocument/2006/relationships/image" Target="../media/image146.png"/><Relationship Id="rId15" Type="http://schemas.openxmlformats.org/officeDocument/2006/relationships/image" Target="../media/image155.png"/><Relationship Id="rId23" Type="http://schemas.openxmlformats.org/officeDocument/2006/relationships/image" Target="../media/image163.jpeg"/><Relationship Id="rId10" Type="http://schemas.openxmlformats.org/officeDocument/2006/relationships/image" Target="../media/image150.png"/><Relationship Id="rId19" Type="http://schemas.openxmlformats.org/officeDocument/2006/relationships/image" Target="../media/image159.png"/><Relationship Id="rId4" Type="http://schemas.openxmlformats.org/officeDocument/2006/relationships/image" Target="../media/image145.png"/><Relationship Id="rId9" Type="http://schemas.openxmlformats.org/officeDocument/2006/relationships/image" Target="../media/image149.png"/><Relationship Id="rId14" Type="http://schemas.openxmlformats.org/officeDocument/2006/relationships/image" Target="../media/image154.png"/><Relationship Id="rId22" Type="http://schemas.openxmlformats.org/officeDocument/2006/relationships/image" Target="../media/image162.png"/></Relationships>
</file>

<file path=ppt/slides/_rels/slide3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3.xml"/></Relationships>
</file>

<file path=ppt/slides/_rels/slide40.xml.rels><?xml version="1.0" encoding="UTF-8" standalone="yes"?>
<Relationships xmlns="http://schemas.openxmlformats.org/package/2006/relationships"><Relationship Id="rId8" Type="http://schemas.openxmlformats.org/officeDocument/2006/relationships/image" Target="../media/image172.png"/><Relationship Id="rId13" Type="http://schemas.openxmlformats.org/officeDocument/2006/relationships/image" Target="../media/image177.png"/><Relationship Id="rId18" Type="http://schemas.openxmlformats.org/officeDocument/2006/relationships/image" Target="../media/image182.png"/><Relationship Id="rId3" Type="http://schemas.openxmlformats.org/officeDocument/2006/relationships/image" Target="../media/image167.GIF"/><Relationship Id="rId7" Type="http://schemas.openxmlformats.org/officeDocument/2006/relationships/image" Target="../media/image171.jpg"/><Relationship Id="rId12" Type="http://schemas.openxmlformats.org/officeDocument/2006/relationships/image" Target="../media/image176.jpg"/><Relationship Id="rId17" Type="http://schemas.openxmlformats.org/officeDocument/2006/relationships/image" Target="../media/image181.png"/><Relationship Id="rId2" Type="http://schemas.openxmlformats.org/officeDocument/2006/relationships/image" Target="../media/image166.jpeg"/><Relationship Id="rId16" Type="http://schemas.openxmlformats.org/officeDocument/2006/relationships/image" Target="../media/image180.png"/><Relationship Id="rId1" Type="http://schemas.openxmlformats.org/officeDocument/2006/relationships/slideLayout" Target="../slideLayouts/slideLayout18.xml"/><Relationship Id="rId6" Type="http://schemas.openxmlformats.org/officeDocument/2006/relationships/image" Target="../media/image170.png"/><Relationship Id="rId11" Type="http://schemas.openxmlformats.org/officeDocument/2006/relationships/image" Target="../media/image175.png"/><Relationship Id="rId5" Type="http://schemas.openxmlformats.org/officeDocument/2006/relationships/image" Target="../media/image169.png"/><Relationship Id="rId15" Type="http://schemas.openxmlformats.org/officeDocument/2006/relationships/image" Target="../media/image179.png"/><Relationship Id="rId10" Type="http://schemas.openxmlformats.org/officeDocument/2006/relationships/image" Target="../media/image174.png"/><Relationship Id="rId4" Type="http://schemas.openxmlformats.org/officeDocument/2006/relationships/image" Target="../media/image168.jpg"/><Relationship Id="rId9" Type="http://schemas.openxmlformats.org/officeDocument/2006/relationships/image" Target="../media/image173.png"/><Relationship Id="rId14" Type="http://schemas.openxmlformats.org/officeDocument/2006/relationships/image" Target="../media/image178.png"/></Relationships>
</file>

<file path=ppt/slides/_rels/slide41.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24.xml"/><Relationship Id="rId1" Type="http://schemas.openxmlformats.org/officeDocument/2006/relationships/slideLayout" Target="../slideLayouts/slideLayout319.xml"/><Relationship Id="rId4" Type="http://schemas.openxmlformats.org/officeDocument/2006/relationships/hyperlink" Target="http://www.dahuasecurity.com/"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notesSlide" Target="../notesSlides/notesSlide3.xml"/><Relationship Id="rId1" Type="http://schemas.openxmlformats.org/officeDocument/2006/relationships/slideLayout" Target="../slideLayouts/slideLayout350.xml"/><Relationship Id="rId6" Type="http://schemas.openxmlformats.org/officeDocument/2006/relationships/image" Target="../media/image39.emf"/><Relationship Id="rId5" Type="http://schemas.openxmlformats.org/officeDocument/2006/relationships/image" Target="../media/image38.emf"/><Relationship Id="rId10" Type="http://schemas.microsoft.com/office/2007/relationships/hdphoto" Target="../media/hdphoto1.wdp"/><Relationship Id="rId4" Type="http://schemas.openxmlformats.org/officeDocument/2006/relationships/image" Target="../media/image37.emf"/><Relationship Id="rId9" Type="http://schemas.openxmlformats.org/officeDocument/2006/relationships/image" Target="../media/image42.png"/></Relationships>
</file>

<file path=ppt/slides/_rels/slide6.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50.xml"/></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44.png"/><Relationship Id="rId16" Type="http://schemas.openxmlformats.org/officeDocument/2006/relationships/image" Target="../media/image58.png"/><Relationship Id="rId1" Type="http://schemas.openxmlformats.org/officeDocument/2006/relationships/slideLayout" Target="../slideLayouts/slideLayout350.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emf"/><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a:xfrm>
            <a:off x="103628" y="1742935"/>
            <a:ext cx="3645755" cy="3508653"/>
          </a:xfrm>
        </p:spPr>
        <p:txBody>
          <a:bodyPr/>
          <a:lstStyle/>
          <a:p>
            <a:r>
              <a:rPr lang="en-US" altLang="zh-CN" dirty="0">
                <a:latin typeface="+mn-lt"/>
                <a:cs typeface="+mn-ea"/>
                <a:sym typeface="+mn-lt"/>
              </a:rPr>
              <a:t>Solution </a:t>
            </a:r>
            <a:r>
              <a:rPr lang="en-US" altLang="zh-CN" dirty="0" err="1">
                <a:latin typeface="+mn-lt"/>
                <a:cs typeface="+mn-ea"/>
                <a:sym typeface="+mn-lt"/>
              </a:rPr>
              <a:t>Dahua</a:t>
            </a:r>
            <a:r>
              <a:rPr lang="en-US" altLang="zh-CN" dirty="0">
                <a:latin typeface="+mn-lt"/>
                <a:cs typeface="+mn-ea"/>
                <a:sym typeface="+mn-lt"/>
              </a:rPr>
              <a:t> Retail</a:t>
            </a:r>
            <a:br>
              <a:rPr lang="en-US" altLang="zh-CN" dirty="0">
                <a:latin typeface="+mn-lt"/>
                <a:cs typeface="+mn-ea"/>
                <a:sym typeface="+mn-lt"/>
              </a:rPr>
            </a:br>
            <a:r>
              <a:rPr lang="en-US" altLang="zh-CN" dirty="0">
                <a:latin typeface="+mn-lt"/>
                <a:cs typeface="+mn-ea"/>
                <a:sym typeface="+mn-lt"/>
              </a:rPr>
              <a:t>v2.2</a:t>
            </a:r>
            <a:br>
              <a:rPr lang="en-US" altLang="zh-CN" dirty="0">
                <a:latin typeface="+mn-lt"/>
                <a:cs typeface="+mn-ea"/>
                <a:sym typeface="+mn-lt"/>
              </a:rPr>
            </a:br>
            <a:endParaRPr lang="zh-CN" altLang="en-US" dirty="0">
              <a:latin typeface="+mn-lt"/>
              <a:cs typeface="+mn-ea"/>
              <a:sym typeface="+mn-lt"/>
            </a:endParaRPr>
          </a:p>
        </p:txBody>
      </p:sp>
      <p:pic>
        <p:nvPicPr>
          <p:cNvPr id="11" name="图片 10"/>
          <p:cNvPicPr>
            <a:picLocks noChangeAspect="1"/>
          </p:cNvPicPr>
          <p:nvPr/>
        </p:nvPicPr>
        <p:blipFill>
          <a:blip r:embed="rId3" cstate="print"/>
          <a:stretch>
            <a:fillRect/>
          </a:stretch>
        </p:blipFill>
        <p:spPr>
          <a:xfrm>
            <a:off x="3657946" y="-1"/>
            <a:ext cx="9228412" cy="6994526"/>
          </a:xfrm>
          <a:prstGeom prst="rect">
            <a:avLst/>
          </a:prstGeom>
        </p:spPr>
      </p:pic>
      <p:sp>
        <p:nvSpPr>
          <p:cNvPr id="2" name="矩形 1"/>
          <p:cNvSpPr/>
          <p:nvPr/>
        </p:nvSpPr>
        <p:spPr bwMode="auto">
          <a:xfrm>
            <a:off x="3275427" y="0"/>
            <a:ext cx="9601095" cy="6994525"/>
          </a:xfrm>
          <a:prstGeom prst="rect">
            <a:avLst/>
          </a:prstGeom>
          <a:solidFill>
            <a:schemeClr val="bg1">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5" name="标题 6"/>
          <p:cNvSpPr txBox="1"/>
          <p:nvPr/>
        </p:nvSpPr>
        <p:spPr>
          <a:xfrm>
            <a:off x="91825" y="6093593"/>
            <a:ext cx="3486486" cy="1514261"/>
          </a:xfrm>
          <a:prstGeom prst="rect">
            <a:avLst/>
          </a:prstGeom>
        </p:spPr>
        <p:txBody>
          <a:bodyPr vert="horz" wrap="square" lIns="146304" tIns="91440" rIns="146304" bIns="91440" rtlCol="0" anchor="ctr">
            <a:sp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a:latin typeface="+mn-lt"/>
                <a:cs typeface="+mn-ea"/>
                <a:sym typeface="+mn-lt"/>
              </a:rPr>
              <a:t/>
            </a:r>
            <a:br>
              <a:rPr lang="en-US" altLang="zh-CN" dirty="0">
                <a:latin typeface="+mn-lt"/>
                <a:cs typeface="+mn-ea"/>
                <a:sym typeface="+mn-lt"/>
              </a:rPr>
            </a:br>
            <a:endParaRPr lang="en-US" altLang="zh-CN" dirty="0">
              <a:latin typeface="+mn-lt"/>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8" name="Straight Connector 253"/>
          <p:cNvCxnSpPr>
            <a:stCxn id="133" idx="1"/>
          </p:cNvCxnSpPr>
          <p:nvPr/>
        </p:nvCxnSpPr>
        <p:spPr>
          <a:xfrm flipH="1" flipV="1">
            <a:off x="2312968" y="2484153"/>
            <a:ext cx="849669" cy="74174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7" name="组合 96"/>
          <p:cNvGrpSpPr/>
          <p:nvPr/>
        </p:nvGrpSpPr>
        <p:grpSpPr>
          <a:xfrm>
            <a:off x="4206579" y="1759921"/>
            <a:ext cx="2092878" cy="1384596"/>
            <a:chOff x="4206579" y="1759921"/>
            <a:chExt cx="2092878" cy="1384596"/>
          </a:xfrm>
        </p:grpSpPr>
        <p:sp>
          <p:nvSpPr>
            <p:cNvPr id="130" name="Title 1"/>
            <p:cNvSpPr txBox="1"/>
            <p:nvPr/>
          </p:nvSpPr>
          <p:spPr>
            <a:xfrm>
              <a:off x="4206579" y="1759921"/>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Sécurité</a:t>
              </a:r>
              <a:r>
                <a:rPr lang="en-US" altLang="zh-CN" sz="1630" dirty="0">
                  <a:solidFill>
                    <a:srgbClr val="2C292A"/>
                  </a:solidFill>
                  <a:latin typeface="+mn-lt"/>
                  <a:ea typeface="+mn-ea"/>
                  <a:cs typeface="+mn-ea"/>
                  <a:sym typeface="+mn-lt"/>
                </a:rPr>
                <a:t> du personnel</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nvGrpSpPr>
            <p:cNvPr id="6" name="组合 5"/>
            <p:cNvGrpSpPr/>
            <p:nvPr/>
          </p:nvGrpSpPr>
          <p:grpSpPr>
            <a:xfrm>
              <a:off x="4741866" y="2122216"/>
              <a:ext cx="1022305" cy="1022301"/>
              <a:chOff x="4741866" y="2122216"/>
              <a:chExt cx="1022305" cy="1022301"/>
            </a:xfrm>
          </p:grpSpPr>
          <p:sp>
            <p:nvSpPr>
              <p:cNvPr id="117" name="Oval 100"/>
              <p:cNvSpPr/>
              <p:nvPr/>
            </p:nvSpPr>
            <p:spPr bwMode="auto">
              <a:xfrm>
                <a:off x="4741866" y="2122216"/>
                <a:ext cx="1022305" cy="1022301"/>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grpSp>
            <p:nvGrpSpPr>
              <p:cNvPr id="118" name="Group 8"/>
              <p:cNvGrpSpPr>
                <a:grpSpLocks noChangeAspect="1"/>
              </p:cNvGrpSpPr>
              <p:nvPr/>
            </p:nvGrpSpPr>
            <p:grpSpPr bwMode="auto">
              <a:xfrm>
                <a:off x="5261888" y="2464976"/>
                <a:ext cx="281823" cy="494522"/>
                <a:chOff x="1677" y="1553"/>
                <a:chExt cx="159" cy="279"/>
              </a:xfrm>
            </p:grpSpPr>
            <p:sp>
              <p:nvSpPr>
                <p:cNvPr id="119" name="Oval 11"/>
                <p:cNvSpPr>
                  <a:spLocks noChangeArrowheads="1"/>
                </p:cNvSpPr>
                <p:nvPr/>
              </p:nvSpPr>
              <p:spPr bwMode="auto">
                <a:xfrm>
                  <a:off x="1725" y="1553"/>
                  <a:ext cx="85" cy="86"/>
                </a:xfrm>
                <a:prstGeom prst="ellipse">
                  <a:avLst/>
                </a:pr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05050"/>
                    </a:solidFill>
                    <a:effectLst/>
                    <a:uLnTx/>
                    <a:uFillTx/>
                    <a:cs typeface="+mn-ea"/>
                    <a:sym typeface="+mn-lt"/>
                  </a:endParaRPr>
                </a:p>
              </p:txBody>
            </p:sp>
            <p:sp>
              <p:nvSpPr>
                <p:cNvPr id="120" name="Freeform 12"/>
                <p:cNvSpPr/>
                <p:nvPr/>
              </p:nvSpPr>
              <p:spPr bwMode="auto">
                <a:xfrm>
                  <a:off x="1677" y="1645"/>
                  <a:ext cx="159" cy="187"/>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05050"/>
                    </a:solidFill>
                    <a:effectLst/>
                    <a:uLnTx/>
                    <a:uFillTx/>
                    <a:cs typeface="+mn-ea"/>
                    <a:sym typeface="+mn-lt"/>
                  </a:endParaRPr>
                </a:p>
              </p:txBody>
            </p:sp>
          </p:grpSp>
          <p:pic>
            <p:nvPicPr>
              <p:cNvPr id="142" name="图片 141"/>
              <p:cNvPicPr>
                <a:picLocks noChangeAspect="1"/>
              </p:cNvPicPr>
              <p:nvPr/>
            </p:nvPicPr>
            <p:blipFill>
              <a:blip r:embed="rId3" cstate="print">
                <a:lum bright="70000" contrast="-70000"/>
              </a:blip>
              <a:stretch>
                <a:fillRect/>
              </a:stretch>
            </p:blipFill>
            <p:spPr>
              <a:xfrm flipH="1">
                <a:off x="4951198" y="2412643"/>
                <a:ext cx="347345" cy="347345"/>
              </a:xfrm>
              <a:prstGeom prst="rect">
                <a:avLst/>
              </a:prstGeom>
            </p:spPr>
          </p:pic>
        </p:grpSp>
      </p:grpSp>
      <p:grpSp>
        <p:nvGrpSpPr>
          <p:cNvPr id="100" name="组合 99"/>
          <p:cNvGrpSpPr/>
          <p:nvPr/>
        </p:nvGrpSpPr>
        <p:grpSpPr>
          <a:xfrm>
            <a:off x="6866233" y="4982406"/>
            <a:ext cx="2092878" cy="1184298"/>
            <a:chOff x="6866233" y="4982406"/>
            <a:chExt cx="2092878" cy="1184298"/>
          </a:xfrm>
        </p:grpSpPr>
        <p:sp>
          <p:nvSpPr>
            <p:cNvPr id="128" name="Oval 94"/>
            <p:cNvSpPr/>
            <p:nvPr/>
          </p:nvSpPr>
          <p:spPr bwMode="auto">
            <a:xfrm>
              <a:off x="7355965" y="5168226"/>
              <a:ext cx="1113414" cy="998478"/>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pic>
          <p:nvPicPr>
            <p:cNvPr id="141" name="图片 140"/>
            <p:cNvPicPr>
              <a:picLocks noChangeAspect="1"/>
            </p:cNvPicPr>
            <p:nvPr/>
          </p:nvPicPr>
          <p:blipFill>
            <a:blip r:embed="rId4" cstate="print">
              <a:lum bright="70000" contrast="-70000"/>
            </a:blip>
            <a:stretch>
              <a:fillRect/>
            </a:stretch>
          </p:blipFill>
          <p:spPr>
            <a:xfrm>
              <a:off x="7515513" y="5318414"/>
              <a:ext cx="805053" cy="805053"/>
            </a:xfrm>
            <a:prstGeom prst="rect">
              <a:avLst/>
            </a:prstGeom>
          </p:spPr>
        </p:pic>
        <p:sp>
          <p:nvSpPr>
            <p:cNvPr id="149" name="Title 1"/>
            <p:cNvSpPr txBox="1"/>
            <p:nvPr/>
          </p:nvSpPr>
          <p:spPr>
            <a:xfrm>
              <a:off x="6866233" y="4982406"/>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Perte</a:t>
              </a:r>
              <a:r>
                <a:rPr lang="en-US" altLang="zh-CN" sz="1630" dirty="0">
                  <a:solidFill>
                    <a:srgbClr val="2C292A"/>
                  </a:solidFill>
                  <a:latin typeface="+mn-lt"/>
                  <a:ea typeface="+mn-ea"/>
                  <a:cs typeface="+mn-ea"/>
                  <a:sym typeface="+mn-lt"/>
                </a:rPr>
                <a:t> </a:t>
              </a:r>
              <a:r>
                <a:rPr lang="en-US" altLang="zh-CN" sz="1630" dirty="0" err="1">
                  <a:solidFill>
                    <a:srgbClr val="2C292A"/>
                  </a:solidFill>
                  <a:latin typeface="+mn-lt"/>
                  <a:ea typeface="+mn-ea"/>
                  <a:cs typeface="+mn-ea"/>
                  <a:sym typeface="+mn-lt"/>
                </a:rPr>
                <a:t>en</a:t>
              </a:r>
              <a:r>
                <a:rPr lang="en-US" altLang="zh-CN" sz="1630" dirty="0">
                  <a:solidFill>
                    <a:srgbClr val="2C292A"/>
                  </a:solidFill>
                  <a:latin typeface="+mn-lt"/>
                  <a:ea typeface="+mn-ea"/>
                  <a:cs typeface="+mn-ea"/>
                  <a:sym typeface="+mn-lt"/>
                </a:rPr>
                <a:t> entrepôt</a:t>
              </a:r>
            </a:p>
            <a:p>
              <a:pPr marL="0" marR="0" lvl="0" indent="0" algn="ctr" defTabSz="931545" rtl="0" eaLnBrk="1" fontAlgn="auto" latinLnBrk="0" hangingPunct="1">
                <a:lnSpc>
                  <a:spcPct val="100000"/>
                </a:lnSpc>
                <a:spcBef>
                  <a:spcPct val="0"/>
                </a:spcBef>
                <a:spcAft>
                  <a:spcPts val="0"/>
                </a:spcAft>
                <a:buClrTx/>
                <a:buSzTx/>
                <a:buFontTx/>
                <a:buNone/>
                <a:defRPr/>
              </a:pPr>
              <a:r>
                <a:rPr kumimoji="0" lang="en-US" altLang="zh-CN" sz="1630" b="0" i="0" u="none" strike="noStrike" kern="1200" cap="none" spc="0" normalizeH="0" baseline="0" noProof="0" dirty="0">
                  <a:ln>
                    <a:noFill/>
                  </a:ln>
                  <a:solidFill>
                    <a:srgbClr val="2C292A"/>
                  </a:solidFill>
                  <a:effectLst/>
                  <a:uLnTx/>
                  <a:uFillTx/>
                  <a:latin typeface="+mn-lt"/>
                  <a:ea typeface="+mn-ea"/>
                  <a:cs typeface="+mn-ea"/>
                  <a:sym typeface="+mn-lt"/>
                </a:rPr>
                <a:t> </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grpSp>
        <p:nvGrpSpPr>
          <p:cNvPr id="87" name="组合 86"/>
          <p:cNvGrpSpPr/>
          <p:nvPr/>
        </p:nvGrpSpPr>
        <p:grpSpPr>
          <a:xfrm>
            <a:off x="3391969" y="4924955"/>
            <a:ext cx="2092878" cy="1412563"/>
            <a:chOff x="3405185" y="4912303"/>
            <a:chExt cx="2092878" cy="1412563"/>
          </a:xfrm>
        </p:grpSpPr>
        <p:sp>
          <p:nvSpPr>
            <p:cNvPr id="124" name="Oval 127"/>
            <p:cNvSpPr/>
            <p:nvPr/>
          </p:nvSpPr>
          <p:spPr bwMode="auto">
            <a:xfrm>
              <a:off x="3907982" y="5343396"/>
              <a:ext cx="1107627" cy="981470"/>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sp>
          <p:nvSpPr>
            <p:cNvPr id="151" name="Title 1"/>
            <p:cNvSpPr txBox="1"/>
            <p:nvPr/>
          </p:nvSpPr>
          <p:spPr>
            <a:xfrm>
              <a:off x="3405185" y="4912303"/>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a:solidFill>
                    <a:srgbClr val="2C292A"/>
                  </a:solidFill>
                  <a:latin typeface="+mn-lt"/>
                  <a:ea typeface="+mn-ea"/>
                  <a:cs typeface="+mn-ea"/>
                  <a:sym typeface="+mn-lt"/>
                </a:rPr>
                <a:t>Gestion de </a:t>
              </a:r>
              <a:r>
                <a:rPr lang="en-US" altLang="zh-CN" sz="1630" dirty="0" err="1">
                  <a:solidFill>
                    <a:srgbClr val="2C292A"/>
                  </a:solidFill>
                  <a:latin typeface="+mn-lt"/>
                  <a:ea typeface="+mn-ea"/>
                  <a:cs typeface="+mn-ea"/>
                  <a:sym typeface="+mn-lt"/>
                </a:rPr>
                <a:t>magasin</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grpSp>
        <p:nvGrpSpPr>
          <p:cNvPr id="98" name="组合 97"/>
          <p:cNvGrpSpPr/>
          <p:nvPr/>
        </p:nvGrpSpPr>
        <p:grpSpPr>
          <a:xfrm>
            <a:off x="2405001" y="2761899"/>
            <a:ext cx="2092878" cy="1013220"/>
            <a:chOff x="2405001" y="2761899"/>
            <a:chExt cx="2092878" cy="1013220"/>
          </a:xfrm>
        </p:grpSpPr>
        <p:grpSp>
          <p:nvGrpSpPr>
            <p:cNvPr id="132" name="Group 96"/>
            <p:cNvGrpSpPr>
              <a:grpSpLocks noChangeAspect="1"/>
            </p:cNvGrpSpPr>
            <p:nvPr/>
          </p:nvGrpSpPr>
          <p:grpSpPr>
            <a:xfrm>
              <a:off x="3068404" y="3131661"/>
              <a:ext cx="643460" cy="643458"/>
              <a:chOff x="2000878" y="4885795"/>
              <a:chExt cx="643734" cy="643732"/>
            </a:xfrm>
          </p:grpSpPr>
          <p:sp>
            <p:nvSpPr>
              <p:cNvPr id="133" name="Oval 97"/>
              <p:cNvSpPr/>
              <p:nvPr/>
            </p:nvSpPr>
            <p:spPr bwMode="auto">
              <a:xfrm>
                <a:off x="2000878" y="4885795"/>
                <a:ext cx="643734" cy="643732"/>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sp>
            <p:nvSpPr>
              <p:cNvPr id="134" name="Freeform 5"/>
              <p:cNvSpPr>
                <a:spLocks noEditPoints="1"/>
              </p:cNvSpPr>
              <p:nvPr/>
            </p:nvSpPr>
            <p:spPr bwMode="auto">
              <a:xfrm>
                <a:off x="2168758" y="5077486"/>
                <a:ext cx="307975" cy="26035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05050"/>
                  </a:solidFill>
                  <a:effectLst/>
                  <a:uLnTx/>
                  <a:uFillTx/>
                  <a:cs typeface="+mn-ea"/>
                  <a:sym typeface="+mn-lt"/>
                </a:endParaRPr>
              </a:p>
            </p:txBody>
          </p:sp>
        </p:grpSp>
        <p:sp>
          <p:nvSpPr>
            <p:cNvPr id="154" name="Title 1"/>
            <p:cNvSpPr txBox="1"/>
            <p:nvPr/>
          </p:nvSpPr>
          <p:spPr>
            <a:xfrm>
              <a:off x="2405001" y="2761899"/>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sz="1630" dirty="0">
                  <a:solidFill>
                    <a:srgbClr val="2C292A"/>
                  </a:solidFill>
                  <a:latin typeface="+mn-lt"/>
                  <a:ea typeface="+mn-ea"/>
                  <a:cs typeface="+mn-ea"/>
                  <a:sym typeface="+mn-lt"/>
                </a:rPr>
                <a:t>Gestion de la </a:t>
              </a:r>
              <a:r>
                <a:rPr lang="en-US" sz="1630" dirty="0" err="1">
                  <a:solidFill>
                    <a:srgbClr val="2C292A"/>
                  </a:solidFill>
                  <a:latin typeface="+mn-lt"/>
                  <a:ea typeface="+mn-ea"/>
                  <a:cs typeface="+mn-ea"/>
                  <a:sym typeface="+mn-lt"/>
                </a:rPr>
                <a:t>chaine</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grpSp>
        <p:nvGrpSpPr>
          <p:cNvPr id="101" name="组合 100"/>
          <p:cNvGrpSpPr/>
          <p:nvPr/>
        </p:nvGrpSpPr>
        <p:grpSpPr>
          <a:xfrm>
            <a:off x="7960306" y="2344602"/>
            <a:ext cx="1511660" cy="1401917"/>
            <a:chOff x="7942526" y="2384607"/>
            <a:chExt cx="1511660" cy="1401917"/>
          </a:xfrm>
        </p:grpSpPr>
        <p:sp>
          <p:nvSpPr>
            <p:cNvPr id="150" name="Title 1"/>
            <p:cNvSpPr txBox="1"/>
            <p:nvPr/>
          </p:nvSpPr>
          <p:spPr>
            <a:xfrm>
              <a:off x="7942526" y="2384607"/>
              <a:ext cx="151166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sz="1630" dirty="0">
                  <a:solidFill>
                    <a:srgbClr val="2C292A"/>
                  </a:solidFill>
                  <a:latin typeface="+mn-lt"/>
                  <a:ea typeface="+mn-ea"/>
                  <a:cs typeface="+mn-ea"/>
                  <a:sym typeface="+mn-lt"/>
                </a:rPr>
                <a:t>Vol </a:t>
              </a:r>
              <a:r>
                <a:rPr lang="en-US" sz="1630" dirty="0" err="1">
                  <a:solidFill>
                    <a:srgbClr val="2C292A"/>
                  </a:solidFill>
                  <a:latin typeface="+mn-lt"/>
                  <a:ea typeface="+mn-ea"/>
                  <a:cs typeface="+mn-ea"/>
                  <a:sym typeface="+mn-lt"/>
                </a:rPr>
                <a:t>externe</a:t>
              </a:r>
              <a:r>
                <a:rPr lang="en-US" sz="1630" dirty="0">
                  <a:solidFill>
                    <a:srgbClr val="2C292A"/>
                  </a:solidFill>
                  <a:latin typeface="+mn-lt"/>
                  <a:ea typeface="+mn-ea"/>
                  <a:cs typeface="+mn-ea"/>
                  <a:sym typeface="+mn-lt"/>
                </a:rPr>
                <a:t> – </a:t>
              </a:r>
              <a:r>
                <a:rPr lang="en-US" sz="1630" dirty="0" err="1">
                  <a:solidFill>
                    <a:srgbClr val="2C292A"/>
                  </a:solidFill>
                  <a:latin typeface="+mn-lt"/>
                  <a:ea typeface="+mn-ea"/>
                  <a:cs typeface="+mn-ea"/>
                  <a:sym typeface="+mn-lt"/>
                </a:rPr>
                <a:t>braquage</a:t>
              </a:r>
              <a:endParaRPr lang="en-US" sz="1630" dirty="0">
                <a:solidFill>
                  <a:srgbClr val="2C292A"/>
                </a:solidFill>
                <a:latin typeface="+mn-lt"/>
                <a:ea typeface="+mn-ea"/>
                <a:cs typeface="+mn-ea"/>
                <a:sym typeface="+mn-lt"/>
              </a:endParaRPr>
            </a:p>
          </p:txBody>
        </p:sp>
        <p:sp>
          <p:nvSpPr>
            <p:cNvPr id="129" name="Oval 108"/>
            <p:cNvSpPr/>
            <p:nvPr/>
          </p:nvSpPr>
          <p:spPr bwMode="auto">
            <a:xfrm rot="16200000">
              <a:off x="8162733" y="2740315"/>
              <a:ext cx="1046210" cy="1046207"/>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grpSp>
      <p:grpSp>
        <p:nvGrpSpPr>
          <p:cNvPr id="96" name="组合 95"/>
          <p:cNvGrpSpPr/>
          <p:nvPr/>
        </p:nvGrpSpPr>
        <p:grpSpPr>
          <a:xfrm>
            <a:off x="6348526" y="764741"/>
            <a:ext cx="2092878" cy="1383691"/>
            <a:chOff x="6348526" y="764741"/>
            <a:chExt cx="2092878" cy="1383691"/>
          </a:xfrm>
        </p:grpSpPr>
        <p:sp>
          <p:nvSpPr>
            <p:cNvPr id="37" name="Oval 100"/>
            <p:cNvSpPr/>
            <p:nvPr/>
          </p:nvSpPr>
          <p:spPr bwMode="auto">
            <a:xfrm>
              <a:off x="6886964" y="1126131"/>
              <a:ext cx="1022305" cy="1022301"/>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sp>
          <p:nvSpPr>
            <p:cNvPr id="47" name="Title 1"/>
            <p:cNvSpPr txBox="1"/>
            <p:nvPr/>
          </p:nvSpPr>
          <p:spPr>
            <a:xfrm>
              <a:off x="6348526" y="764741"/>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a:solidFill>
                    <a:srgbClr val="2C292A"/>
                  </a:solidFill>
                  <a:latin typeface="+mn-lt"/>
                  <a:ea typeface="+mn-ea"/>
                  <a:cs typeface="+mn-ea"/>
                  <a:sym typeface="+mn-lt"/>
                </a:rPr>
                <a:t>Vol interne</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pic>
          <p:nvPicPr>
            <p:cNvPr id="7" name="图片 6"/>
            <p:cNvPicPr>
              <a:picLocks noChangeAspect="1"/>
            </p:cNvPicPr>
            <p:nvPr/>
          </p:nvPicPr>
          <p:blipFill>
            <a:blip r:embed="rId5" cstate="print">
              <a:lum bright="70000" contrast="-70000"/>
            </a:blip>
            <a:stretch>
              <a:fillRect/>
            </a:stretch>
          </p:blipFill>
          <p:spPr>
            <a:xfrm rot="8911983">
              <a:off x="7206909" y="1240859"/>
              <a:ext cx="445089" cy="529834"/>
            </a:xfrm>
            <a:prstGeom prst="rect">
              <a:avLst/>
            </a:prstGeom>
          </p:spPr>
        </p:pic>
        <p:pic>
          <p:nvPicPr>
            <p:cNvPr id="10" name="图片 9"/>
            <p:cNvPicPr>
              <a:picLocks noChangeAspect="1"/>
            </p:cNvPicPr>
            <p:nvPr/>
          </p:nvPicPr>
          <p:blipFill>
            <a:blip r:embed="rId6" cstate="print">
              <a:lum bright="70000" contrast="-70000"/>
            </a:blip>
            <a:stretch>
              <a:fillRect/>
            </a:stretch>
          </p:blipFill>
          <p:spPr>
            <a:xfrm>
              <a:off x="7012506" y="1610070"/>
              <a:ext cx="492896" cy="492896"/>
            </a:xfrm>
            <a:prstGeom prst="rect">
              <a:avLst/>
            </a:prstGeom>
          </p:spPr>
        </p:pic>
      </p:grpSp>
      <p:grpSp>
        <p:nvGrpSpPr>
          <p:cNvPr id="85" name="组合 84"/>
          <p:cNvGrpSpPr/>
          <p:nvPr/>
        </p:nvGrpSpPr>
        <p:grpSpPr>
          <a:xfrm>
            <a:off x="1052398" y="1549682"/>
            <a:ext cx="2092878" cy="1010430"/>
            <a:chOff x="1052398" y="1549682"/>
            <a:chExt cx="2092878" cy="1010430"/>
          </a:xfrm>
        </p:grpSpPr>
        <p:sp>
          <p:nvSpPr>
            <p:cNvPr id="79" name="Oval 97"/>
            <p:cNvSpPr/>
            <p:nvPr/>
          </p:nvSpPr>
          <p:spPr bwMode="auto">
            <a:xfrm>
              <a:off x="1777107" y="1916654"/>
              <a:ext cx="643460" cy="643458"/>
            </a:xfrm>
            <a:prstGeom prst="ellipse">
              <a:avLst/>
            </a:prstGeom>
            <a:solidFill>
              <a:schemeClr val="accent3"/>
            </a:soli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16" rIns="0" bIns="46616" numCol="1" spcCol="0" rtlCol="0" fromWordArt="0" anchor="ctr" anchorCtr="0" forceAA="0" compatLnSpc="1">
              <a:noAutofit/>
            </a:bodyPr>
            <a:lstStyle/>
            <a:p>
              <a:pPr marL="0" marR="0" lvl="0" indent="0" algn="ctr" defTabSz="931545"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cs typeface="+mn-ea"/>
                <a:sym typeface="+mn-lt"/>
              </a:endParaRPr>
            </a:p>
          </p:txBody>
        </p:sp>
        <p:sp>
          <p:nvSpPr>
            <p:cNvPr id="81" name="Title 1"/>
            <p:cNvSpPr txBox="1"/>
            <p:nvPr/>
          </p:nvSpPr>
          <p:spPr>
            <a:xfrm>
              <a:off x="1052398" y="1549682"/>
              <a:ext cx="2092878"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Sécurité</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pic>
          <p:nvPicPr>
            <p:cNvPr id="28" name="图片 27" descr="图片包含 物体, 事情&#10;&#10;已生成极高可信度的说明"/>
            <p:cNvPicPr>
              <a:picLocks noChangeAspect="1"/>
            </p:cNvPicPr>
            <p:nvPr/>
          </p:nvPicPr>
          <p:blipFill>
            <a:blip r:embed="rId7" cstate="print">
              <a:lum bright="70000" contrast="-70000"/>
            </a:blip>
            <a:stretch>
              <a:fillRect/>
            </a:stretch>
          </p:blipFill>
          <p:spPr>
            <a:xfrm>
              <a:off x="1790707" y="1935328"/>
              <a:ext cx="621812" cy="621812"/>
            </a:xfrm>
            <a:prstGeom prst="rect">
              <a:avLst/>
            </a:prstGeom>
          </p:spPr>
        </p:pic>
      </p:grpSp>
      <p:cxnSp>
        <p:nvCxnSpPr>
          <p:cNvPr id="136" name="Straight Connector 288"/>
          <p:cNvCxnSpPr>
            <a:endCxn id="133" idx="5"/>
          </p:cNvCxnSpPr>
          <p:nvPr/>
        </p:nvCxnSpPr>
        <p:spPr>
          <a:xfrm flipH="1" flipV="1">
            <a:off x="3617631" y="3680887"/>
            <a:ext cx="588948" cy="1735634"/>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288"/>
          <p:cNvCxnSpPr/>
          <p:nvPr/>
        </p:nvCxnSpPr>
        <p:spPr>
          <a:xfrm flipH="1">
            <a:off x="4820393" y="3094548"/>
            <a:ext cx="304477" cy="2373461"/>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288"/>
          <p:cNvCxnSpPr>
            <a:stCxn id="128" idx="2"/>
            <a:endCxn id="124" idx="6"/>
          </p:cNvCxnSpPr>
          <p:nvPr/>
        </p:nvCxnSpPr>
        <p:spPr>
          <a:xfrm flipH="1">
            <a:off x="5002393" y="5667465"/>
            <a:ext cx="2353572" cy="179318"/>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288"/>
          <p:cNvCxnSpPr>
            <a:stCxn id="128" idx="0"/>
          </p:cNvCxnSpPr>
          <p:nvPr/>
        </p:nvCxnSpPr>
        <p:spPr>
          <a:xfrm flipH="1" flipV="1">
            <a:off x="7492445" y="2142550"/>
            <a:ext cx="420227" cy="3025676"/>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288"/>
          <p:cNvCxnSpPr>
            <a:stCxn id="37" idx="2"/>
            <a:endCxn id="117" idx="7"/>
          </p:cNvCxnSpPr>
          <p:nvPr/>
        </p:nvCxnSpPr>
        <p:spPr>
          <a:xfrm flipH="1">
            <a:off x="5614458" y="1637282"/>
            <a:ext cx="1272506" cy="634647"/>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288"/>
          <p:cNvCxnSpPr/>
          <p:nvPr/>
        </p:nvCxnSpPr>
        <p:spPr>
          <a:xfrm flipH="1" flipV="1">
            <a:off x="7850661" y="1998604"/>
            <a:ext cx="694690" cy="76200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288"/>
          <p:cNvCxnSpPr>
            <a:stCxn id="128" idx="7"/>
          </p:cNvCxnSpPr>
          <p:nvPr/>
        </p:nvCxnSpPr>
        <p:spPr>
          <a:xfrm flipV="1">
            <a:off x="8306323" y="3775120"/>
            <a:ext cx="348242" cy="1539330"/>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标题 1"/>
          <p:cNvSpPr txBox="1"/>
          <p:nvPr/>
        </p:nvSpPr>
        <p:spPr>
          <a:xfrm>
            <a:off x="253140" y="306045"/>
            <a:ext cx="11192828" cy="946413"/>
          </a:xfrm>
          <a:prstGeom prst="rect">
            <a:avLst/>
          </a:prstGeom>
        </p:spPr>
        <p:txBody>
          <a:bodyPr/>
          <a:lst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err="1">
                <a:latin typeface="+mn-lt"/>
                <a:cs typeface="+mn-ea"/>
                <a:sym typeface="+mn-lt"/>
              </a:rPr>
              <a:t>Risques</a:t>
            </a:r>
            <a:r>
              <a:rPr lang="en-US" altLang="zh-CN" dirty="0">
                <a:latin typeface="+mn-lt"/>
                <a:cs typeface="+mn-ea"/>
                <a:sym typeface="+mn-lt"/>
              </a:rPr>
              <a:t> </a:t>
            </a:r>
            <a:r>
              <a:rPr lang="en-US" altLang="zh-CN" dirty="0" err="1">
                <a:latin typeface="+mn-lt"/>
                <a:cs typeface="+mn-ea"/>
                <a:sym typeface="+mn-lt"/>
              </a:rPr>
              <a:t>clés</a:t>
            </a:r>
            <a:endParaRPr lang="en-US" altLang="zh-CN" dirty="0">
              <a:latin typeface="+mn-lt"/>
              <a:cs typeface="+mn-ea"/>
              <a:sym typeface="+mn-lt"/>
            </a:endParaRPr>
          </a:p>
        </p:txBody>
      </p:sp>
      <p:cxnSp>
        <p:nvCxnSpPr>
          <p:cNvPr id="144" name="Straight Connector 288"/>
          <p:cNvCxnSpPr>
            <a:stCxn id="128" idx="1"/>
            <a:endCxn id="117" idx="5"/>
          </p:cNvCxnSpPr>
          <p:nvPr/>
        </p:nvCxnSpPr>
        <p:spPr>
          <a:xfrm flipH="1" flipV="1">
            <a:off x="5614458" y="2994804"/>
            <a:ext cx="1904563" cy="2319646"/>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8"/>
          <p:cNvGrpSpPr>
            <a:grpSpLocks noChangeAspect="1"/>
          </p:cNvGrpSpPr>
          <p:nvPr/>
        </p:nvGrpSpPr>
        <p:grpSpPr bwMode="auto">
          <a:xfrm>
            <a:off x="4310380" y="5516245"/>
            <a:ext cx="281940" cy="483870"/>
            <a:chOff x="1587" y="1556"/>
            <a:chExt cx="159" cy="273"/>
          </a:xfrm>
        </p:grpSpPr>
        <p:sp>
          <p:nvSpPr>
            <p:cNvPr id="8" name="Oval 11"/>
            <p:cNvSpPr>
              <a:spLocks noChangeArrowheads="1"/>
            </p:cNvSpPr>
            <p:nvPr/>
          </p:nvSpPr>
          <p:spPr bwMode="auto">
            <a:xfrm>
              <a:off x="1629" y="1556"/>
              <a:ext cx="85" cy="86"/>
            </a:xfrm>
            <a:prstGeom prst="ellipse">
              <a:avLst/>
            </a:pr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2800" b="0" i="0" u="none" strike="noStrike" kern="1200" cap="none" spc="0" normalizeH="0" baseline="0" noProof="0" dirty="0">
                <a:ln>
                  <a:noFill/>
                </a:ln>
                <a:solidFill>
                  <a:srgbClr val="505050"/>
                </a:solidFill>
                <a:effectLst/>
                <a:uLnTx/>
                <a:uFillTx/>
                <a:cs typeface="+mn-ea"/>
                <a:sym typeface="+mn-lt"/>
              </a:endParaRPr>
            </a:p>
          </p:txBody>
        </p:sp>
        <p:sp>
          <p:nvSpPr>
            <p:cNvPr id="9" name="Freeform 12"/>
            <p:cNvSpPr/>
            <p:nvPr/>
          </p:nvSpPr>
          <p:spPr bwMode="auto">
            <a:xfrm>
              <a:off x="1587" y="1642"/>
              <a:ext cx="159" cy="187"/>
            </a:xfrm>
            <a:custGeom>
              <a:avLst/>
              <a:gdLst>
                <a:gd name="T0" fmla="*/ 0 w 172"/>
                <a:gd name="T1" fmla="*/ 86 h 86"/>
                <a:gd name="T2" fmla="*/ 86 w 172"/>
                <a:gd name="T3" fmla="*/ 0 h 86"/>
                <a:gd name="T4" fmla="*/ 172 w 172"/>
                <a:gd name="T5" fmla="*/ 86 h 86"/>
              </a:gdLst>
              <a:ahLst/>
              <a:cxnLst>
                <a:cxn ang="0">
                  <a:pos x="T0" y="T1"/>
                </a:cxn>
                <a:cxn ang="0">
                  <a:pos x="T2" y="T3"/>
                </a:cxn>
                <a:cxn ang="0">
                  <a:pos x="T4" y="T5"/>
                </a:cxn>
              </a:cxnLst>
              <a:rect l="0" t="0" r="r" b="b"/>
              <a:pathLst>
                <a:path w="172" h="86">
                  <a:moveTo>
                    <a:pt x="0" y="86"/>
                  </a:moveTo>
                  <a:cubicBezTo>
                    <a:pt x="0" y="39"/>
                    <a:pt x="38" y="0"/>
                    <a:pt x="86" y="0"/>
                  </a:cubicBezTo>
                  <a:cubicBezTo>
                    <a:pt x="133" y="0"/>
                    <a:pt x="172" y="39"/>
                    <a:pt x="172" y="86"/>
                  </a:cubicBezTo>
                </a:path>
              </a:pathLst>
            </a:custGeom>
            <a:noFill/>
            <a:ln w="12700" cap="flat">
              <a:solidFill>
                <a:schemeClr val="bg1"/>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01" tIns="45700" rIns="91401" bIns="45700" numCol="1" anchor="t" anchorCtr="0" compatLnSpc="1"/>
            <a:lstStyle/>
            <a:p>
              <a:pPr marL="0" marR="0" lvl="0" indent="0" algn="l" defTabSz="932180" rtl="0" eaLnBrk="1" fontAlgn="auto" latinLnBrk="0" hangingPunct="1">
                <a:lnSpc>
                  <a:spcPct val="100000"/>
                </a:lnSpc>
                <a:spcBef>
                  <a:spcPts val="0"/>
                </a:spcBef>
                <a:spcAft>
                  <a:spcPts val="0"/>
                </a:spcAft>
                <a:buClrTx/>
                <a:buSzTx/>
                <a:buFontTx/>
                <a:buNone/>
                <a:defRPr/>
              </a:pPr>
              <a:endParaRPr kumimoji="0" lang="en-US" sz="2800" b="0" i="0" u="none" strike="noStrike" kern="1200" cap="none" spc="0" normalizeH="0" baseline="0" noProof="0" dirty="0">
                <a:ln>
                  <a:noFill/>
                </a:ln>
                <a:solidFill>
                  <a:srgbClr val="505050"/>
                </a:solidFill>
                <a:effectLst/>
                <a:uLnTx/>
                <a:uFillTx/>
                <a:cs typeface="+mn-ea"/>
                <a:sym typeface="+mn-lt"/>
              </a:endParaRPr>
            </a:p>
          </p:txBody>
        </p:sp>
      </p:grpSp>
      <p:sp>
        <p:nvSpPr>
          <p:cNvPr id="11" name="箭头: 下 1"/>
          <p:cNvSpPr/>
          <p:nvPr/>
        </p:nvSpPr>
        <p:spPr bwMode="auto">
          <a:xfrm>
            <a:off x="8683625" y="2946400"/>
            <a:ext cx="285750" cy="700405"/>
          </a:xfrm>
          <a:prstGeom prst="downArrow">
            <a:avLst>
              <a:gd name="adj1" fmla="val 0"/>
              <a:gd name="adj2" fmla="val 48526"/>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3600" dirty="0" err="1">
              <a:gradFill>
                <a:gsLst>
                  <a:gs pos="0">
                    <a:srgbClr val="FFFFFF"/>
                  </a:gs>
                  <a:gs pos="100000">
                    <a:srgbClr val="FFFFFF"/>
                  </a:gs>
                </a:gsLst>
                <a:lin ang="5400000" scaled="0"/>
              </a:gradFill>
              <a:cs typeface="+mn-ea"/>
              <a:sym typeface="+mn-lt"/>
            </a:endParaRPr>
          </a:p>
        </p:txBody>
      </p:sp>
      <p:sp>
        <p:nvSpPr>
          <p:cNvPr id="12" name="文本框 11"/>
          <p:cNvSpPr txBox="1"/>
          <p:nvPr/>
        </p:nvSpPr>
        <p:spPr>
          <a:xfrm>
            <a:off x="8320405" y="2848610"/>
            <a:ext cx="596958" cy="738664"/>
          </a:xfrm>
          <a:prstGeom prst="rect">
            <a:avLst/>
          </a:prstGeom>
          <a:noFill/>
        </p:spPr>
        <p:txBody>
          <a:bodyPr wrap="none" lIns="182880" tIns="146304" rIns="182880" bIns="146304" rtlCol="0">
            <a:spAutoFit/>
          </a:bodyPr>
          <a:lstStyle/>
          <a:p>
            <a:pPr>
              <a:lnSpc>
                <a:spcPct val="90000"/>
              </a:lnSpc>
              <a:spcAft>
                <a:spcPts val="600"/>
              </a:spcAft>
            </a:pPr>
            <a:r>
              <a:rPr lang="en-US" altLang="zh-CN" sz="3200" dirty="0" err="1">
                <a:solidFill>
                  <a:schemeClr val="bg1"/>
                </a:solidFill>
                <a:cs typeface="+mn-ea"/>
                <a:sym typeface="+mn-lt"/>
              </a:rPr>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08"/>
                                        </p:tgtEl>
                                        <p:attrNameLst>
                                          <p:attrName>style.visibility</p:attrName>
                                        </p:attrNameLst>
                                      </p:cBhvr>
                                      <p:to>
                                        <p:strVal val="visible"/>
                                      </p:to>
                                    </p:set>
                                    <p:animEffect transition="in" filter="wipe(left)">
                                      <p:cBhvr>
                                        <p:cTn id="7" dur="500"/>
                                        <p:tgtEl>
                                          <p:spTgt spid="10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98"/>
                                        </p:tgtEl>
                                        <p:attrNameLst>
                                          <p:attrName>style.visibility</p:attrName>
                                        </p:attrNameLst>
                                      </p:cBhvr>
                                      <p:to>
                                        <p:strVal val="visible"/>
                                      </p:to>
                                    </p:set>
                                    <p:anim calcmode="lin" valueType="num">
                                      <p:cBhvr>
                                        <p:cTn id="11" dur="500" fill="hold"/>
                                        <p:tgtEl>
                                          <p:spTgt spid="98"/>
                                        </p:tgtEl>
                                        <p:attrNameLst>
                                          <p:attrName>ppt_w</p:attrName>
                                        </p:attrNameLst>
                                      </p:cBhvr>
                                      <p:tavLst>
                                        <p:tav tm="0">
                                          <p:val>
                                            <p:fltVal val="0"/>
                                          </p:val>
                                        </p:tav>
                                        <p:tav tm="100000">
                                          <p:val>
                                            <p:strVal val="#ppt_w"/>
                                          </p:val>
                                        </p:tav>
                                      </p:tavLst>
                                    </p:anim>
                                    <p:anim calcmode="lin" valueType="num">
                                      <p:cBhvr>
                                        <p:cTn id="12" dur="500" fill="hold"/>
                                        <p:tgtEl>
                                          <p:spTgt spid="98"/>
                                        </p:tgtEl>
                                        <p:attrNameLst>
                                          <p:attrName>ppt_h</p:attrName>
                                        </p:attrNameLst>
                                      </p:cBhvr>
                                      <p:tavLst>
                                        <p:tav tm="0">
                                          <p:val>
                                            <p:fltVal val="0"/>
                                          </p:val>
                                        </p:tav>
                                        <p:tav tm="100000">
                                          <p:val>
                                            <p:strVal val="#ppt_h"/>
                                          </p:val>
                                        </p:tav>
                                      </p:tavLst>
                                    </p:anim>
                                    <p:animEffect transition="in" filter="fade">
                                      <p:cBhvr>
                                        <p:cTn id="13" dur="500"/>
                                        <p:tgtEl>
                                          <p:spTgt spid="98"/>
                                        </p:tgtEl>
                                      </p:cBhvr>
                                    </p:animEffect>
                                  </p:childTnLst>
                                </p:cTn>
                              </p:par>
                            </p:childTnLst>
                          </p:cTn>
                        </p:par>
                        <p:par>
                          <p:cTn id="14" fill="hold">
                            <p:stCondLst>
                              <p:cond delay="1000"/>
                            </p:stCondLst>
                            <p:childTnLst>
                              <p:par>
                                <p:cTn id="15" presetID="22" presetClass="entr" presetSubtype="8" fill="hold" nodeType="afterEffect">
                                  <p:stCondLst>
                                    <p:cond delay="0"/>
                                  </p:stCondLst>
                                  <p:childTnLst>
                                    <p:set>
                                      <p:cBhvr>
                                        <p:cTn id="16" dur="1" fill="hold">
                                          <p:stCondLst>
                                            <p:cond delay="0"/>
                                          </p:stCondLst>
                                        </p:cTn>
                                        <p:tgtEl>
                                          <p:spTgt spid="136"/>
                                        </p:tgtEl>
                                        <p:attrNameLst>
                                          <p:attrName>style.visibility</p:attrName>
                                        </p:attrNameLst>
                                      </p:cBhvr>
                                      <p:to>
                                        <p:strVal val="visible"/>
                                      </p:to>
                                    </p:set>
                                    <p:animEffect transition="in" filter="wipe(left)">
                                      <p:cBhvr>
                                        <p:cTn id="17" dur="500"/>
                                        <p:tgtEl>
                                          <p:spTgt spid="136"/>
                                        </p:tgtEl>
                                      </p:cBhvr>
                                    </p:animEffect>
                                  </p:childTnLst>
                                </p:cTn>
                              </p:par>
                            </p:childTnLst>
                          </p:cTn>
                        </p:par>
                        <p:par>
                          <p:cTn id="18" fill="hold">
                            <p:stCondLst>
                              <p:cond delay="1500"/>
                            </p:stCondLst>
                            <p:childTnLst>
                              <p:par>
                                <p:cTn id="19" presetID="53" presetClass="entr" presetSubtype="16" fill="hold" nodeType="afterEffect">
                                  <p:stCondLst>
                                    <p:cond delay="0"/>
                                  </p:stCondLst>
                                  <p:childTnLst>
                                    <p:set>
                                      <p:cBhvr>
                                        <p:cTn id="20" dur="1" fill="hold">
                                          <p:stCondLst>
                                            <p:cond delay="0"/>
                                          </p:stCondLst>
                                        </p:cTn>
                                        <p:tgtEl>
                                          <p:spTgt spid="87"/>
                                        </p:tgtEl>
                                        <p:attrNameLst>
                                          <p:attrName>style.visibility</p:attrName>
                                        </p:attrNameLst>
                                      </p:cBhvr>
                                      <p:to>
                                        <p:strVal val="visible"/>
                                      </p:to>
                                    </p:set>
                                    <p:anim calcmode="lin" valueType="num">
                                      <p:cBhvr>
                                        <p:cTn id="21" dur="500" fill="hold"/>
                                        <p:tgtEl>
                                          <p:spTgt spid="87"/>
                                        </p:tgtEl>
                                        <p:attrNameLst>
                                          <p:attrName>ppt_w</p:attrName>
                                        </p:attrNameLst>
                                      </p:cBhvr>
                                      <p:tavLst>
                                        <p:tav tm="0">
                                          <p:val>
                                            <p:fltVal val="0"/>
                                          </p:val>
                                        </p:tav>
                                        <p:tav tm="100000">
                                          <p:val>
                                            <p:strVal val="#ppt_w"/>
                                          </p:val>
                                        </p:tav>
                                      </p:tavLst>
                                    </p:anim>
                                    <p:anim calcmode="lin" valueType="num">
                                      <p:cBhvr>
                                        <p:cTn id="22" dur="500" fill="hold"/>
                                        <p:tgtEl>
                                          <p:spTgt spid="87"/>
                                        </p:tgtEl>
                                        <p:attrNameLst>
                                          <p:attrName>ppt_h</p:attrName>
                                        </p:attrNameLst>
                                      </p:cBhvr>
                                      <p:tavLst>
                                        <p:tav tm="0">
                                          <p:val>
                                            <p:fltVal val="0"/>
                                          </p:val>
                                        </p:tav>
                                        <p:tav tm="100000">
                                          <p:val>
                                            <p:strVal val="#ppt_h"/>
                                          </p:val>
                                        </p:tav>
                                      </p:tavLst>
                                    </p:anim>
                                    <p:animEffect transition="in" filter="fade">
                                      <p:cBhvr>
                                        <p:cTn id="23" dur="500"/>
                                        <p:tgtEl>
                                          <p:spTgt spid="87"/>
                                        </p:tgtEl>
                                      </p:cBhvr>
                                    </p:animEffect>
                                  </p:childTnLst>
                                </p:cTn>
                              </p:par>
                            </p:childTnLst>
                          </p:cTn>
                        </p:par>
                        <p:par>
                          <p:cTn id="24" fill="hold">
                            <p:stCondLst>
                              <p:cond delay="2000"/>
                            </p:stCondLst>
                            <p:childTnLst>
                              <p:par>
                                <p:cTn id="25" presetID="22" presetClass="entr" presetSubtype="4" fill="hold" nodeType="afterEffect">
                                  <p:stCondLst>
                                    <p:cond delay="0"/>
                                  </p:stCondLst>
                                  <p:childTnLst>
                                    <p:set>
                                      <p:cBhvr>
                                        <p:cTn id="26" dur="1" fill="hold">
                                          <p:stCondLst>
                                            <p:cond delay="0"/>
                                          </p:stCondLst>
                                        </p:cTn>
                                        <p:tgtEl>
                                          <p:spTgt spid="138"/>
                                        </p:tgtEl>
                                        <p:attrNameLst>
                                          <p:attrName>style.visibility</p:attrName>
                                        </p:attrNameLst>
                                      </p:cBhvr>
                                      <p:to>
                                        <p:strVal val="visible"/>
                                      </p:to>
                                    </p:set>
                                    <p:animEffect transition="in" filter="wipe(down)">
                                      <p:cBhvr>
                                        <p:cTn id="27" dur="500"/>
                                        <p:tgtEl>
                                          <p:spTgt spid="138"/>
                                        </p:tgtEl>
                                      </p:cBhvr>
                                    </p:animEffect>
                                  </p:childTnLst>
                                </p:cTn>
                              </p:par>
                            </p:childTnLst>
                          </p:cTn>
                        </p:par>
                        <p:par>
                          <p:cTn id="28" fill="hold">
                            <p:stCondLst>
                              <p:cond delay="2500"/>
                            </p:stCondLst>
                            <p:childTnLst>
                              <p:par>
                                <p:cTn id="29" presetID="53" presetClass="entr" presetSubtype="16" fill="hold" nodeType="afterEffect">
                                  <p:stCondLst>
                                    <p:cond delay="0"/>
                                  </p:stCondLst>
                                  <p:childTnLst>
                                    <p:set>
                                      <p:cBhvr>
                                        <p:cTn id="30" dur="1" fill="hold">
                                          <p:stCondLst>
                                            <p:cond delay="0"/>
                                          </p:stCondLst>
                                        </p:cTn>
                                        <p:tgtEl>
                                          <p:spTgt spid="97"/>
                                        </p:tgtEl>
                                        <p:attrNameLst>
                                          <p:attrName>style.visibility</p:attrName>
                                        </p:attrNameLst>
                                      </p:cBhvr>
                                      <p:to>
                                        <p:strVal val="visible"/>
                                      </p:to>
                                    </p:set>
                                    <p:anim calcmode="lin" valueType="num">
                                      <p:cBhvr>
                                        <p:cTn id="31" dur="500" fill="hold"/>
                                        <p:tgtEl>
                                          <p:spTgt spid="97"/>
                                        </p:tgtEl>
                                        <p:attrNameLst>
                                          <p:attrName>ppt_w</p:attrName>
                                        </p:attrNameLst>
                                      </p:cBhvr>
                                      <p:tavLst>
                                        <p:tav tm="0">
                                          <p:val>
                                            <p:fltVal val="0"/>
                                          </p:val>
                                        </p:tav>
                                        <p:tav tm="100000">
                                          <p:val>
                                            <p:strVal val="#ppt_w"/>
                                          </p:val>
                                        </p:tav>
                                      </p:tavLst>
                                    </p:anim>
                                    <p:anim calcmode="lin" valueType="num">
                                      <p:cBhvr>
                                        <p:cTn id="32" dur="500" fill="hold"/>
                                        <p:tgtEl>
                                          <p:spTgt spid="97"/>
                                        </p:tgtEl>
                                        <p:attrNameLst>
                                          <p:attrName>ppt_h</p:attrName>
                                        </p:attrNameLst>
                                      </p:cBhvr>
                                      <p:tavLst>
                                        <p:tav tm="0">
                                          <p:val>
                                            <p:fltVal val="0"/>
                                          </p:val>
                                        </p:tav>
                                        <p:tav tm="100000">
                                          <p:val>
                                            <p:strVal val="#ppt_h"/>
                                          </p:val>
                                        </p:tav>
                                      </p:tavLst>
                                    </p:anim>
                                    <p:animEffect transition="in" filter="fade">
                                      <p:cBhvr>
                                        <p:cTn id="33" dur="500"/>
                                        <p:tgtEl>
                                          <p:spTgt spid="97"/>
                                        </p:tgtEl>
                                      </p:cBhvr>
                                    </p:animEffect>
                                  </p:childTnLst>
                                </p:cTn>
                              </p:par>
                            </p:childTnLst>
                          </p:cTn>
                        </p:par>
                        <p:par>
                          <p:cTn id="34" fill="hold">
                            <p:stCondLst>
                              <p:cond delay="3000"/>
                            </p:stCondLst>
                            <p:childTnLst>
                              <p:par>
                                <p:cTn id="35" presetID="22" presetClass="entr" presetSubtype="8" fill="hold" nodeType="afterEffect">
                                  <p:stCondLst>
                                    <p:cond delay="0"/>
                                  </p:stCondLst>
                                  <p:childTnLst>
                                    <p:set>
                                      <p:cBhvr>
                                        <p:cTn id="36" dur="1" fill="hold">
                                          <p:stCondLst>
                                            <p:cond delay="0"/>
                                          </p:stCondLst>
                                        </p:cTn>
                                        <p:tgtEl>
                                          <p:spTgt spid="144"/>
                                        </p:tgtEl>
                                        <p:attrNameLst>
                                          <p:attrName>style.visibility</p:attrName>
                                        </p:attrNameLst>
                                      </p:cBhvr>
                                      <p:to>
                                        <p:strVal val="visible"/>
                                      </p:to>
                                    </p:set>
                                    <p:animEffect transition="in" filter="wipe(left)">
                                      <p:cBhvr>
                                        <p:cTn id="37" dur="500"/>
                                        <p:tgtEl>
                                          <p:spTgt spid="144"/>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145"/>
                                        </p:tgtEl>
                                        <p:attrNameLst>
                                          <p:attrName>style.visibility</p:attrName>
                                        </p:attrNameLst>
                                      </p:cBhvr>
                                      <p:to>
                                        <p:strVal val="visible"/>
                                      </p:to>
                                    </p:set>
                                    <p:animEffect transition="in" filter="wipe(left)">
                                      <p:cBhvr>
                                        <p:cTn id="41" dur="500"/>
                                        <p:tgtEl>
                                          <p:spTgt spid="145"/>
                                        </p:tgtEl>
                                      </p:cBhvr>
                                    </p:animEffect>
                                  </p:childTnLst>
                                </p:cTn>
                              </p:par>
                            </p:childTnLst>
                          </p:cTn>
                        </p:par>
                        <p:par>
                          <p:cTn id="42" fill="hold">
                            <p:stCondLst>
                              <p:cond delay="4000"/>
                            </p:stCondLst>
                            <p:childTnLst>
                              <p:par>
                                <p:cTn id="43" presetID="53" presetClass="entr" presetSubtype="16" fill="hold" nodeType="afterEffect">
                                  <p:stCondLst>
                                    <p:cond delay="0"/>
                                  </p:stCondLst>
                                  <p:childTnLst>
                                    <p:set>
                                      <p:cBhvr>
                                        <p:cTn id="44" dur="1" fill="hold">
                                          <p:stCondLst>
                                            <p:cond delay="0"/>
                                          </p:stCondLst>
                                        </p:cTn>
                                        <p:tgtEl>
                                          <p:spTgt spid="100"/>
                                        </p:tgtEl>
                                        <p:attrNameLst>
                                          <p:attrName>style.visibility</p:attrName>
                                        </p:attrNameLst>
                                      </p:cBhvr>
                                      <p:to>
                                        <p:strVal val="visible"/>
                                      </p:to>
                                    </p:set>
                                    <p:anim calcmode="lin" valueType="num">
                                      <p:cBhvr>
                                        <p:cTn id="45" dur="500" fill="hold"/>
                                        <p:tgtEl>
                                          <p:spTgt spid="100"/>
                                        </p:tgtEl>
                                        <p:attrNameLst>
                                          <p:attrName>ppt_w</p:attrName>
                                        </p:attrNameLst>
                                      </p:cBhvr>
                                      <p:tavLst>
                                        <p:tav tm="0">
                                          <p:val>
                                            <p:fltVal val="0"/>
                                          </p:val>
                                        </p:tav>
                                        <p:tav tm="100000">
                                          <p:val>
                                            <p:strVal val="#ppt_w"/>
                                          </p:val>
                                        </p:tav>
                                      </p:tavLst>
                                    </p:anim>
                                    <p:anim calcmode="lin" valueType="num">
                                      <p:cBhvr>
                                        <p:cTn id="46" dur="500" fill="hold"/>
                                        <p:tgtEl>
                                          <p:spTgt spid="100"/>
                                        </p:tgtEl>
                                        <p:attrNameLst>
                                          <p:attrName>ppt_h</p:attrName>
                                        </p:attrNameLst>
                                      </p:cBhvr>
                                      <p:tavLst>
                                        <p:tav tm="0">
                                          <p:val>
                                            <p:fltVal val="0"/>
                                          </p:val>
                                        </p:tav>
                                        <p:tav tm="100000">
                                          <p:val>
                                            <p:strVal val="#ppt_h"/>
                                          </p:val>
                                        </p:tav>
                                      </p:tavLst>
                                    </p:anim>
                                    <p:animEffect transition="in" filter="fade">
                                      <p:cBhvr>
                                        <p:cTn id="47" dur="500"/>
                                        <p:tgtEl>
                                          <p:spTgt spid="100"/>
                                        </p:tgtEl>
                                      </p:cBhvr>
                                    </p:animEffect>
                                  </p:childTnLst>
                                </p:cTn>
                              </p:par>
                            </p:childTnLst>
                          </p:cTn>
                        </p:par>
                        <p:par>
                          <p:cTn id="48" fill="hold">
                            <p:stCondLst>
                              <p:cond delay="4500"/>
                            </p:stCondLst>
                            <p:childTnLst>
                              <p:par>
                                <p:cTn id="49" presetID="22" presetClass="entr" presetSubtype="4" fill="hold" nodeType="afterEffect">
                                  <p:stCondLst>
                                    <p:cond delay="0"/>
                                  </p:stCondLst>
                                  <p:childTnLst>
                                    <p:set>
                                      <p:cBhvr>
                                        <p:cTn id="50" dur="1" fill="hold">
                                          <p:stCondLst>
                                            <p:cond delay="0"/>
                                          </p:stCondLst>
                                        </p:cTn>
                                        <p:tgtEl>
                                          <p:spTgt spid="152"/>
                                        </p:tgtEl>
                                        <p:attrNameLst>
                                          <p:attrName>style.visibility</p:attrName>
                                        </p:attrNameLst>
                                      </p:cBhvr>
                                      <p:to>
                                        <p:strVal val="visible"/>
                                      </p:to>
                                    </p:set>
                                    <p:animEffect transition="in" filter="wipe(down)">
                                      <p:cBhvr>
                                        <p:cTn id="51" dur="500"/>
                                        <p:tgtEl>
                                          <p:spTgt spid="152"/>
                                        </p:tgtEl>
                                      </p:cBhvr>
                                    </p:animEffect>
                                  </p:childTnLst>
                                </p:cTn>
                              </p:par>
                            </p:childTnLst>
                          </p:cTn>
                        </p:par>
                        <p:par>
                          <p:cTn id="52" fill="hold">
                            <p:stCondLst>
                              <p:cond delay="5000"/>
                            </p:stCondLst>
                            <p:childTnLst>
                              <p:par>
                                <p:cTn id="53" presetID="22" presetClass="entr" presetSubtype="8" fill="hold" nodeType="afterEffect">
                                  <p:stCondLst>
                                    <p:cond delay="0"/>
                                  </p:stCondLst>
                                  <p:childTnLst>
                                    <p:set>
                                      <p:cBhvr>
                                        <p:cTn id="54" dur="1" fill="hold">
                                          <p:stCondLst>
                                            <p:cond delay="0"/>
                                          </p:stCondLst>
                                        </p:cTn>
                                        <p:tgtEl>
                                          <p:spTgt spid="155"/>
                                        </p:tgtEl>
                                        <p:attrNameLst>
                                          <p:attrName>style.visibility</p:attrName>
                                        </p:attrNameLst>
                                      </p:cBhvr>
                                      <p:to>
                                        <p:strVal val="visible"/>
                                      </p:to>
                                    </p:set>
                                    <p:animEffect transition="in" filter="wipe(left)">
                                      <p:cBhvr>
                                        <p:cTn id="55" dur="500"/>
                                        <p:tgtEl>
                                          <p:spTgt spid="155"/>
                                        </p:tgtEl>
                                      </p:cBhvr>
                                    </p:animEffect>
                                  </p:childTnLst>
                                </p:cTn>
                              </p:par>
                            </p:childTnLst>
                          </p:cTn>
                        </p:par>
                        <p:par>
                          <p:cTn id="56" fill="hold">
                            <p:stCondLst>
                              <p:cond delay="5500"/>
                            </p:stCondLst>
                            <p:childTnLst>
                              <p:par>
                                <p:cTn id="57" presetID="53" presetClass="entr" presetSubtype="16" fill="hold" nodeType="afterEffect">
                                  <p:stCondLst>
                                    <p:cond delay="0"/>
                                  </p:stCondLst>
                                  <p:childTnLst>
                                    <p:set>
                                      <p:cBhvr>
                                        <p:cTn id="58" dur="1" fill="hold">
                                          <p:stCondLst>
                                            <p:cond delay="0"/>
                                          </p:stCondLst>
                                        </p:cTn>
                                        <p:tgtEl>
                                          <p:spTgt spid="96"/>
                                        </p:tgtEl>
                                        <p:attrNameLst>
                                          <p:attrName>style.visibility</p:attrName>
                                        </p:attrNameLst>
                                      </p:cBhvr>
                                      <p:to>
                                        <p:strVal val="visible"/>
                                      </p:to>
                                    </p:set>
                                    <p:anim calcmode="lin" valueType="num">
                                      <p:cBhvr>
                                        <p:cTn id="59" dur="500" fill="hold"/>
                                        <p:tgtEl>
                                          <p:spTgt spid="96"/>
                                        </p:tgtEl>
                                        <p:attrNameLst>
                                          <p:attrName>ppt_w</p:attrName>
                                        </p:attrNameLst>
                                      </p:cBhvr>
                                      <p:tavLst>
                                        <p:tav tm="0">
                                          <p:val>
                                            <p:fltVal val="0"/>
                                          </p:val>
                                        </p:tav>
                                        <p:tav tm="100000">
                                          <p:val>
                                            <p:strVal val="#ppt_w"/>
                                          </p:val>
                                        </p:tav>
                                      </p:tavLst>
                                    </p:anim>
                                    <p:anim calcmode="lin" valueType="num">
                                      <p:cBhvr>
                                        <p:cTn id="60" dur="500" fill="hold"/>
                                        <p:tgtEl>
                                          <p:spTgt spid="96"/>
                                        </p:tgtEl>
                                        <p:attrNameLst>
                                          <p:attrName>ppt_h</p:attrName>
                                        </p:attrNameLst>
                                      </p:cBhvr>
                                      <p:tavLst>
                                        <p:tav tm="0">
                                          <p:val>
                                            <p:fltVal val="0"/>
                                          </p:val>
                                        </p:tav>
                                        <p:tav tm="100000">
                                          <p:val>
                                            <p:strVal val="#ppt_h"/>
                                          </p:val>
                                        </p:tav>
                                      </p:tavLst>
                                    </p:anim>
                                    <p:animEffect transition="in" filter="fade">
                                      <p:cBhvr>
                                        <p:cTn id="61" dur="500"/>
                                        <p:tgtEl>
                                          <p:spTgt spid="96"/>
                                        </p:tgtEl>
                                      </p:cBhvr>
                                    </p:animEffect>
                                  </p:childTnLst>
                                </p:cTn>
                              </p:par>
                            </p:childTnLst>
                          </p:cTn>
                        </p:par>
                        <p:par>
                          <p:cTn id="62" fill="hold">
                            <p:stCondLst>
                              <p:cond delay="6000"/>
                            </p:stCondLst>
                            <p:childTnLst>
                              <p:par>
                                <p:cTn id="63" presetID="22" presetClass="entr" presetSubtype="8" fill="hold" nodeType="afterEffect">
                                  <p:stCondLst>
                                    <p:cond delay="0"/>
                                  </p:stCondLst>
                                  <p:childTnLst>
                                    <p:set>
                                      <p:cBhvr>
                                        <p:cTn id="64" dur="1" fill="hold">
                                          <p:stCondLst>
                                            <p:cond delay="0"/>
                                          </p:stCondLst>
                                        </p:cTn>
                                        <p:tgtEl>
                                          <p:spTgt spid="161"/>
                                        </p:tgtEl>
                                        <p:attrNameLst>
                                          <p:attrName>style.visibility</p:attrName>
                                        </p:attrNameLst>
                                      </p:cBhvr>
                                      <p:to>
                                        <p:strVal val="visible"/>
                                      </p:to>
                                    </p:set>
                                    <p:animEffect transition="in" filter="wipe(left)">
                                      <p:cBhvr>
                                        <p:cTn id="65" dur="500"/>
                                        <p:tgtEl>
                                          <p:spTgt spid="161"/>
                                        </p:tgtEl>
                                      </p:cBhvr>
                                    </p:animEffect>
                                  </p:childTnLst>
                                </p:cTn>
                              </p:par>
                            </p:childTnLst>
                          </p:cTn>
                        </p:par>
                        <p:par>
                          <p:cTn id="66" fill="hold">
                            <p:stCondLst>
                              <p:cond delay="6500"/>
                            </p:stCondLst>
                            <p:childTnLst>
                              <p:par>
                                <p:cTn id="67" presetID="22" presetClass="entr" presetSubtype="8" fill="hold" nodeType="afterEffect">
                                  <p:stCondLst>
                                    <p:cond delay="0"/>
                                  </p:stCondLst>
                                  <p:childTnLst>
                                    <p:set>
                                      <p:cBhvr>
                                        <p:cTn id="68" dur="1" fill="hold">
                                          <p:stCondLst>
                                            <p:cond delay="0"/>
                                          </p:stCondLst>
                                        </p:cTn>
                                        <p:tgtEl>
                                          <p:spTgt spid="158"/>
                                        </p:tgtEl>
                                        <p:attrNameLst>
                                          <p:attrName>style.visibility</p:attrName>
                                        </p:attrNameLst>
                                      </p:cBhvr>
                                      <p:to>
                                        <p:strVal val="visible"/>
                                      </p:to>
                                    </p:set>
                                    <p:animEffect transition="in" filter="wipe(left)">
                                      <p:cBhvr>
                                        <p:cTn id="69" dur="500"/>
                                        <p:tgtEl>
                                          <p:spTgt spid="158"/>
                                        </p:tgtEl>
                                      </p:cBhvr>
                                    </p:animEffect>
                                  </p:childTnLst>
                                </p:cTn>
                              </p:par>
                            </p:childTnLst>
                          </p:cTn>
                        </p:par>
                        <p:par>
                          <p:cTn id="70" fill="hold">
                            <p:stCondLst>
                              <p:cond delay="7000"/>
                            </p:stCondLst>
                            <p:childTnLst>
                              <p:par>
                                <p:cTn id="71" presetID="53" presetClass="entr" presetSubtype="16" fill="hold" nodeType="afterEffect">
                                  <p:stCondLst>
                                    <p:cond delay="0"/>
                                  </p:stCondLst>
                                  <p:childTnLst>
                                    <p:set>
                                      <p:cBhvr>
                                        <p:cTn id="72" dur="1" fill="hold">
                                          <p:stCondLst>
                                            <p:cond delay="0"/>
                                          </p:stCondLst>
                                        </p:cTn>
                                        <p:tgtEl>
                                          <p:spTgt spid="101"/>
                                        </p:tgtEl>
                                        <p:attrNameLst>
                                          <p:attrName>style.visibility</p:attrName>
                                        </p:attrNameLst>
                                      </p:cBhvr>
                                      <p:to>
                                        <p:strVal val="visible"/>
                                      </p:to>
                                    </p:set>
                                    <p:anim calcmode="lin" valueType="num">
                                      <p:cBhvr>
                                        <p:cTn id="73" dur="500" fill="hold"/>
                                        <p:tgtEl>
                                          <p:spTgt spid="101"/>
                                        </p:tgtEl>
                                        <p:attrNameLst>
                                          <p:attrName>ppt_w</p:attrName>
                                        </p:attrNameLst>
                                      </p:cBhvr>
                                      <p:tavLst>
                                        <p:tav tm="0">
                                          <p:val>
                                            <p:fltVal val="0"/>
                                          </p:val>
                                        </p:tav>
                                        <p:tav tm="100000">
                                          <p:val>
                                            <p:strVal val="#ppt_w"/>
                                          </p:val>
                                        </p:tav>
                                      </p:tavLst>
                                    </p:anim>
                                    <p:anim calcmode="lin" valueType="num">
                                      <p:cBhvr>
                                        <p:cTn id="74" dur="500" fill="hold"/>
                                        <p:tgtEl>
                                          <p:spTgt spid="101"/>
                                        </p:tgtEl>
                                        <p:attrNameLst>
                                          <p:attrName>ppt_h</p:attrName>
                                        </p:attrNameLst>
                                      </p:cBhvr>
                                      <p:tavLst>
                                        <p:tav tm="0">
                                          <p:val>
                                            <p:fltVal val="0"/>
                                          </p:val>
                                        </p:tav>
                                        <p:tav tm="100000">
                                          <p:val>
                                            <p:strVal val="#ppt_h"/>
                                          </p:val>
                                        </p:tav>
                                      </p:tavLst>
                                    </p:anim>
                                    <p:animEffect transition="in" filter="fade">
                                      <p:cBhvr>
                                        <p:cTn id="75" dur="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9" name="Straight Connector 288"/>
          <p:cNvCxnSpPr/>
          <p:nvPr/>
        </p:nvCxnSpPr>
        <p:spPr>
          <a:xfrm>
            <a:off x="1545631" y="4154627"/>
            <a:ext cx="820769" cy="1224758"/>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4" name="标题 1"/>
          <p:cNvSpPr txBox="1"/>
          <p:nvPr/>
        </p:nvSpPr>
        <p:spPr>
          <a:xfrm>
            <a:off x="253140" y="306045"/>
            <a:ext cx="11192828" cy="946413"/>
          </a:xfrm>
          <a:prstGeom prst="rect">
            <a:avLst/>
          </a:prstGeom>
        </p:spPr>
        <p:txBody>
          <a:bodyPr/>
          <a:lst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err="1">
                <a:latin typeface="+mn-lt"/>
                <a:cs typeface="+mn-ea"/>
                <a:sym typeface="+mn-lt"/>
              </a:rPr>
              <a:t>Risques</a:t>
            </a:r>
            <a:r>
              <a:rPr lang="en-US" altLang="zh-CN" dirty="0">
                <a:latin typeface="+mn-lt"/>
                <a:cs typeface="+mn-ea"/>
                <a:sym typeface="+mn-lt"/>
              </a:rPr>
              <a:t> </a:t>
            </a:r>
            <a:r>
              <a:rPr lang="en-US" altLang="zh-CN" dirty="0" err="1">
                <a:latin typeface="+mn-lt"/>
                <a:cs typeface="+mn-ea"/>
                <a:sym typeface="+mn-lt"/>
              </a:rPr>
              <a:t>clés</a:t>
            </a:r>
            <a:endParaRPr lang="en-US" altLang="zh-CN" dirty="0">
              <a:latin typeface="+mn-lt"/>
              <a:cs typeface="+mn-ea"/>
              <a:sym typeface="+mn-lt"/>
            </a:endParaRPr>
          </a:p>
        </p:txBody>
      </p:sp>
      <p:grpSp>
        <p:nvGrpSpPr>
          <p:cNvPr id="86" name="组合 85"/>
          <p:cNvGrpSpPr/>
          <p:nvPr/>
        </p:nvGrpSpPr>
        <p:grpSpPr>
          <a:xfrm>
            <a:off x="8772668" y="3462784"/>
            <a:ext cx="2064080" cy="1121093"/>
            <a:chOff x="751568" y="4240710"/>
            <a:chExt cx="2064080" cy="1121093"/>
          </a:xfrm>
        </p:grpSpPr>
        <p:grpSp>
          <p:nvGrpSpPr>
            <p:cNvPr id="4" name="组合 3"/>
            <p:cNvGrpSpPr/>
            <p:nvPr/>
          </p:nvGrpSpPr>
          <p:grpSpPr>
            <a:xfrm>
              <a:off x="1409197" y="4240710"/>
              <a:ext cx="881682" cy="780417"/>
              <a:chOff x="1950156" y="3783467"/>
              <a:chExt cx="881682" cy="780417"/>
            </a:xfrm>
          </p:grpSpPr>
          <p:sp>
            <p:nvSpPr>
              <p:cNvPr id="34" name="Oval 154"/>
              <p:cNvSpPr/>
              <p:nvPr/>
            </p:nvSpPr>
            <p:spPr bwMode="auto">
              <a:xfrm>
                <a:off x="1950156" y="3783467"/>
                <a:ext cx="881682" cy="780417"/>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3" name="图片 2" descr="图片包含 物体, 事情, 悬挂工具&#10;&#10;已生成极高可信度的说明"/>
              <p:cNvPicPr>
                <a:picLocks noChangeAspect="1"/>
              </p:cNvPicPr>
              <p:nvPr/>
            </p:nvPicPr>
            <p:blipFill>
              <a:blip r:embed="rId3" cstate="print">
                <a:clrChange>
                  <a:clrFrom>
                    <a:srgbClr val="FFFFFF"/>
                  </a:clrFrom>
                  <a:clrTo>
                    <a:srgbClr val="FFFFFF">
                      <a:alpha val="0"/>
                    </a:srgbClr>
                  </a:clrTo>
                </a:clrChange>
                <a:lum bright="70000" contrast="-70000"/>
              </a:blip>
              <a:stretch>
                <a:fillRect/>
              </a:stretch>
            </p:blipFill>
            <p:spPr>
              <a:xfrm>
                <a:off x="2119457" y="3863018"/>
                <a:ext cx="598698" cy="598698"/>
              </a:xfrm>
              <a:prstGeom prst="rect">
                <a:avLst/>
              </a:prstGeom>
            </p:spPr>
          </p:pic>
        </p:grpSp>
        <p:sp>
          <p:nvSpPr>
            <p:cNvPr id="50" name="Title 1"/>
            <p:cNvSpPr txBox="1"/>
            <p:nvPr/>
          </p:nvSpPr>
          <p:spPr>
            <a:xfrm>
              <a:off x="751568" y="5021814"/>
              <a:ext cx="206408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fr-FR" altLang="zh-CN" sz="1630" dirty="0">
                  <a:solidFill>
                    <a:srgbClr val="2C292A"/>
                  </a:solidFill>
                  <a:latin typeface="+mn-lt"/>
                  <a:ea typeface="+mn-ea"/>
                  <a:cs typeface="+mn-ea"/>
                  <a:sym typeface="+mn-lt"/>
                </a:rPr>
                <a:t>Données sur le trafic piétonnier</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grpSp>
        <p:nvGrpSpPr>
          <p:cNvPr id="93" name="组合 92"/>
          <p:cNvGrpSpPr/>
          <p:nvPr/>
        </p:nvGrpSpPr>
        <p:grpSpPr>
          <a:xfrm>
            <a:off x="7041188" y="5510042"/>
            <a:ext cx="2064080" cy="1061741"/>
            <a:chOff x="9339726" y="3630384"/>
            <a:chExt cx="2064080" cy="1061741"/>
          </a:xfrm>
        </p:grpSpPr>
        <p:grpSp>
          <p:nvGrpSpPr>
            <p:cNvPr id="18" name="组合 17"/>
            <p:cNvGrpSpPr/>
            <p:nvPr/>
          </p:nvGrpSpPr>
          <p:grpSpPr>
            <a:xfrm>
              <a:off x="9879231" y="3630384"/>
              <a:ext cx="882551" cy="780417"/>
              <a:chOff x="2838767" y="1393358"/>
              <a:chExt cx="882551" cy="780417"/>
            </a:xfrm>
          </p:grpSpPr>
          <p:sp>
            <p:nvSpPr>
              <p:cNvPr id="59" name="Oval 154"/>
              <p:cNvSpPr/>
              <p:nvPr/>
            </p:nvSpPr>
            <p:spPr bwMode="auto">
              <a:xfrm>
                <a:off x="2839636" y="1393358"/>
                <a:ext cx="881682" cy="780417"/>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16" name="图片 15"/>
              <p:cNvPicPr>
                <a:picLocks noChangeAspect="1"/>
              </p:cNvPicPr>
              <p:nvPr/>
            </p:nvPicPr>
            <p:blipFill>
              <a:blip r:embed="rId4" cstate="print"/>
              <a:stretch>
                <a:fillRect/>
              </a:stretch>
            </p:blipFill>
            <p:spPr>
              <a:xfrm>
                <a:off x="2838767" y="1400417"/>
                <a:ext cx="760632" cy="760632"/>
              </a:xfrm>
              <a:prstGeom prst="rect">
                <a:avLst/>
              </a:prstGeom>
            </p:spPr>
          </p:pic>
        </p:grpSp>
        <p:sp>
          <p:nvSpPr>
            <p:cNvPr id="61" name="Title 1"/>
            <p:cNvSpPr txBox="1"/>
            <p:nvPr/>
          </p:nvSpPr>
          <p:spPr>
            <a:xfrm>
              <a:off x="9339726" y="4352136"/>
              <a:ext cx="206408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Données</a:t>
              </a:r>
              <a:r>
                <a:rPr lang="en-US" altLang="zh-CN" sz="1630" dirty="0">
                  <a:solidFill>
                    <a:srgbClr val="2C292A"/>
                  </a:solidFill>
                  <a:latin typeface="+mn-lt"/>
                  <a:ea typeface="+mn-ea"/>
                  <a:cs typeface="+mn-ea"/>
                  <a:sym typeface="+mn-lt"/>
                </a:rPr>
                <a:t> de transaction</a:t>
              </a:r>
            </a:p>
          </p:txBody>
        </p:sp>
      </p:grpSp>
      <p:grpSp>
        <p:nvGrpSpPr>
          <p:cNvPr id="94" name="组合 93"/>
          <p:cNvGrpSpPr/>
          <p:nvPr/>
        </p:nvGrpSpPr>
        <p:grpSpPr>
          <a:xfrm>
            <a:off x="9040133" y="1093093"/>
            <a:ext cx="2492767" cy="1181030"/>
            <a:chOff x="9040133" y="1093093"/>
            <a:chExt cx="2492767" cy="1181030"/>
          </a:xfrm>
        </p:grpSpPr>
        <p:sp>
          <p:nvSpPr>
            <p:cNvPr id="89" name="Oval 154"/>
            <p:cNvSpPr/>
            <p:nvPr/>
          </p:nvSpPr>
          <p:spPr bwMode="auto">
            <a:xfrm>
              <a:off x="9955066" y="1093093"/>
              <a:ext cx="881682" cy="780417"/>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36" name="图片 35" descr="图片包含 房间&#10;&#10;已生成高可信度的说明"/>
            <p:cNvPicPr>
              <a:picLocks noChangeAspect="1"/>
            </p:cNvPicPr>
            <p:nvPr/>
          </p:nvPicPr>
          <p:blipFill>
            <a:blip r:embed="rId5" cstate="print"/>
            <a:stretch>
              <a:fillRect/>
            </a:stretch>
          </p:blipFill>
          <p:spPr>
            <a:xfrm>
              <a:off x="10096662" y="1173216"/>
              <a:ext cx="665120" cy="665120"/>
            </a:xfrm>
            <a:prstGeom prst="rect">
              <a:avLst/>
            </a:prstGeom>
          </p:spPr>
        </p:pic>
        <p:sp>
          <p:nvSpPr>
            <p:cNvPr id="95" name="Title 1"/>
            <p:cNvSpPr txBox="1"/>
            <p:nvPr/>
          </p:nvSpPr>
          <p:spPr>
            <a:xfrm>
              <a:off x="9040133" y="1934134"/>
              <a:ext cx="2492767"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Défis</a:t>
              </a:r>
              <a:r>
                <a:rPr lang="en-US" altLang="zh-CN" sz="1630" dirty="0">
                  <a:solidFill>
                    <a:srgbClr val="2C292A"/>
                  </a:solidFill>
                  <a:latin typeface="+mn-lt"/>
                  <a:ea typeface="+mn-ea"/>
                  <a:cs typeface="+mn-ea"/>
                  <a:sym typeface="+mn-lt"/>
                </a:rPr>
                <a:t> </a:t>
              </a:r>
              <a:r>
                <a:rPr lang="en-US" altLang="zh-CN" sz="1630" dirty="0" err="1">
                  <a:solidFill>
                    <a:srgbClr val="2C292A"/>
                  </a:solidFill>
                  <a:latin typeface="+mn-lt"/>
                  <a:ea typeface="+mn-ea"/>
                  <a:cs typeface="+mn-ea"/>
                  <a:sym typeface="+mn-lt"/>
                </a:rPr>
                <a:t>commerciaux</a:t>
              </a:r>
              <a:endParaRPr lang="en-US" altLang="zh-CN" sz="1630" dirty="0">
                <a:solidFill>
                  <a:srgbClr val="2C292A"/>
                </a:solidFill>
                <a:latin typeface="+mn-lt"/>
                <a:ea typeface="+mn-ea"/>
                <a:cs typeface="+mn-ea"/>
                <a:sym typeface="+mn-lt"/>
              </a:endParaRPr>
            </a:p>
          </p:txBody>
        </p:sp>
      </p:grpSp>
      <p:cxnSp>
        <p:nvCxnSpPr>
          <p:cNvPr id="163" name="Straight Connector 288"/>
          <p:cNvCxnSpPr>
            <a:endCxn id="89" idx="4"/>
          </p:cNvCxnSpPr>
          <p:nvPr/>
        </p:nvCxnSpPr>
        <p:spPr>
          <a:xfrm flipV="1">
            <a:off x="10177127" y="1873510"/>
            <a:ext cx="218780" cy="1715191"/>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288"/>
          <p:cNvCxnSpPr>
            <a:endCxn id="34" idx="4"/>
          </p:cNvCxnSpPr>
          <p:nvPr/>
        </p:nvCxnSpPr>
        <p:spPr>
          <a:xfrm flipV="1">
            <a:off x="8314589" y="4243201"/>
            <a:ext cx="1556549" cy="1455752"/>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288"/>
          <p:cNvCxnSpPr>
            <a:stCxn id="57" idx="2"/>
            <a:endCxn id="16" idx="1"/>
          </p:cNvCxnSpPr>
          <p:nvPr/>
        </p:nvCxnSpPr>
        <p:spPr>
          <a:xfrm>
            <a:off x="5571884" y="3715738"/>
            <a:ext cx="2008809" cy="2181679"/>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2" name="组合 91"/>
          <p:cNvGrpSpPr/>
          <p:nvPr/>
        </p:nvGrpSpPr>
        <p:grpSpPr>
          <a:xfrm>
            <a:off x="237834" y="3362249"/>
            <a:ext cx="2064080" cy="1452854"/>
            <a:chOff x="8760619" y="5203409"/>
            <a:chExt cx="2064080" cy="1452854"/>
          </a:xfrm>
        </p:grpSpPr>
        <p:sp>
          <p:nvSpPr>
            <p:cNvPr id="49" name="Title 1"/>
            <p:cNvSpPr txBox="1"/>
            <p:nvPr/>
          </p:nvSpPr>
          <p:spPr>
            <a:xfrm>
              <a:off x="8760619" y="6316274"/>
              <a:ext cx="206408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sz="1630" dirty="0" err="1">
                  <a:solidFill>
                    <a:srgbClr val="2C292A"/>
                  </a:solidFill>
                  <a:latin typeface="+mn-lt"/>
                  <a:ea typeface="+mn-ea"/>
                  <a:cs typeface="+mn-ea"/>
                  <a:sym typeface="+mn-lt"/>
                </a:rPr>
                <a:t>Visualisation</a:t>
              </a:r>
              <a:r>
                <a:rPr lang="en-US" sz="1630" dirty="0">
                  <a:solidFill>
                    <a:srgbClr val="2C292A"/>
                  </a:solidFill>
                  <a:latin typeface="+mn-lt"/>
                  <a:ea typeface="+mn-ea"/>
                  <a:cs typeface="+mn-ea"/>
                  <a:sym typeface="+mn-lt"/>
                </a:rPr>
                <a:t> de </a:t>
              </a:r>
              <a:r>
                <a:rPr lang="en-US" sz="1630" dirty="0" err="1">
                  <a:solidFill>
                    <a:srgbClr val="2C292A"/>
                  </a:solidFill>
                  <a:latin typeface="+mn-lt"/>
                  <a:ea typeface="+mn-ea"/>
                  <a:cs typeface="+mn-ea"/>
                  <a:sym typeface="+mn-lt"/>
                </a:rPr>
                <a:t>données</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nvGrpSpPr>
            <p:cNvPr id="54" name="组合 53"/>
            <p:cNvGrpSpPr/>
            <p:nvPr/>
          </p:nvGrpSpPr>
          <p:grpSpPr>
            <a:xfrm>
              <a:off x="9265602" y="5203409"/>
              <a:ext cx="984180" cy="897314"/>
              <a:chOff x="10199086" y="5517780"/>
              <a:chExt cx="984180" cy="897314"/>
            </a:xfrm>
          </p:grpSpPr>
          <p:sp>
            <p:nvSpPr>
              <p:cNvPr id="46" name="Oval 154"/>
              <p:cNvSpPr/>
              <p:nvPr/>
            </p:nvSpPr>
            <p:spPr bwMode="auto">
              <a:xfrm>
                <a:off x="10199086" y="5517780"/>
                <a:ext cx="984180" cy="897314"/>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41" name="图片 40"/>
              <p:cNvPicPr>
                <a:picLocks noChangeAspect="1"/>
              </p:cNvPicPr>
              <p:nvPr/>
            </p:nvPicPr>
            <p:blipFill>
              <a:blip r:embed="rId6"/>
              <a:stretch>
                <a:fillRect/>
              </a:stretch>
            </p:blipFill>
            <p:spPr>
              <a:xfrm>
                <a:off x="10267125" y="5517780"/>
                <a:ext cx="848271" cy="848271"/>
              </a:xfrm>
              <a:prstGeom prst="rect">
                <a:avLst/>
              </a:prstGeom>
            </p:spPr>
          </p:pic>
        </p:grpSp>
      </p:grpSp>
      <p:grpSp>
        <p:nvGrpSpPr>
          <p:cNvPr id="99" name="组合 98"/>
          <p:cNvGrpSpPr/>
          <p:nvPr/>
        </p:nvGrpSpPr>
        <p:grpSpPr>
          <a:xfrm>
            <a:off x="1606872" y="5247697"/>
            <a:ext cx="2064080" cy="1244260"/>
            <a:chOff x="5298543" y="2950025"/>
            <a:chExt cx="2064080" cy="1244260"/>
          </a:xfrm>
        </p:grpSpPr>
        <p:grpSp>
          <p:nvGrpSpPr>
            <p:cNvPr id="22" name="组合 21"/>
            <p:cNvGrpSpPr/>
            <p:nvPr/>
          </p:nvGrpSpPr>
          <p:grpSpPr>
            <a:xfrm>
              <a:off x="5816068" y="2950025"/>
              <a:ext cx="1114243" cy="888627"/>
              <a:chOff x="935938" y="2000278"/>
              <a:chExt cx="1114243" cy="888627"/>
            </a:xfrm>
          </p:grpSpPr>
          <p:sp>
            <p:nvSpPr>
              <p:cNvPr id="63" name="Oval 154"/>
              <p:cNvSpPr/>
              <p:nvPr/>
            </p:nvSpPr>
            <p:spPr bwMode="auto">
              <a:xfrm>
                <a:off x="935938" y="2000278"/>
                <a:ext cx="1114243" cy="888627"/>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20" name="图片 19"/>
              <p:cNvPicPr>
                <a:picLocks noChangeAspect="1"/>
              </p:cNvPicPr>
              <p:nvPr/>
            </p:nvPicPr>
            <p:blipFill>
              <a:blip r:embed="rId7" cstate="print"/>
              <a:stretch>
                <a:fillRect/>
              </a:stretch>
            </p:blipFill>
            <p:spPr>
              <a:xfrm>
                <a:off x="1022003" y="2035018"/>
                <a:ext cx="828964" cy="828964"/>
              </a:xfrm>
              <a:prstGeom prst="rect">
                <a:avLst/>
              </a:prstGeom>
            </p:spPr>
          </p:pic>
        </p:grpSp>
        <p:sp>
          <p:nvSpPr>
            <p:cNvPr id="68" name="Title 1"/>
            <p:cNvSpPr txBox="1"/>
            <p:nvPr/>
          </p:nvSpPr>
          <p:spPr>
            <a:xfrm>
              <a:off x="5298543" y="3854296"/>
              <a:ext cx="206408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a:solidFill>
                    <a:srgbClr val="2C292A"/>
                  </a:solidFill>
                  <a:latin typeface="+mn-lt"/>
                  <a:ea typeface="+mn-ea"/>
                  <a:cs typeface="+mn-ea"/>
                  <a:sym typeface="+mn-lt"/>
                </a:rPr>
                <a:t> </a:t>
              </a:r>
              <a:r>
                <a:rPr lang="en-US" altLang="zh-CN" sz="1630" dirty="0" err="1">
                  <a:solidFill>
                    <a:srgbClr val="2C292A"/>
                  </a:solidFill>
                  <a:latin typeface="+mn-lt"/>
                  <a:ea typeface="+mn-ea"/>
                  <a:cs typeface="+mn-ea"/>
                  <a:sym typeface="+mn-lt"/>
                </a:rPr>
                <a:t>L'analyse</a:t>
              </a:r>
              <a:r>
                <a:rPr lang="en-US" altLang="zh-CN" sz="1630" dirty="0">
                  <a:solidFill>
                    <a:srgbClr val="2C292A"/>
                  </a:solidFill>
                  <a:latin typeface="+mn-lt"/>
                  <a:ea typeface="+mn-ea"/>
                  <a:cs typeface="+mn-ea"/>
                  <a:sym typeface="+mn-lt"/>
                </a:rPr>
                <a:t> des </a:t>
              </a:r>
              <a:r>
                <a:rPr lang="en-US" altLang="zh-CN" sz="1630" dirty="0" err="1">
                  <a:solidFill>
                    <a:srgbClr val="2C292A"/>
                  </a:solidFill>
                  <a:latin typeface="+mn-lt"/>
                  <a:ea typeface="+mn-ea"/>
                  <a:cs typeface="+mn-ea"/>
                  <a:sym typeface="+mn-lt"/>
                </a:rPr>
                <a:t>données</a:t>
              </a:r>
              <a:endParaRPr lang="en-US" altLang="zh-CN" sz="1630" dirty="0">
                <a:solidFill>
                  <a:srgbClr val="2C292A"/>
                </a:solidFill>
                <a:latin typeface="+mn-lt"/>
                <a:ea typeface="+mn-ea"/>
                <a:cs typeface="+mn-ea"/>
                <a:sym typeface="+mn-lt"/>
              </a:endParaRPr>
            </a:p>
          </p:txBody>
        </p:sp>
      </p:grpSp>
      <p:grpSp>
        <p:nvGrpSpPr>
          <p:cNvPr id="91" name="组合 90"/>
          <p:cNvGrpSpPr/>
          <p:nvPr/>
        </p:nvGrpSpPr>
        <p:grpSpPr>
          <a:xfrm>
            <a:off x="4548312" y="2388162"/>
            <a:ext cx="2064080" cy="1328195"/>
            <a:chOff x="5305870" y="5218901"/>
            <a:chExt cx="2064080" cy="1328195"/>
          </a:xfrm>
        </p:grpSpPr>
        <p:sp>
          <p:nvSpPr>
            <p:cNvPr id="56" name="Title 1"/>
            <p:cNvSpPr txBox="1"/>
            <p:nvPr/>
          </p:nvSpPr>
          <p:spPr>
            <a:xfrm>
              <a:off x="5305870" y="5218901"/>
              <a:ext cx="2064080" cy="339989"/>
            </a:xfrm>
            <a:prstGeom prst="rect">
              <a:avLst/>
            </a:prstGeom>
            <a:ln>
              <a:noFill/>
            </a:ln>
          </p:spPr>
          <p:txBody>
            <a:bodyPr vert="horz" lIns="93221" tIns="46610" rIns="93221" bIns="46610"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defTabSz="931545">
                <a:lnSpc>
                  <a:spcPct val="100000"/>
                </a:lnSpc>
                <a:defRPr/>
              </a:pPr>
              <a:r>
                <a:rPr lang="en-US" altLang="zh-CN" sz="1630" dirty="0" err="1">
                  <a:solidFill>
                    <a:srgbClr val="2C292A"/>
                  </a:solidFill>
                  <a:latin typeface="+mn-lt"/>
                  <a:ea typeface="+mn-ea"/>
                  <a:cs typeface="+mn-ea"/>
                  <a:sym typeface="+mn-lt"/>
                </a:rPr>
                <a:t>Collecte</a:t>
              </a:r>
              <a:r>
                <a:rPr lang="en-US" altLang="zh-CN" sz="1630" dirty="0">
                  <a:solidFill>
                    <a:srgbClr val="2C292A"/>
                  </a:solidFill>
                  <a:latin typeface="+mn-lt"/>
                  <a:ea typeface="+mn-ea"/>
                  <a:cs typeface="+mn-ea"/>
                  <a:sym typeface="+mn-lt"/>
                </a:rPr>
                <a:t> de </a:t>
              </a:r>
              <a:r>
                <a:rPr lang="en-US" altLang="zh-CN" sz="1630" dirty="0" err="1">
                  <a:solidFill>
                    <a:srgbClr val="2C292A"/>
                  </a:solidFill>
                  <a:latin typeface="+mn-lt"/>
                  <a:ea typeface="+mn-ea"/>
                  <a:cs typeface="+mn-ea"/>
                  <a:sym typeface="+mn-lt"/>
                </a:rPr>
                <a:t>données</a:t>
              </a:r>
              <a:endParaRPr kumimoji="0" lang="en-US" sz="1630" b="0" i="0" u="none" strike="noStrike" kern="1200" cap="none" spc="0" normalizeH="0" baseline="0" noProof="0" dirty="0">
                <a:ln>
                  <a:noFill/>
                </a:ln>
                <a:solidFill>
                  <a:srgbClr val="2C292A"/>
                </a:solidFill>
                <a:effectLst/>
                <a:uLnTx/>
                <a:uFillTx/>
                <a:latin typeface="+mn-lt"/>
                <a:ea typeface="+mn-ea"/>
                <a:cs typeface="+mn-ea"/>
                <a:sym typeface="+mn-lt"/>
              </a:endParaRPr>
            </a:p>
          </p:txBody>
        </p:sp>
        <p:grpSp>
          <p:nvGrpSpPr>
            <p:cNvPr id="58" name="组合 57"/>
            <p:cNvGrpSpPr/>
            <p:nvPr/>
          </p:nvGrpSpPr>
          <p:grpSpPr>
            <a:xfrm>
              <a:off x="5897069" y="5766679"/>
              <a:ext cx="881682" cy="780417"/>
              <a:chOff x="1014138" y="5760972"/>
              <a:chExt cx="881682" cy="780417"/>
            </a:xfrm>
          </p:grpSpPr>
          <p:sp>
            <p:nvSpPr>
              <p:cNvPr id="52" name="Oval 154"/>
              <p:cNvSpPr/>
              <p:nvPr/>
            </p:nvSpPr>
            <p:spPr bwMode="auto">
              <a:xfrm>
                <a:off x="1014138" y="5760972"/>
                <a:ext cx="881682" cy="780417"/>
              </a:xfrm>
              <a:prstGeom prst="ellipse">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noAutofit/>
              </a:bodyPr>
              <a:lstStyle/>
              <a:p>
                <a:pPr marL="0" marR="0" lvl="0" indent="0" algn="ctr" defTabSz="950595" rtl="0" eaLnBrk="1" fontAlgn="base" latinLnBrk="0" hangingPunct="1">
                  <a:lnSpc>
                    <a:spcPct val="90000"/>
                  </a:lnSpc>
                  <a:spcBef>
                    <a:spcPct val="0"/>
                  </a:spcBef>
                  <a:spcAft>
                    <a:spcPct val="0"/>
                  </a:spcAft>
                  <a:buClrTx/>
                  <a:buSzTx/>
                  <a:buFontTx/>
                  <a:buNone/>
                  <a:defRPr/>
                </a:pPr>
                <a:endParaRPr kumimoji="0" lang="en-US" sz="2450" b="0" i="0" u="none" strike="noStrike" kern="0" cap="none" spc="0" normalizeH="0" baseline="0" noProof="0" dirty="0">
                  <a:ln>
                    <a:noFill/>
                  </a:ln>
                  <a:gradFill>
                    <a:gsLst>
                      <a:gs pos="0">
                        <a:srgbClr val="FFFFFF"/>
                      </a:gs>
                      <a:gs pos="100000">
                        <a:srgbClr val="FFFFFF"/>
                      </a:gs>
                    </a:gsLst>
                    <a:lin ang="5400000" scaled="0"/>
                  </a:gradFill>
                  <a:effectLst/>
                  <a:uLnTx/>
                  <a:uFillTx/>
                  <a:cs typeface="+mn-ea"/>
                  <a:sym typeface="+mn-lt"/>
                </a:endParaRPr>
              </a:p>
            </p:txBody>
          </p:sp>
          <p:pic>
            <p:nvPicPr>
              <p:cNvPr id="57" name="图片 56"/>
              <p:cNvPicPr>
                <a:picLocks noChangeAspect="1"/>
              </p:cNvPicPr>
              <p:nvPr/>
            </p:nvPicPr>
            <p:blipFill>
              <a:blip r:embed="rId8" cstate="print"/>
              <a:stretch>
                <a:fillRect/>
              </a:stretch>
            </p:blipFill>
            <p:spPr>
              <a:xfrm>
                <a:off x="1093191" y="5834131"/>
                <a:ext cx="706639" cy="706639"/>
              </a:xfrm>
              <a:prstGeom prst="rect">
                <a:avLst/>
              </a:prstGeom>
            </p:spPr>
          </p:pic>
        </p:grpSp>
      </p:grpSp>
      <p:cxnSp>
        <p:nvCxnSpPr>
          <p:cNvPr id="190" name="Straight Connector 288"/>
          <p:cNvCxnSpPr>
            <a:stCxn id="52" idx="6"/>
            <a:endCxn id="34" idx="1"/>
          </p:cNvCxnSpPr>
          <p:nvPr/>
        </p:nvCxnSpPr>
        <p:spPr>
          <a:xfrm>
            <a:off x="6021193" y="3326149"/>
            <a:ext cx="3538223" cy="250924"/>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288"/>
          <p:cNvCxnSpPr/>
          <p:nvPr/>
        </p:nvCxnSpPr>
        <p:spPr>
          <a:xfrm flipV="1">
            <a:off x="3068404" y="3588701"/>
            <a:ext cx="2090989" cy="1761453"/>
          </a:xfrm>
          <a:prstGeom prst="line">
            <a:avLst/>
          </a:prstGeom>
          <a:ln w="9525">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wipe(up)">
                                      <p:cBhvr>
                                        <p:cTn id="7" dur="500"/>
                                        <p:tgtEl>
                                          <p:spTgt spid="16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p:cTn id="11" dur="500" fill="hold"/>
                                        <p:tgtEl>
                                          <p:spTgt spid="86"/>
                                        </p:tgtEl>
                                        <p:attrNameLst>
                                          <p:attrName>ppt_w</p:attrName>
                                        </p:attrNameLst>
                                      </p:cBhvr>
                                      <p:tavLst>
                                        <p:tav tm="0">
                                          <p:val>
                                            <p:fltVal val="0"/>
                                          </p:val>
                                        </p:tav>
                                        <p:tav tm="100000">
                                          <p:val>
                                            <p:strVal val="#ppt_w"/>
                                          </p:val>
                                        </p:tav>
                                      </p:tavLst>
                                    </p:anim>
                                    <p:anim calcmode="lin" valueType="num">
                                      <p:cBhvr>
                                        <p:cTn id="12" dur="500" fill="hold"/>
                                        <p:tgtEl>
                                          <p:spTgt spid="86"/>
                                        </p:tgtEl>
                                        <p:attrNameLst>
                                          <p:attrName>ppt_h</p:attrName>
                                        </p:attrNameLst>
                                      </p:cBhvr>
                                      <p:tavLst>
                                        <p:tav tm="0">
                                          <p:val>
                                            <p:fltVal val="0"/>
                                          </p:val>
                                        </p:tav>
                                        <p:tav tm="100000">
                                          <p:val>
                                            <p:strVal val="#ppt_h"/>
                                          </p:val>
                                        </p:tav>
                                      </p:tavLst>
                                    </p:anim>
                                    <p:animEffect transition="in" filter="fade">
                                      <p:cBhvr>
                                        <p:cTn id="13" dur="500"/>
                                        <p:tgtEl>
                                          <p:spTgt spid="8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170"/>
                                        </p:tgtEl>
                                        <p:attrNameLst>
                                          <p:attrName>style.visibility</p:attrName>
                                        </p:attrNameLst>
                                      </p:cBhvr>
                                      <p:to>
                                        <p:strVal val="visible"/>
                                      </p:to>
                                    </p:set>
                                    <p:animEffect transition="in" filter="wipe(up)">
                                      <p:cBhvr>
                                        <p:cTn id="17" dur="500"/>
                                        <p:tgtEl>
                                          <p:spTgt spid="170"/>
                                        </p:tgtEl>
                                      </p:cBhvr>
                                    </p:animEffect>
                                  </p:childTnLst>
                                </p:cTn>
                              </p:par>
                            </p:childTnLst>
                          </p:cTn>
                        </p:par>
                        <p:par>
                          <p:cTn id="18" fill="hold">
                            <p:stCondLst>
                              <p:cond delay="1500"/>
                            </p:stCondLst>
                            <p:childTnLst>
                              <p:par>
                                <p:cTn id="19" presetID="22" presetClass="entr" presetSubtype="2" fill="hold" nodeType="afterEffect">
                                  <p:stCondLst>
                                    <p:cond delay="0"/>
                                  </p:stCondLst>
                                  <p:childTnLst>
                                    <p:set>
                                      <p:cBhvr>
                                        <p:cTn id="20" dur="1" fill="hold">
                                          <p:stCondLst>
                                            <p:cond delay="0"/>
                                          </p:stCondLst>
                                        </p:cTn>
                                        <p:tgtEl>
                                          <p:spTgt spid="190"/>
                                        </p:tgtEl>
                                        <p:attrNameLst>
                                          <p:attrName>style.visibility</p:attrName>
                                        </p:attrNameLst>
                                      </p:cBhvr>
                                      <p:to>
                                        <p:strVal val="visible"/>
                                      </p:to>
                                    </p:set>
                                    <p:animEffect transition="in" filter="wipe(right)">
                                      <p:cBhvr>
                                        <p:cTn id="21" dur="500"/>
                                        <p:tgtEl>
                                          <p:spTgt spid="190"/>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93"/>
                                        </p:tgtEl>
                                        <p:attrNameLst>
                                          <p:attrName>style.visibility</p:attrName>
                                        </p:attrNameLst>
                                      </p:cBhvr>
                                      <p:to>
                                        <p:strVal val="visible"/>
                                      </p:to>
                                    </p:set>
                                    <p:anim calcmode="lin" valueType="num">
                                      <p:cBhvr>
                                        <p:cTn id="25" dur="500" fill="hold"/>
                                        <p:tgtEl>
                                          <p:spTgt spid="93"/>
                                        </p:tgtEl>
                                        <p:attrNameLst>
                                          <p:attrName>ppt_w</p:attrName>
                                        </p:attrNameLst>
                                      </p:cBhvr>
                                      <p:tavLst>
                                        <p:tav tm="0">
                                          <p:val>
                                            <p:fltVal val="0"/>
                                          </p:val>
                                        </p:tav>
                                        <p:tav tm="100000">
                                          <p:val>
                                            <p:strVal val="#ppt_w"/>
                                          </p:val>
                                        </p:tav>
                                      </p:tavLst>
                                    </p:anim>
                                    <p:anim calcmode="lin" valueType="num">
                                      <p:cBhvr>
                                        <p:cTn id="26" dur="500" fill="hold"/>
                                        <p:tgtEl>
                                          <p:spTgt spid="93"/>
                                        </p:tgtEl>
                                        <p:attrNameLst>
                                          <p:attrName>ppt_h</p:attrName>
                                        </p:attrNameLst>
                                      </p:cBhvr>
                                      <p:tavLst>
                                        <p:tav tm="0">
                                          <p:val>
                                            <p:fltVal val="0"/>
                                          </p:val>
                                        </p:tav>
                                        <p:tav tm="100000">
                                          <p:val>
                                            <p:strVal val="#ppt_h"/>
                                          </p:val>
                                        </p:tav>
                                      </p:tavLst>
                                    </p:anim>
                                    <p:animEffect transition="in" filter="fade">
                                      <p:cBhvr>
                                        <p:cTn id="27" dur="500"/>
                                        <p:tgtEl>
                                          <p:spTgt spid="93"/>
                                        </p:tgtEl>
                                      </p:cBhvr>
                                    </p:animEffect>
                                  </p:childTnLst>
                                </p:cTn>
                              </p:par>
                            </p:childTnLst>
                          </p:cTn>
                        </p:par>
                        <p:par>
                          <p:cTn id="28" fill="hold">
                            <p:stCondLst>
                              <p:cond delay="2500"/>
                            </p:stCondLst>
                            <p:childTnLst>
                              <p:par>
                                <p:cTn id="29" presetID="22" presetClass="entr" presetSubtype="2" fill="hold" nodeType="afterEffect">
                                  <p:stCondLst>
                                    <p:cond delay="0"/>
                                  </p:stCondLst>
                                  <p:childTnLst>
                                    <p:set>
                                      <p:cBhvr>
                                        <p:cTn id="30" dur="1" fill="hold">
                                          <p:stCondLst>
                                            <p:cond delay="0"/>
                                          </p:stCondLst>
                                        </p:cTn>
                                        <p:tgtEl>
                                          <p:spTgt spid="174"/>
                                        </p:tgtEl>
                                        <p:attrNameLst>
                                          <p:attrName>style.visibility</p:attrName>
                                        </p:attrNameLst>
                                      </p:cBhvr>
                                      <p:to>
                                        <p:strVal val="visible"/>
                                      </p:to>
                                    </p:set>
                                    <p:animEffect transition="in" filter="wipe(right)">
                                      <p:cBhvr>
                                        <p:cTn id="31" dur="500"/>
                                        <p:tgtEl>
                                          <p:spTgt spid="174"/>
                                        </p:tgtEl>
                                      </p:cBhvr>
                                    </p:animEffect>
                                  </p:childTnLst>
                                </p:cTn>
                              </p:par>
                            </p:childTnLst>
                          </p:cTn>
                        </p:par>
                        <p:par>
                          <p:cTn id="32" fill="hold">
                            <p:stCondLst>
                              <p:cond delay="3000"/>
                            </p:stCondLst>
                            <p:childTnLst>
                              <p:par>
                                <p:cTn id="33" presetID="53" presetClass="entr" presetSubtype="16" fill="hold" nodeType="after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p:cTn id="35" dur="500" fill="hold"/>
                                        <p:tgtEl>
                                          <p:spTgt spid="91"/>
                                        </p:tgtEl>
                                        <p:attrNameLst>
                                          <p:attrName>ppt_w</p:attrName>
                                        </p:attrNameLst>
                                      </p:cBhvr>
                                      <p:tavLst>
                                        <p:tav tm="0">
                                          <p:val>
                                            <p:fltVal val="0"/>
                                          </p:val>
                                        </p:tav>
                                        <p:tav tm="100000">
                                          <p:val>
                                            <p:strVal val="#ppt_w"/>
                                          </p:val>
                                        </p:tav>
                                      </p:tavLst>
                                    </p:anim>
                                    <p:anim calcmode="lin" valueType="num">
                                      <p:cBhvr>
                                        <p:cTn id="36" dur="500" fill="hold"/>
                                        <p:tgtEl>
                                          <p:spTgt spid="91"/>
                                        </p:tgtEl>
                                        <p:attrNameLst>
                                          <p:attrName>ppt_h</p:attrName>
                                        </p:attrNameLst>
                                      </p:cBhvr>
                                      <p:tavLst>
                                        <p:tav tm="0">
                                          <p:val>
                                            <p:fltVal val="0"/>
                                          </p:val>
                                        </p:tav>
                                        <p:tav tm="100000">
                                          <p:val>
                                            <p:strVal val="#ppt_h"/>
                                          </p:val>
                                        </p:tav>
                                      </p:tavLst>
                                    </p:anim>
                                    <p:animEffect transition="in" filter="fade">
                                      <p:cBhvr>
                                        <p:cTn id="37" dur="500"/>
                                        <p:tgtEl>
                                          <p:spTgt spid="91"/>
                                        </p:tgtEl>
                                      </p:cBhvr>
                                    </p:animEffect>
                                  </p:childTnLst>
                                </p:cTn>
                              </p:par>
                            </p:childTnLst>
                          </p:cTn>
                        </p:par>
                        <p:par>
                          <p:cTn id="38" fill="hold">
                            <p:stCondLst>
                              <p:cond delay="3500"/>
                            </p:stCondLst>
                            <p:childTnLst>
                              <p:par>
                                <p:cTn id="39" presetID="22" presetClass="entr" presetSubtype="2" fill="hold" nodeType="afterEffect">
                                  <p:stCondLst>
                                    <p:cond delay="0"/>
                                  </p:stCondLst>
                                  <p:childTnLst>
                                    <p:set>
                                      <p:cBhvr>
                                        <p:cTn id="40" dur="1" fill="hold">
                                          <p:stCondLst>
                                            <p:cond delay="0"/>
                                          </p:stCondLst>
                                        </p:cTn>
                                        <p:tgtEl>
                                          <p:spTgt spid="197"/>
                                        </p:tgtEl>
                                        <p:attrNameLst>
                                          <p:attrName>style.visibility</p:attrName>
                                        </p:attrNameLst>
                                      </p:cBhvr>
                                      <p:to>
                                        <p:strVal val="visible"/>
                                      </p:to>
                                    </p:set>
                                    <p:animEffect transition="in" filter="wipe(right)">
                                      <p:cBhvr>
                                        <p:cTn id="41" dur="500"/>
                                        <p:tgtEl>
                                          <p:spTgt spid="197"/>
                                        </p:tgtEl>
                                      </p:cBhvr>
                                    </p:animEffect>
                                  </p:childTnLst>
                                </p:cTn>
                              </p:par>
                            </p:childTnLst>
                          </p:cTn>
                        </p:par>
                        <p:par>
                          <p:cTn id="42" fill="hold">
                            <p:stCondLst>
                              <p:cond delay="4000"/>
                            </p:stCondLst>
                            <p:childTnLst>
                              <p:par>
                                <p:cTn id="43" presetID="53" presetClass="entr" presetSubtype="16" fill="hold" nodeType="afterEffect">
                                  <p:stCondLst>
                                    <p:cond delay="0"/>
                                  </p:stCondLst>
                                  <p:childTnLst>
                                    <p:set>
                                      <p:cBhvr>
                                        <p:cTn id="44" dur="1" fill="hold">
                                          <p:stCondLst>
                                            <p:cond delay="0"/>
                                          </p:stCondLst>
                                        </p:cTn>
                                        <p:tgtEl>
                                          <p:spTgt spid="99"/>
                                        </p:tgtEl>
                                        <p:attrNameLst>
                                          <p:attrName>style.visibility</p:attrName>
                                        </p:attrNameLst>
                                      </p:cBhvr>
                                      <p:to>
                                        <p:strVal val="visible"/>
                                      </p:to>
                                    </p:set>
                                    <p:anim calcmode="lin" valueType="num">
                                      <p:cBhvr>
                                        <p:cTn id="45" dur="500" fill="hold"/>
                                        <p:tgtEl>
                                          <p:spTgt spid="99"/>
                                        </p:tgtEl>
                                        <p:attrNameLst>
                                          <p:attrName>ppt_w</p:attrName>
                                        </p:attrNameLst>
                                      </p:cBhvr>
                                      <p:tavLst>
                                        <p:tav tm="0">
                                          <p:val>
                                            <p:fltVal val="0"/>
                                          </p:val>
                                        </p:tav>
                                        <p:tav tm="100000">
                                          <p:val>
                                            <p:strVal val="#ppt_w"/>
                                          </p:val>
                                        </p:tav>
                                      </p:tavLst>
                                    </p:anim>
                                    <p:anim calcmode="lin" valueType="num">
                                      <p:cBhvr>
                                        <p:cTn id="46" dur="500" fill="hold"/>
                                        <p:tgtEl>
                                          <p:spTgt spid="99"/>
                                        </p:tgtEl>
                                        <p:attrNameLst>
                                          <p:attrName>ppt_h</p:attrName>
                                        </p:attrNameLst>
                                      </p:cBhvr>
                                      <p:tavLst>
                                        <p:tav tm="0">
                                          <p:val>
                                            <p:fltVal val="0"/>
                                          </p:val>
                                        </p:tav>
                                        <p:tav tm="100000">
                                          <p:val>
                                            <p:strVal val="#ppt_h"/>
                                          </p:val>
                                        </p:tav>
                                      </p:tavLst>
                                    </p:anim>
                                    <p:animEffect transition="in" filter="fade">
                                      <p:cBhvr>
                                        <p:cTn id="47" dur="500"/>
                                        <p:tgtEl>
                                          <p:spTgt spid="99"/>
                                        </p:tgtEl>
                                      </p:cBhvr>
                                    </p:animEffect>
                                  </p:childTnLst>
                                </p:cTn>
                              </p:par>
                            </p:childTnLst>
                          </p:cTn>
                        </p:par>
                        <p:par>
                          <p:cTn id="48" fill="hold">
                            <p:stCondLst>
                              <p:cond delay="4500"/>
                            </p:stCondLst>
                            <p:childTnLst>
                              <p:par>
                                <p:cTn id="49" presetID="22" presetClass="entr" presetSubtype="2" fill="hold" nodeType="afterEffect">
                                  <p:stCondLst>
                                    <p:cond delay="0"/>
                                  </p:stCondLst>
                                  <p:childTnLst>
                                    <p:set>
                                      <p:cBhvr>
                                        <p:cTn id="50" dur="1" fill="hold">
                                          <p:stCondLst>
                                            <p:cond delay="0"/>
                                          </p:stCondLst>
                                        </p:cTn>
                                        <p:tgtEl>
                                          <p:spTgt spid="199"/>
                                        </p:tgtEl>
                                        <p:attrNameLst>
                                          <p:attrName>style.visibility</p:attrName>
                                        </p:attrNameLst>
                                      </p:cBhvr>
                                      <p:to>
                                        <p:strVal val="visible"/>
                                      </p:to>
                                    </p:set>
                                    <p:animEffect transition="in" filter="wipe(right)">
                                      <p:cBhvr>
                                        <p:cTn id="51" dur="500"/>
                                        <p:tgtEl>
                                          <p:spTgt spid="199"/>
                                        </p:tgtEl>
                                      </p:cBhvr>
                                    </p:animEffect>
                                  </p:childTnLst>
                                </p:cTn>
                              </p:par>
                            </p:childTnLst>
                          </p:cTn>
                        </p:par>
                        <p:par>
                          <p:cTn id="52" fill="hold">
                            <p:stCondLst>
                              <p:cond delay="5000"/>
                            </p:stCondLst>
                            <p:childTnLst>
                              <p:par>
                                <p:cTn id="53" presetID="30" presetClass="entr" presetSubtype="0"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800" decel="100000"/>
                                        <p:tgtEl>
                                          <p:spTgt spid="92"/>
                                        </p:tgtEl>
                                      </p:cBhvr>
                                    </p:animEffect>
                                    <p:anim calcmode="lin" valueType="num">
                                      <p:cBhvr>
                                        <p:cTn id="56" dur="800" decel="100000" fill="hold"/>
                                        <p:tgtEl>
                                          <p:spTgt spid="92"/>
                                        </p:tgtEl>
                                        <p:attrNameLst>
                                          <p:attrName>style.rotation</p:attrName>
                                        </p:attrNameLst>
                                      </p:cBhvr>
                                      <p:tavLst>
                                        <p:tav tm="0">
                                          <p:val>
                                            <p:fltVal val="-90"/>
                                          </p:val>
                                        </p:tav>
                                        <p:tav tm="100000">
                                          <p:val>
                                            <p:fltVal val="0"/>
                                          </p:val>
                                        </p:tav>
                                      </p:tavLst>
                                    </p:anim>
                                    <p:anim calcmode="lin" valueType="num">
                                      <p:cBhvr>
                                        <p:cTn id="57" dur="800" decel="100000" fill="hold"/>
                                        <p:tgtEl>
                                          <p:spTgt spid="92"/>
                                        </p:tgtEl>
                                        <p:attrNameLst>
                                          <p:attrName>ppt_x</p:attrName>
                                        </p:attrNameLst>
                                      </p:cBhvr>
                                      <p:tavLst>
                                        <p:tav tm="0">
                                          <p:val>
                                            <p:strVal val="#ppt_x+0.4"/>
                                          </p:val>
                                        </p:tav>
                                        <p:tav tm="100000">
                                          <p:val>
                                            <p:strVal val="#ppt_x-0.05"/>
                                          </p:val>
                                        </p:tav>
                                      </p:tavLst>
                                    </p:anim>
                                    <p:anim calcmode="lin" valueType="num">
                                      <p:cBhvr>
                                        <p:cTn id="58" dur="800" decel="100000" fill="hold"/>
                                        <p:tgtEl>
                                          <p:spTgt spid="92"/>
                                        </p:tgtEl>
                                        <p:attrNameLst>
                                          <p:attrName>ppt_y</p:attrName>
                                        </p:attrNameLst>
                                      </p:cBhvr>
                                      <p:tavLst>
                                        <p:tav tm="0">
                                          <p:val>
                                            <p:strVal val="#ppt_y-0.4"/>
                                          </p:val>
                                        </p:tav>
                                        <p:tav tm="100000">
                                          <p:val>
                                            <p:strVal val="#ppt_y+0.1"/>
                                          </p:val>
                                        </p:tav>
                                      </p:tavLst>
                                    </p:anim>
                                    <p:anim calcmode="lin" valueType="num">
                                      <p:cBhvr>
                                        <p:cTn id="59" dur="200" accel="100000" fill="hold">
                                          <p:stCondLst>
                                            <p:cond delay="800"/>
                                          </p:stCondLst>
                                        </p:cTn>
                                        <p:tgtEl>
                                          <p:spTgt spid="92"/>
                                        </p:tgtEl>
                                        <p:attrNameLst>
                                          <p:attrName>ppt_x</p:attrName>
                                        </p:attrNameLst>
                                      </p:cBhvr>
                                      <p:tavLst>
                                        <p:tav tm="0">
                                          <p:val>
                                            <p:strVal val="#ppt_x-0.05"/>
                                          </p:val>
                                        </p:tav>
                                        <p:tav tm="100000">
                                          <p:val>
                                            <p:strVal val="#ppt_x"/>
                                          </p:val>
                                        </p:tav>
                                      </p:tavLst>
                                    </p:anim>
                                    <p:anim calcmode="lin" valueType="num">
                                      <p:cBhvr>
                                        <p:cTn id="60" dur="200" accel="100000" fill="hold">
                                          <p:stCondLst>
                                            <p:cond delay="800"/>
                                          </p:stCondLst>
                                        </p:cTn>
                                        <p:tgtEl>
                                          <p:spTgt spid="92"/>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91">
            <a:extLst>
              <a:ext uri="{FF2B5EF4-FFF2-40B4-BE49-F238E27FC236}">
                <a16:creationId xmlns:a16="http://schemas.microsoft.com/office/drawing/2014/main" id="{727B7324-31D9-4E33-B7D8-4CA18059CF26}"/>
              </a:ext>
            </a:extLst>
          </p:cNvPr>
          <p:cNvGrpSpPr/>
          <p:nvPr/>
        </p:nvGrpSpPr>
        <p:grpSpPr>
          <a:xfrm>
            <a:off x="6999515" y="1785258"/>
            <a:ext cx="5091808" cy="4891314"/>
            <a:chOff x="5066738" y="1503569"/>
            <a:chExt cx="4826792" cy="4594918"/>
          </a:xfrm>
        </p:grpSpPr>
        <p:sp>
          <p:nvSpPr>
            <p:cNvPr id="8" name="Freeform 5">
              <a:extLst>
                <a:ext uri="{FF2B5EF4-FFF2-40B4-BE49-F238E27FC236}">
                  <a16:creationId xmlns:a16="http://schemas.microsoft.com/office/drawing/2014/main" id="{3E69FFD1-C6FF-4591-AF2C-88DFB145F2C5}"/>
                </a:ext>
              </a:extLst>
            </p:cNvPr>
            <p:cNvSpPr>
              <a:spLocks/>
            </p:cNvSpPr>
            <p:nvPr/>
          </p:nvSpPr>
          <p:spPr bwMode="auto">
            <a:xfrm>
              <a:off x="5558139" y="3718064"/>
              <a:ext cx="3251543" cy="2380423"/>
            </a:xfrm>
            <a:custGeom>
              <a:avLst/>
              <a:gdLst>
                <a:gd name="T0" fmla="*/ 49 w 3057"/>
                <a:gd name="T1" fmla="*/ 2238 h 2238"/>
                <a:gd name="T2" fmla="*/ 21 w 3057"/>
                <a:gd name="T3" fmla="*/ 2228 h 2238"/>
                <a:gd name="T4" fmla="*/ 4 w 3057"/>
                <a:gd name="T5" fmla="*/ 2207 h 2238"/>
                <a:gd name="T6" fmla="*/ 0 w 3057"/>
                <a:gd name="T7" fmla="*/ 1554 h 2238"/>
                <a:gd name="T8" fmla="*/ 4 w 3057"/>
                <a:gd name="T9" fmla="*/ 1536 h 2238"/>
                <a:gd name="T10" fmla="*/ 21 w 3057"/>
                <a:gd name="T11" fmla="*/ 1514 h 2238"/>
                <a:gd name="T12" fmla="*/ 49 w 3057"/>
                <a:gd name="T13" fmla="*/ 1506 h 2238"/>
                <a:gd name="T14" fmla="*/ 653 w 3057"/>
                <a:gd name="T15" fmla="*/ 863 h 2238"/>
                <a:gd name="T16" fmla="*/ 661 w 3057"/>
                <a:gd name="T17" fmla="*/ 835 h 2238"/>
                <a:gd name="T18" fmla="*/ 682 w 3057"/>
                <a:gd name="T19" fmla="*/ 817 h 2238"/>
                <a:gd name="T20" fmla="*/ 702 w 3057"/>
                <a:gd name="T21" fmla="*/ 814 h 2238"/>
                <a:gd name="T22" fmla="*/ 728 w 3057"/>
                <a:gd name="T23" fmla="*/ 822 h 2238"/>
                <a:gd name="T24" fmla="*/ 746 w 3057"/>
                <a:gd name="T25" fmla="*/ 843 h 2238"/>
                <a:gd name="T26" fmla="*/ 751 w 3057"/>
                <a:gd name="T27" fmla="*/ 1554 h 2238"/>
                <a:gd name="T28" fmla="*/ 746 w 3057"/>
                <a:gd name="T29" fmla="*/ 1574 h 2238"/>
                <a:gd name="T30" fmla="*/ 728 w 3057"/>
                <a:gd name="T31" fmla="*/ 1595 h 2238"/>
                <a:gd name="T32" fmla="*/ 702 w 3057"/>
                <a:gd name="T33" fmla="*/ 1603 h 2238"/>
                <a:gd name="T34" fmla="*/ 1897 w 3057"/>
                <a:gd name="T35" fmla="*/ 2140 h 2238"/>
                <a:gd name="T36" fmla="*/ 1898 w 3057"/>
                <a:gd name="T37" fmla="*/ 1388 h 2238"/>
                <a:gd name="T38" fmla="*/ 1911 w 3057"/>
                <a:gd name="T39" fmla="*/ 1364 h 2238"/>
                <a:gd name="T40" fmla="*/ 1936 w 3057"/>
                <a:gd name="T41" fmla="*/ 1351 h 2238"/>
                <a:gd name="T42" fmla="*/ 2505 w 3057"/>
                <a:gd name="T43" fmla="*/ 1349 h 2238"/>
                <a:gd name="T44" fmla="*/ 2533 w 3057"/>
                <a:gd name="T45" fmla="*/ 1359 h 2238"/>
                <a:gd name="T46" fmla="*/ 2551 w 3057"/>
                <a:gd name="T47" fmla="*/ 1380 h 2238"/>
                <a:gd name="T48" fmla="*/ 2554 w 3057"/>
                <a:gd name="T49" fmla="*/ 2083 h 2238"/>
                <a:gd name="T50" fmla="*/ 2955 w 3057"/>
                <a:gd name="T51" fmla="*/ 49 h 2238"/>
                <a:gd name="T52" fmla="*/ 2963 w 3057"/>
                <a:gd name="T53" fmla="*/ 21 h 2238"/>
                <a:gd name="T54" fmla="*/ 2984 w 3057"/>
                <a:gd name="T55" fmla="*/ 3 h 2238"/>
                <a:gd name="T56" fmla="*/ 3003 w 3057"/>
                <a:gd name="T57" fmla="*/ 0 h 2238"/>
                <a:gd name="T58" fmla="*/ 3023 w 3057"/>
                <a:gd name="T59" fmla="*/ 3 h 2238"/>
                <a:gd name="T60" fmla="*/ 3044 w 3057"/>
                <a:gd name="T61" fmla="*/ 21 h 2238"/>
                <a:gd name="T62" fmla="*/ 3052 w 3057"/>
                <a:gd name="T63" fmla="*/ 49 h 2238"/>
                <a:gd name="T64" fmla="*/ 3055 w 3057"/>
                <a:gd name="T65" fmla="*/ 2142 h 2238"/>
                <a:gd name="T66" fmla="*/ 3042 w 3057"/>
                <a:gd name="T67" fmla="*/ 2166 h 2238"/>
                <a:gd name="T68" fmla="*/ 3026 w 3057"/>
                <a:gd name="T69" fmla="*/ 2178 h 2238"/>
                <a:gd name="T70" fmla="*/ 2505 w 3057"/>
                <a:gd name="T71" fmla="*/ 2181 h 2238"/>
                <a:gd name="T72" fmla="*/ 2487 w 3057"/>
                <a:gd name="T73" fmla="*/ 2178 h 2238"/>
                <a:gd name="T74" fmla="*/ 2466 w 3057"/>
                <a:gd name="T75" fmla="*/ 2160 h 2238"/>
                <a:gd name="T76" fmla="*/ 2456 w 3057"/>
                <a:gd name="T77" fmla="*/ 2132 h 2238"/>
                <a:gd name="T78" fmla="*/ 1994 w 3057"/>
                <a:gd name="T79" fmla="*/ 2189 h 2238"/>
                <a:gd name="T80" fmla="*/ 1991 w 3057"/>
                <a:gd name="T81" fmla="*/ 2207 h 2238"/>
                <a:gd name="T82" fmla="*/ 1973 w 3057"/>
                <a:gd name="T83" fmla="*/ 2228 h 2238"/>
                <a:gd name="T84" fmla="*/ 1945 w 3057"/>
                <a:gd name="T85" fmla="*/ 2238 h 2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57" h="2238">
                  <a:moveTo>
                    <a:pt x="1945" y="2238"/>
                  </a:moveTo>
                  <a:lnTo>
                    <a:pt x="49" y="2238"/>
                  </a:lnTo>
                  <a:lnTo>
                    <a:pt x="49" y="2238"/>
                  </a:lnTo>
                  <a:lnTo>
                    <a:pt x="39" y="2236"/>
                  </a:lnTo>
                  <a:lnTo>
                    <a:pt x="30" y="2233"/>
                  </a:lnTo>
                  <a:lnTo>
                    <a:pt x="21" y="2228"/>
                  </a:lnTo>
                  <a:lnTo>
                    <a:pt x="15" y="2223"/>
                  </a:lnTo>
                  <a:lnTo>
                    <a:pt x="8" y="2215"/>
                  </a:lnTo>
                  <a:lnTo>
                    <a:pt x="4" y="2207"/>
                  </a:lnTo>
                  <a:lnTo>
                    <a:pt x="0" y="2199"/>
                  </a:lnTo>
                  <a:lnTo>
                    <a:pt x="0" y="2189"/>
                  </a:lnTo>
                  <a:lnTo>
                    <a:pt x="0" y="1554"/>
                  </a:lnTo>
                  <a:lnTo>
                    <a:pt x="0" y="1554"/>
                  </a:lnTo>
                  <a:lnTo>
                    <a:pt x="0" y="1545"/>
                  </a:lnTo>
                  <a:lnTo>
                    <a:pt x="4" y="1536"/>
                  </a:lnTo>
                  <a:lnTo>
                    <a:pt x="8" y="1527"/>
                  </a:lnTo>
                  <a:lnTo>
                    <a:pt x="15" y="1520"/>
                  </a:lnTo>
                  <a:lnTo>
                    <a:pt x="21" y="1514"/>
                  </a:lnTo>
                  <a:lnTo>
                    <a:pt x="30" y="1510"/>
                  </a:lnTo>
                  <a:lnTo>
                    <a:pt x="39" y="1507"/>
                  </a:lnTo>
                  <a:lnTo>
                    <a:pt x="49" y="1506"/>
                  </a:lnTo>
                  <a:lnTo>
                    <a:pt x="653" y="1506"/>
                  </a:lnTo>
                  <a:lnTo>
                    <a:pt x="653" y="863"/>
                  </a:lnTo>
                  <a:lnTo>
                    <a:pt x="653" y="863"/>
                  </a:lnTo>
                  <a:lnTo>
                    <a:pt x="653" y="853"/>
                  </a:lnTo>
                  <a:lnTo>
                    <a:pt x="656" y="843"/>
                  </a:lnTo>
                  <a:lnTo>
                    <a:pt x="661" y="835"/>
                  </a:lnTo>
                  <a:lnTo>
                    <a:pt x="666" y="828"/>
                  </a:lnTo>
                  <a:lnTo>
                    <a:pt x="674" y="822"/>
                  </a:lnTo>
                  <a:lnTo>
                    <a:pt x="682" y="817"/>
                  </a:lnTo>
                  <a:lnTo>
                    <a:pt x="692" y="814"/>
                  </a:lnTo>
                  <a:lnTo>
                    <a:pt x="702" y="814"/>
                  </a:lnTo>
                  <a:lnTo>
                    <a:pt x="702" y="814"/>
                  </a:lnTo>
                  <a:lnTo>
                    <a:pt x="712" y="814"/>
                  </a:lnTo>
                  <a:lnTo>
                    <a:pt x="720" y="817"/>
                  </a:lnTo>
                  <a:lnTo>
                    <a:pt x="728" y="822"/>
                  </a:lnTo>
                  <a:lnTo>
                    <a:pt x="736" y="828"/>
                  </a:lnTo>
                  <a:lnTo>
                    <a:pt x="741" y="835"/>
                  </a:lnTo>
                  <a:lnTo>
                    <a:pt x="746" y="843"/>
                  </a:lnTo>
                  <a:lnTo>
                    <a:pt x="749" y="853"/>
                  </a:lnTo>
                  <a:lnTo>
                    <a:pt x="751" y="863"/>
                  </a:lnTo>
                  <a:lnTo>
                    <a:pt x="751" y="1554"/>
                  </a:lnTo>
                  <a:lnTo>
                    <a:pt x="751" y="1554"/>
                  </a:lnTo>
                  <a:lnTo>
                    <a:pt x="749" y="1564"/>
                  </a:lnTo>
                  <a:lnTo>
                    <a:pt x="746" y="1574"/>
                  </a:lnTo>
                  <a:lnTo>
                    <a:pt x="741" y="1582"/>
                  </a:lnTo>
                  <a:lnTo>
                    <a:pt x="736" y="1589"/>
                  </a:lnTo>
                  <a:lnTo>
                    <a:pt x="728" y="1595"/>
                  </a:lnTo>
                  <a:lnTo>
                    <a:pt x="720" y="1600"/>
                  </a:lnTo>
                  <a:lnTo>
                    <a:pt x="712" y="1603"/>
                  </a:lnTo>
                  <a:lnTo>
                    <a:pt x="702" y="1603"/>
                  </a:lnTo>
                  <a:lnTo>
                    <a:pt x="98" y="1603"/>
                  </a:lnTo>
                  <a:lnTo>
                    <a:pt x="98" y="2140"/>
                  </a:lnTo>
                  <a:lnTo>
                    <a:pt x="1897" y="2140"/>
                  </a:lnTo>
                  <a:lnTo>
                    <a:pt x="1897" y="1398"/>
                  </a:lnTo>
                  <a:lnTo>
                    <a:pt x="1897" y="1398"/>
                  </a:lnTo>
                  <a:lnTo>
                    <a:pt x="1898" y="1388"/>
                  </a:lnTo>
                  <a:lnTo>
                    <a:pt x="1900" y="1380"/>
                  </a:lnTo>
                  <a:lnTo>
                    <a:pt x="1905" y="1372"/>
                  </a:lnTo>
                  <a:lnTo>
                    <a:pt x="1911" y="1364"/>
                  </a:lnTo>
                  <a:lnTo>
                    <a:pt x="1918" y="1359"/>
                  </a:lnTo>
                  <a:lnTo>
                    <a:pt x="1926" y="1354"/>
                  </a:lnTo>
                  <a:lnTo>
                    <a:pt x="1936" y="1351"/>
                  </a:lnTo>
                  <a:lnTo>
                    <a:pt x="1945" y="1349"/>
                  </a:lnTo>
                  <a:lnTo>
                    <a:pt x="2505" y="1349"/>
                  </a:lnTo>
                  <a:lnTo>
                    <a:pt x="2505" y="1349"/>
                  </a:lnTo>
                  <a:lnTo>
                    <a:pt x="2517" y="1351"/>
                  </a:lnTo>
                  <a:lnTo>
                    <a:pt x="2525" y="1354"/>
                  </a:lnTo>
                  <a:lnTo>
                    <a:pt x="2533" y="1359"/>
                  </a:lnTo>
                  <a:lnTo>
                    <a:pt x="2541" y="1364"/>
                  </a:lnTo>
                  <a:lnTo>
                    <a:pt x="2546" y="1372"/>
                  </a:lnTo>
                  <a:lnTo>
                    <a:pt x="2551" y="1380"/>
                  </a:lnTo>
                  <a:lnTo>
                    <a:pt x="2554" y="1388"/>
                  </a:lnTo>
                  <a:lnTo>
                    <a:pt x="2554" y="1398"/>
                  </a:lnTo>
                  <a:lnTo>
                    <a:pt x="2554" y="2083"/>
                  </a:lnTo>
                  <a:lnTo>
                    <a:pt x="2959" y="2083"/>
                  </a:lnTo>
                  <a:lnTo>
                    <a:pt x="2955" y="49"/>
                  </a:lnTo>
                  <a:lnTo>
                    <a:pt x="2955" y="49"/>
                  </a:lnTo>
                  <a:lnTo>
                    <a:pt x="2956" y="39"/>
                  </a:lnTo>
                  <a:lnTo>
                    <a:pt x="2958" y="29"/>
                  </a:lnTo>
                  <a:lnTo>
                    <a:pt x="2963" y="21"/>
                  </a:lnTo>
                  <a:lnTo>
                    <a:pt x="2969" y="15"/>
                  </a:lnTo>
                  <a:lnTo>
                    <a:pt x="2976" y="8"/>
                  </a:lnTo>
                  <a:lnTo>
                    <a:pt x="2984" y="3"/>
                  </a:lnTo>
                  <a:lnTo>
                    <a:pt x="2994" y="0"/>
                  </a:lnTo>
                  <a:lnTo>
                    <a:pt x="3003" y="0"/>
                  </a:lnTo>
                  <a:lnTo>
                    <a:pt x="3003" y="0"/>
                  </a:lnTo>
                  <a:lnTo>
                    <a:pt x="3003" y="0"/>
                  </a:lnTo>
                  <a:lnTo>
                    <a:pt x="3013" y="0"/>
                  </a:lnTo>
                  <a:lnTo>
                    <a:pt x="3023" y="3"/>
                  </a:lnTo>
                  <a:lnTo>
                    <a:pt x="3031" y="8"/>
                  </a:lnTo>
                  <a:lnTo>
                    <a:pt x="3038" y="13"/>
                  </a:lnTo>
                  <a:lnTo>
                    <a:pt x="3044" y="21"/>
                  </a:lnTo>
                  <a:lnTo>
                    <a:pt x="3049" y="29"/>
                  </a:lnTo>
                  <a:lnTo>
                    <a:pt x="3051" y="39"/>
                  </a:lnTo>
                  <a:lnTo>
                    <a:pt x="3052" y="49"/>
                  </a:lnTo>
                  <a:lnTo>
                    <a:pt x="3057" y="2132"/>
                  </a:lnTo>
                  <a:lnTo>
                    <a:pt x="3057" y="2132"/>
                  </a:lnTo>
                  <a:lnTo>
                    <a:pt x="3055" y="2142"/>
                  </a:lnTo>
                  <a:lnTo>
                    <a:pt x="3054" y="2152"/>
                  </a:lnTo>
                  <a:lnTo>
                    <a:pt x="3049" y="2160"/>
                  </a:lnTo>
                  <a:lnTo>
                    <a:pt x="3042" y="2166"/>
                  </a:lnTo>
                  <a:lnTo>
                    <a:pt x="3042" y="2166"/>
                  </a:lnTo>
                  <a:lnTo>
                    <a:pt x="3036" y="2173"/>
                  </a:lnTo>
                  <a:lnTo>
                    <a:pt x="3026" y="2178"/>
                  </a:lnTo>
                  <a:lnTo>
                    <a:pt x="3018" y="2181"/>
                  </a:lnTo>
                  <a:lnTo>
                    <a:pt x="3008" y="2181"/>
                  </a:lnTo>
                  <a:lnTo>
                    <a:pt x="2505" y="2181"/>
                  </a:lnTo>
                  <a:lnTo>
                    <a:pt x="2505" y="2181"/>
                  </a:lnTo>
                  <a:lnTo>
                    <a:pt x="2496" y="2181"/>
                  </a:lnTo>
                  <a:lnTo>
                    <a:pt x="2487" y="2178"/>
                  </a:lnTo>
                  <a:lnTo>
                    <a:pt x="2479" y="2173"/>
                  </a:lnTo>
                  <a:lnTo>
                    <a:pt x="2471" y="2166"/>
                  </a:lnTo>
                  <a:lnTo>
                    <a:pt x="2466" y="2160"/>
                  </a:lnTo>
                  <a:lnTo>
                    <a:pt x="2461" y="2152"/>
                  </a:lnTo>
                  <a:lnTo>
                    <a:pt x="2458" y="2142"/>
                  </a:lnTo>
                  <a:lnTo>
                    <a:pt x="2456" y="2132"/>
                  </a:lnTo>
                  <a:lnTo>
                    <a:pt x="2456" y="1447"/>
                  </a:lnTo>
                  <a:lnTo>
                    <a:pt x="1994" y="1447"/>
                  </a:lnTo>
                  <a:lnTo>
                    <a:pt x="1994" y="2189"/>
                  </a:lnTo>
                  <a:lnTo>
                    <a:pt x="1994" y="2189"/>
                  </a:lnTo>
                  <a:lnTo>
                    <a:pt x="1993" y="2199"/>
                  </a:lnTo>
                  <a:lnTo>
                    <a:pt x="1991" y="2207"/>
                  </a:lnTo>
                  <a:lnTo>
                    <a:pt x="1986" y="2215"/>
                  </a:lnTo>
                  <a:lnTo>
                    <a:pt x="1980" y="2223"/>
                  </a:lnTo>
                  <a:lnTo>
                    <a:pt x="1973" y="2228"/>
                  </a:lnTo>
                  <a:lnTo>
                    <a:pt x="1965" y="2233"/>
                  </a:lnTo>
                  <a:lnTo>
                    <a:pt x="1955" y="2236"/>
                  </a:lnTo>
                  <a:lnTo>
                    <a:pt x="1945" y="2238"/>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9" name="Freeform 6">
              <a:extLst>
                <a:ext uri="{FF2B5EF4-FFF2-40B4-BE49-F238E27FC236}">
                  <a16:creationId xmlns:a16="http://schemas.microsoft.com/office/drawing/2014/main" id="{1932277E-1C10-4F25-9BFC-21803A5AB14A}"/>
                </a:ext>
              </a:extLst>
            </p:cNvPr>
            <p:cNvSpPr>
              <a:spLocks/>
            </p:cNvSpPr>
            <p:nvPr/>
          </p:nvSpPr>
          <p:spPr bwMode="auto">
            <a:xfrm>
              <a:off x="5558139" y="3718064"/>
              <a:ext cx="3251543" cy="2380423"/>
            </a:xfrm>
            <a:custGeom>
              <a:avLst/>
              <a:gdLst>
                <a:gd name="T0" fmla="*/ 49 w 3057"/>
                <a:gd name="T1" fmla="*/ 2238 h 2238"/>
                <a:gd name="T2" fmla="*/ 21 w 3057"/>
                <a:gd name="T3" fmla="*/ 2228 h 2238"/>
                <a:gd name="T4" fmla="*/ 4 w 3057"/>
                <a:gd name="T5" fmla="*/ 2207 h 2238"/>
                <a:gd name="T6" fmla="*/ 0 w 3057"/>
                <a:gd name="T7" fmla="*/ 1554 h 2238"/>
                <a:gd name="T8" fmla="*/ 4 w 3057"/>
                <a:gd name="T9" fmla="*/ 1536 h 2238"/>
                <a:gd name="T10" fmla="*/ 21 w 3057"/>
                <a:gd name="T11" fmla="*/ 1514 h 2238"/>
                <a:gd name="T12" fmla="*/ 49 w 3057"/>
                <a:gd name="T13" fmla="*/ 1506 h 2238"/>
                <a:gd name="T14" fmla="*/ 653 w 3057"/>
                <a:gd name="T15" fmla="*/ 863 h 2238"/>
                <a:gd name="T16" fmla="*/ 661 w 3057"/>
                <a:gd name="T17" fmla="*/ 835 h 2238"/>
                <a:gd name="T18" fmla="*/ 682 w 3057"/>
                <a:gd name="T19" fmla="*/ 817 h 2238"/>
                <a:gd name="T20" fmla="*/ 702 w 3057"/>
                <a:gd name="T21" fmla="*/ 814 h 2238"/>
                <a:gd name="T22" fmla="*/ 728 w 3057"/>
                <a:gd name="T23" fmla="*/ 822 h 2238"/>
                <a:gd name="T24" fmla="*/ 746 w 3057"/>
                <a:gd name="T25" fmla="*/ 843 h 2238"/>
                <a:gd name="T26" fmla="*/ 751 w 3057"/>
                <a:gd name="T27" fmla="*/ 1554 h 2238"/>
                <a:gd name="T28" fmla="*/ 746 w 3057"/>
                <a:gd name="T29" fmla="*/ 1574 h 2238"/>
                <a:gd name="T30" fmla="*/ 728 w 3057"/>
                <a:gd name="T31" fmla="*/ 1595 h 2238"/>
                <a:gd name="T32" fmla="*/ 702 w 3057"/>
                <a:gd name="T33" fmla="*/ 1603 h 2238"/>
                <a:gd name="T34" fmla="*/ 1897 w 3057"/>
                <a:gd name="T35" fmla="*/ 2140 h 2238"/>
                <a:gd name="T36" fmla="*/ 1898 w 3057"/>
                <a:gd name="T37" fmla="*/ 1388 h 2238"/>
                <a:gd name="T38" fmla="*/ 1911 w 3057"/>
                <a:gd name="T39" fmla="*/ 1364 h 2238"/>
                <a:gd name="T40" fmla="*/ 1936 w 3057"/>
                <a:gd name="T41" fmla="*/ 1351 h 2238"/>
                <a:gd name="T42" fmla="*/ 2505 w 3057"/>
                <a:gd name="T43" fmla="*/ 1349 h 2238"/>
                <a:gd name="T44" fmla="*/ 2533 w 3057"/>
                <a:gd name="T45" fmla="*/ 1359 h 2238"/>
                <a:gd name="T46" fmla="*/ 2551 w 3057"/>
                <a:gd name="T47" fmla="*/ 1380 h 2238"/>
                <a:gd name="T48" fmla="*/ 2554 w 3057"/>
                <a:gd name="T49" fmla="*/ 2083 h 2238"/>
                <a:gd name="T50" fmla="*/ 2955 w 3057"/>
                <a:gd name="T51" fmla="*/ 49 h 2238"/>
                <a:gd name="T52" fmla="*/ 2963 w 3057"/>
                <a:gd name="T53" fmla="*/ 21 h 2238"/>
                <a:gd name="T54" fmla="*/ 2984 w 3057"/>
                <a:gd name="T55" fmla="*/ 3 h 2238"/>
                <a:gd name="T56" fmla="*/ 3003 w 3057"/>
                <a:gd name="T57" fmla="*/ 0 h 2238"/>
                <a:gd name="T58" fmla="*/ 3023 w 3057"/>
                <a:gd name="T59" fmla="*/ 3 h 2238"/>
                <a:gd name="T60" fmla="*/ 3044 w 3057"/>
                <a:gd name="T61" fmla="*/ 21 h 2238"/>
                <a:gd name="T62" fmla="*/ 3052 w 3057"/>
                <a:gd name="T63" fmla="*/ 49 h 2238"/>
                <a:gd name="T64" fmla="*/ 3055 w 3057"/>
                <a:gd name="T65" fmla="*/ 2142 h 2238"/>
                <a:gd name="T66" fmla="*/ 3042 w 3057"/>
                <a:gd name="T67" fmla="*/ 2166 h 2238"/>
                <a:gd name="T68" fmla="*/ 3026 w 3057"/>
                <a:gd name="T69" fmla="*/ 2178 h 2238"/>
                <a:gd name="T70" fmla="*/ 2505 w 3057"/>
                <a:gd name="T71" fmla="*/ 2181 h 2238"/>
                <a:gd name="T72" fmla="*/ 2487 w 3057"/>
                <a:gd name="T73" fmla="*/ 2178 h 2238"/>
                <a:gd name="T74" fmla="*/ 2466 w 3057"/>
                <a:gd name="T75" fmla="*/ 2160 h 2238"/>
                <a:gd name="T76" fmla="*/ 2456 w 3057"/>
                <a:gd name="T77" fmla="*/ 2132 h 2238"/>
                <a:gd name="T78" fmla="*/ 1994 w 3057"/>
                <a:gd name="T79" fmla="*/ 2189 h 2238"/>
                <a:gd name="T80" fmla="*/ 1991 w 3057"/>
                <a:gd name="T81" fmla="*/ 2207 h 2238"/>
                <a:gd name="T82" fmla="*/ 1973 w 3057"/>
                <a:gd name="T83" fmla="*/ 2228 h 2238"/>
                <a:gd name="T84" fmla="*/ 1945 w 3057"/>
                <a:gd name="T85" fmla="*/ 2238 h 2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57" h="2238">
                  <a:moveTo>
                    <a:pt x="1945" y="2238"/>
                  </a:moveTo>
                  <a:lnTo>
                    <a:pt x="49" y="2238"/>
                  </a:lnTo>
                  <a:lnTo>
                    <a:pt x="49" y="2238"/>
                  </a:lnTo>
                  <a:lnTo>
                    <a:pt x="39" y="2236"/>
                  </a:lnTo>
                  <a:lnTo>
                    <a:pt x="30" y="2233"/>
                  </a:lnTo>
                  <a:lnTo>
                    <a:pt x="21" y="2228"/>
                  </a:lnTo>
                  <a:lnTo>
                    <a:pt x="15" y="2223"/>
                  </a:lnTo>
                  <a:lnTo>
                    <a:pt x="8" y="2215"/>
                  </a:lnTo>
                  <a:lnTo>
                    <a:pt x="4" y="2207"/>
                  </a:lnTo>
                  <a:lnTo>
                    <a:pt x="0" y="2199"/>
                  </a:lnTo>
                  <a:lnTo>
                    <a:pt x="0" y="2189"/>
                  </a:lnTo>
                  <a:lnTo>
                    <a:pt x="0" y="1554"/>
                  </a:lnTo>
                  <a:lnTo>
                    <a:pt x="0" y="1554"/>
                  </a:lnTo>
                  <a:lnTo>
                    <a:pt x="0" y="1545"/>
                  </a:lnTo>
                  <a:lnTo>
                    <a:pt x="4" y="1536"/>
                  </a:lnTo>
                  <a:lnTo>
                    <a:pt x="8" y="1527"/>
                  </a:lnTo>
                  <a:lnTo>
                    <a:pt x="15" y="1520"/>
                  </a:lnTo>
                  <a:lnTo>
                    <a:pt x="21" y="1514"/>
                  </a:lnTo>
                  <a:lnTo>
                    <a:pt x="30" y="1510"/>
                  </a:lnTo>
                  <a:lnTo>
                    <a:pt x="39" y="1507"/>
                  </a:lnTo>
                  <a:lnTo>
                    <a:pt x="49" y="1506"/>
                  </a:lnTo>
                  <a:lnTo>
                    <a:pt x="653" y="1506"/>
                  </a:lnTo>
                  <a:lnTo>
                    <a:pt x="653" y="863"/>
                  </a:lnTo>
                  <a:lnTo>
                    <a:pt x="653" y="863"/>
                  </a:lnTo>
                  <a:lnTo>
                    <a:pt x="653" y="853"/>
                  </a:lnTo>
                  <a:lnTo>
                    <a:pt x="656" y="843"/>
                  </a:lnTo>
                  <a:lnTo>
                    <a:pt x="661" y="835"/>
                  </a:lnTo>
                  <a:lnTo>
                    <a:pt x="666" y="828"/>
                  </a:lnTo>
                  <a:lnTo>
                    <a:pt x="674" y="822"/>
                  </a:lnTo>
                  <a:lnTo>
                    <a:pt x="682" y="817"/>
                  </a:lnTo>
                  <a:lnTo>
                    <a:pt x="692" y="814"/>
                  </a:lnTo>
                  <a:lnTo>
                    <a:pt x="702" y="814"/>
                  </a:lnTo>
                  <a:lnTo>
                    <a:pt x="702" y="814"/>
                  </a:lnTo>
                  <a:lnTo>
                    <a:pt x="712" y="814"/>
                  </a:lnTo>
                  <a:lnTo>
                    <a:pt x="720" y="817"/>
                  </a:lnTo>
                  <a:lnTo>
                    <a:pt x="728" y="822"/>
                  </a:lnTo>
                  <a:lnTo>
                    <a:pt x="736" y="828"/>
                  </a:lnTo>
                  <a:lnTo>
                    <a:pt x="741" y="835"/>
                  </a:lnTo>
                  <a:lnTo>
                    <a:pt x="746" y="843"/>
                  </a:lnTo>
                  <a:lnTo>
                    <a:pt x="749" y="853"/>
                  </a:lnTo>
                  <a:lnTo>
                    <a:pt x="751" y="863"/>
                  </a:lnTo>
                  <a:lnTo>
                    <a:pt x="751" y="1554"/>
                  </a:lnTo>
                  <a:lnTo>
                    <a:pt x="751" y="1554"/>
                  </a:lnTo>
                  <a:lnTo>
                    <a:pt x="749" y="1564"/>
                  </a:lnTo>
                  <a:lnTo>
                    <a:pt x="746" y="1574"/>
                  </a:lnTo>
                  <a:lnTo>
                    <a:pt x="741" y="1582"/>
                  </a:lnTo>
                  <a:lnTo>
                    <a:pt x="736" y="1589"/>
                  </a:lnTo>
                  <a:lnTo>
                    <a:pt x="728" y="1595"/>
                  </a:lnTo>
                  <a:lnTo>
                    <a:pt x="720" y="1600"/>
                  </a:lnTo>
                  <a:lnTo>
                    <a:pt x="712" y="1603"/>
                  </a:lnTo>
                  <a:lnTo>
                    <a:pt x="702" y="1603"/>
                  </a:lnTo>
                  <a:lnTo>
                    <a:pt x="98" y="1603"/>
                  </a:lnTo>
                  <a:lnTo>
                    <a:pt x="98" y="2140"/>
                  </a:lnTo>
                  <a:lnTo>
                    <a:pt x="1897" y="2140"/>
                  </a:lnTo>
                  <a:lnTo>
                    <a:pt x="1897" y="1398"/>
                  </a:lnTo>
                  <a:lnTo>
                    <a:pt x="1897" y="1398"/>
                  </a:lnTo>
                  <a:lnTo>
                    <a:pt x="1898" y="1388"/>
                  </a:lnTo>
                  <a:lnTo>
                    <a:pt x="1900" y="1380"/>
                  </a:lnTo>
                  <a:lnTo>
                    <a:pt x="1905" y="1372"/>
                  </a:lnTo>
                  <a:lnTo>
                    <a:pt x="1911" y="1364"/>
                  </a:lnTo>
                  <a:lnTo>
                    <a:pt x="1918" y="1359"/>
                  </a:lnTo>
                  <a:lnTo>
                    <a:pt x="1926" y="1354"/>
                  </a:lnTo>
                  <a:lnTo>
                    <a:pt x="1936" y="1351"/>
                  </a:lnTo>
                  <a:lnTo>
                    <a:pt x="1945" y="1349"/>
                  </a:lnTo>
                  <a:lnTo>
                    <a:pt x="2505" y="1349"/>
                  </a:lnTo>
                  <a:lnTo>
                    <a:pt x="2505" y="1349"/>
                  </a:lnTo>
                  <a:lnTo>
                    <a:pt x="2517" y="1351"/>
                  </a:lnTo>
                  <a:lnTo>
                    <a:pt x="2525" y="1354"/>
                  </a:lnTo>
                  <a:lnTo>
                    <a:pt x="2533" y="1359"/>
                  </a:lnTo>
                  <a:lnTo>
                    <a:pt x="2541" y="1364"/>
                  </a:lnTo>
                  <a:lnTo>
                    <a:pt x="2546" y="1372"/>
                  </a:lnTo>
                  <a:lnTo>
                    <a:pt x="2551" y="1380"/>
                  </a:lnTo>
                  <a:lnTo>
                    <a:pt x="2554" y="1388"/>
                  </a:lnTo>
                  <a:lnTo>
                    <a:pt x="2554" y="1398"/>
                  </a:lnTo>
                  <a:lnTo>
                    <a:pt x="2554" y="2083"/>
                  </a:lnTo>
                  <a:lnTo>
                    <a:pt x="2959" y="2083"/>
                  </a:lnTo>
                  <a:lnTo>
                    <a:pt x="2955" y="49"/>
                  </a:lnTo>
                  <a:lnTo>
                    <a:pt x="2955" y="49"/>
                  </a:lnTo>
                  <a:lnTo>
                    <a:pt x="2956" y="39"/>
                  </a:lnTo>
                  <a:lnTo>
                    <a:pt x="2958" y="29"/>
                  </a:lnTo>
                  <a:lnTo>
                    <a:pt x="2963" y="21"/>
                  </a:lnTo>
                  <a:lnTo>
                    <a:pt x="2969" y="15"/>
                  </a:lnTo>
                  <a:lnTo>
                    <a:pt x="2976" y="8"/>
                  </a:lnTo>
                  <a:lnTo>
                    <a:pt x="2984" y="3"/>
                  </a:lnTo>
                  <a:lnTo>
                    <a:pt x="2994" y="0"/>
                  </a:lnTo>
                  <a:lnTo>
                    <a:pt x="3003" y="0"/>
                  </a:lnTo>
                  <a:lnTo>
                    <a:pt x="3003" y="0"/>
                  </a:lnTo>
                  <a:lnTo>
                    <a:pt x="3003" y="0"/>
                  </a:lnTo>
                  <a:lnTo>
                    <a:pt x="3013" y="0"/>
                  </a:lnTo>
                  <a:lnTo>
                    <a:pt x="3023" y="3"/>
                  </a:lnTo>
                  <a:lnTo>
                    <a:pt x="3031" y="8"/>
                  </a:lnTo>
                  <a:lnTo>
                    <a:pt x="3038" y="13"/>
                  </a:lnTo>
                  <a:lnTo>
                    <a:pt x="3044" y="21"/>
                  </a:lnTo>
                  <a:lnTo>
                    <a:pt x="3049" y="29"/>
                  </a:lnTo>
                  <a:lnTo>
                    <a:pt x="3051" y="39"/>
                  </a:lnTo>
                  <a:lnTo>
                    <a:pt x="3052" y="49"/>
                  </a:lnTo>
                  <a:lnTo>
                    <a:pt x="3057" y="2132"/>
                  </a:lnTo>
                  <a:lnTo>
                    <a:pt x="3057" y="2132"/>
                  </a:lnTo>
                  <a:lnTo>
                    <a:pt x="3055" y="2142"/>
                  </a:lnTo>
                  <a:lnTo>
                    <a:pt x="3054" y="2152"/>
                  </a:lnTo>
                  <a:lnTo>
                    <a:pt x="3049" y="2160"/>
                  </a:lnTo>
                  <a:lnTo>
                    <a:pt x="3042" y="2166"/>
                  </a:lnTo>
                  <a:lnTo>
                    <a:pt x="3042" y="2166"/>
                  </a:lnTo>
                  <a:lnTo>
                    <a:pt x="3036" y="2173"/>
                  </a:lnTo>
                  <a:lnTo>
                    <a:pt x="3026" y="2178"/>
                  </a:lnTo>
                  <a:lnTo>
                    <a:pt x="3018" y="2181"/>
                  </a:lnTo>
                  <a:lnTo>
                    <a:pt x="3008" y="2181"/>
                  </a:lnTo>
                  <a:lnTo>
                    <a:pt x="2505" y="2181"/>
                  </a:lnTo>
                  <a:lnTo>
                    <a:pt x="2505" y="2181"/>
                  </a:lnTo>
                  <a:lnTo>
                    <a:pt x="2496" y="2181"/>
                  </a:lnTo>
                  <a:lnTo>
                    <a:pt x="2487" y="2178"/>
                  </a:lnTo>
                  <a:lnTo>
                    <a:pt x="2479" y="2173"/>
                  </a:lnTo>
                  <a:lnTo>
                    <a:pt x="2471" y="2166"/>
                  </a:lnTo>
                  <a:lnTo>
                    <a:pt x="2466" y="2160"/>
                  </a:lnTo>
                  <a:lnTo>
                    <a:pt x="2461" y="2152"/>
                  </a:lnTo>
                  <a:lnTo>
                    <a:pt x="2458" y="2142"/>
                  </a:lnTo>
                  <a:lnTo>
                    <a:pt x="2456" y="2132"/>
                  </a:lnTo>
                  <a:lnTo>
                    <a:pt x="2456" y="1447"/>
                  </a:lnTo>
                  <a:lnTo>
                    <a:pt x="1994" y="1447"/>
                  </a:lnTo>
                  <a:lnTo>
                    <a:pt x="1994" y="2189"/>
                  </a:lnTo>
                  <a:lnTo>
                    <a:pt x="1994" y="2189"/>
                  </a:lnTo>
                  <a:lnTo>
                    <a:pt x="1993" y="2199"/>
                  </a:lnTo>
                  <a:lnTo>
                    <a:pt x="1991" y="2207"/>
                  </a:lnTo>
                  <a:lnTo>
                    <a:pt x="1986" y="2215"/>
                  </a:lnTo>
                  <a:lnTo>
                    <a:pt x="1980" y="2223"/>
                  </a:lnTo>
                  <a:lnTo>
                    <a:pt x="1973" y="2228"/>
                  </a:lnTo>
                  <a:lnTo>
                    <a:pt x="1965" y="2233"/>
                  </a:lnTo>
                  <a:lnTo>
                    <a:pt x="1955" y="2236"/>
                  </a:lnTo>
                  <a:lnTo>
                    <a:pt x="1945" y="22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0" name="Freeform 7">
              <a:extLst>
                <a:ext uri="{FF2B5EF4-FFF2-40B4-BE49-F238E27FC236}">
                  <a16:creationId xmlns:a16="http://schemas.microsoft.com/office/drawing/2014/main" id="{A1491329-2A90-411B-AD39-79EFC97CCFEF}"/>
                </a:ext>
              </a:extLst>
            </p:cNvPr>
            <p:cNvSpPr>
              <a:spLocks noEditPoints="1"/>
            </p:cNvSpPr>
            <p:nvPr/>
          </p:nvSpPr>
          <p:spPr bwMode="auto">
            <a:xfrm>
              <a:off x="8415072" y="2542744"/>
              <a:ext cx="662647" cy="610528"/>
            </a:xfrm>
            <a:custGeom>
              <a:avLst/>
              <a:gdLst>
                <a:gd name="T0" fmla="*/ 553 w 623"/>
                <a:gd name="T1" fmla="*/ 11 h 574"/>
                <a:gd name="T2" fmla="*/ 475 w 623"/>
                <a:gd name="T3" fmla="*/ 50 h 574"/>
                <a:gd name="T4" fmla="*/ 433 w 623"/>
                <a:gd name="T5" fmla="*/ 133 h 574"/>
                <a:gd name="T6" fmla="*/ 382 w 623"/>
                <a:gd name="T7" fmla="*/ 117 h 574"/>
                <a:gd name="T8" fmla="*/ 404 w 623"/>
                <a:gd name="T9" fmla="*/ 78 h 574"/>
                <a:gd name="T10" fmla="*/ 386 w 623"/>
                <a:gd name="T11" fmla="*/ 31 h 574"/>
                <a:gd name="T12" fmla="*/ 311 w 623"/>
                <a:gd name="T13" fmla="*/ 0 h 574"/>
                <a:gd name="T14" fmla="*/ 249 w 623"/>
                <a:gd name="T15" fmla="*/ 21 h 574"/>
                <a:gd name="T16" fmla="*/ 220 w 623"/>
                <a:gd name="T17" fmla="*/ 68 h 574"/>
                <a:gd name="T18" fmla="*/ 233 w 623"/>
                <a:gd name="T19" fmla="*/ 109 h 574"/>
                <a:gd name="T20" fmla="*/ 190 w 623"/>
                <a:gd name="T21" fmla="*/ 133 h 574"/>
                <a:gd name="T22" fmla="*/ 148 w 623"/>
                <a:gd name="T23" fmla="*/ 50 h 574"/>
                <a:gd name="T24" fmla="*/ 85 w 623"/>
                <a:gd name="T25" fmla="*/ 13 h 574"/>
                <a:gd name="T26" fmla="*/ 33 w 623"/>
                <a:gd name="T27" fmla="*/ 21 h 574"/>
                <a:gd name="T28" fmla="*/ 2 w 623"/>
                <a:gd name="T29" fmla="*/ 58 h 574"/>
                <a:gd name="T30" fmla="*/ 5 w 623"/>
                <a:gd name="T31" fmla="*/ 97 h 574"/>
                <a:gd name="T32" fmla="*/ 39 w 623"/>
                <a:gd name="T33" fmla="*/ 141 h 574"/>
                <a:gd name="T34" fmla="*/ 104 w 623"/>
                <a:gd name="T35" fmla="*/ 172 h 574"/>
                <a:gd name="T36" fmla="*/ 174 w 623"/>
                <a:gd name="T37" fmla="*/ 276 h 574"/>
                <a:gd name="T38" fmla="*/ 200 w 623"/>
                <a:gd name="T39" fmla="*/ 551 h 574"/>
                <a:gd name="T40" fmla="*/ 220 w 623"/>
                <a:gd name="T41" fmla="*/ 574 h 574"/>
                <a:gd name="T42" fmla="*/ 246 w 623"/>
                <a:gd name="T43" fmla="*/ 560 h 574"/>
                <a:gd name="T44" fmla="*/ 233 w 623"/>
                <a:gd name="T45" fmla="*/ 351 h 574"/>
                <a:gd name="T46" fmla="*/ 226 w 623"/>
                <a:gd name="T47" fmla="*/ 177 h 574"/>
                <a:gd name="T48" fmla="*/ 311 w 623"/>
                <a:gd name="T49" fmla="*/ 154 h 574"/>
                <a:gd name="T50" fmla="*/ 373 w 623"/>
                <a:gd name="T51" fmla="*/ 172 h 574"/>
                <a:gd name="T52" fmla="*/ 397 w 623"/>
                <a:gd name="T53" fmla="*/ 293 h 574"/>
                <a:gd name="T54" fmla="*/ 376 w 623"/>
                <a:gd name="T55" fmla="*/ 550 h 574"/>
                <a:gd name="T56" fmla="*/ 399 w 623"/>
                <a:gd name="T57" fmla="*/ 574 h 574"/>
                <a:gd name="T58" fmla="*/ 423 w 623"/>
                <a:gd name="T59" fmla="*/ 551 h 574"/>
                <a:gd name="T60" fmla="*/ 441 w 623"/>
                <a:gd name="T61" fmla="*/ 328 h 574"/>
                <a:gd name="T62" fmla="*/ 493 w 623"/>
                <a:gd name="T63" fmla="*/ 177 h 574"/>
                <a:gd name="T64" fmla="*/ 575 w 623"/>
                <a:gd name="T65" fmla="*/ 149 h 574"/>
                <a:gd name="T66" fmla="*/ 614 w 623"/>
                <a:gd name="T67" fmla="*/ 107 h 574"/>
                <a:gd name="T68" fmla="*/ 623 w 623"/>
                <a:gd name="T69" fmla="*/ 66 h 574"/>
                <a:gd name="T70" fmla="*/ 599 w 623"/>
                <a:gd name="T71" fmla="*/ 26 h 574"/>
                <a:gd name="T72" fmla="*/ 59 w 623"/>
                <a:gd name="T73" fmla="*/ 96 h 574"/>
                <a:gd name="T74" fmla="*/ 49 w 623"/>
                <a:gd name="T75" fmla="*/ 68 h 574"/>
                <a:gd name="T76" fmla="*/ 65 w 623"/>
                <a:gd name="T77" fmla="*/ 58 h 574"/>
                <a:gd name="T78" fmla="*/ 104 w 623"/>
                <a:gd name="T79" fmla="*/ 73 h 574"/>
                <a:gd name="T80" fmla="*/ 133 w 623"/>
                <a:gd name="T81" fmla="*/ 115 h 574"/>
                <a:gd name="T82" fmla="*/ 94 w 623"/>
                <a:gd name="T83" fmla="*/ 120 h 574"/>
                <a:gd name="T84" fmla="*/ 277 w 623"/>
                <a:gd name="T85" fmla="*/ 84 h 574"/>
                <a:gd name="T86" fmla="*/ 269 w 623"/>
                <a:gd name="T87" fmla="*/ 68 h 574"/>
                <a:gd name="T88" fmla="*/ 311 w 623"/>
                <a:gd name="T89" fmla="*/ 47 h 574"/>
                <a:gd name="T90" fmla="*/ 352 w 623"/>
                <a:gd name="T91" fmla="*/ 63 h 574"/>
                <a:gd name="T92" fmla="*/ 355 w 623"/>
                <a:gd name="T93" fmla="*/ 76 h 574"/>
                <a:gd name="T94" fmla="*/ 542 w 623"/>
                <a:gd name="T95" fmla="*/ 114 h 574"/>
                <a:gd name="T96" fmla="*/ 482 w 623"/>
                <a:gd name="T97" fmla="*/ 131 h 574"/>
                <a:gd name="T98" fmla="*/ 509 w 623"/>
                <a:gd name="T99" fmla="*/ 81 h 574"/>
                <a:gd name="T100" fmla="*/ 550 w 623"/>
                <a:gd name="T101" fmla="*/ 58 h 574"/>
                <a:gd name="T102" fmla="*/ 571 w 623"/>
                <a:gd name="T103" fmla="*/ 65 h 574"/>
                <a:gd name="T104" fmla="*/ 571 w 623"/>
                <a:gd name="T105" fmla="*/ 86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3" h="574">
                  <a:moveTo>
                    <a:pt x="591" y="21"/>
                  </a:moveTo>
                  <a:lnTo>
                    <a:pt x="591" y="21"/>
                  </a:lnTo>
                  <a:lnTo>
                    <a:pt x="579" y="16"/>
                  </a:lnTo>
                  <a:lnTo>
                    <a:pt x="566" y="13"/>
                  </a:lnTo>
                  <a:lnTo>
                    <a:pt x="553" y="11"/>
                  </a:lnTo>
                  <a:lnTo>
                    <a:pt x="539" y="13"/>
                  </a:lnTo>
                  <a:lnTo>
                    <a:pt x="522" y="16"/>
                  </a:lnTo>
                  <a:lnTo>
                    <a:pt x="508" y="24"/>
                  </a:lnTo>
                  <a:lnTo>
                    <a:pt x="492" y="35"/>
                  </a:lnTo>
                  <a:lnTo>
                    <a:pt x="475" y="50"/>
                  </a:lnTo>
                  <a:lnTo>
                    <a:pt x="475" y="50"/>
                  </a:lnTo>
                  <a:lnTo>
                    <a:pt x="462" y="65"/>
                  </a:lnTo>
                  <a:lnTo>
                    <a:pt x="452" y="84"/>
                  </a:lnTo>
                  <a:lnTo>
                    <a:pt x="441" y="107"/>
                  </a:lnTo>
                  <a:lnTo>
                    <a:pt x="433" y="133"/>
                  </a:lnTo>
                  <a:lnTo>
                    <a:pt x="433" y="133"/>
                  </a:lnTo>
                  <a:lnTo>
                    <a:pt x="402" y="130"/>
                  </a:lnTo>
                  <a:lnTo>
                    <a:pt x="371" y="123"/>
                  </a:lnTo>
                  <a:lnTo>
                    <a:pt x="371" y="123"/>
                  </a:lnTo>
                  <a:lnTo>
                    <a:pt x="382" y="117"/>
                  </a:lnTo>
                  <a:lnTo>
                    <a:pt x="389" y="109"/>
                  </a:lnTo>
                  <a:lnTo>
                    <a:pt x="395" y="101"/>
                  </a:lnTo>
                  <a:lnTo>
                    <a:pt x="399" y="92"/>
                  </a:lnTo>
                  <a:lnTo>
                    <a:pt x="402" y="84"/>
                  </a:lnTo>
                  <a:lnTo>
                    <a:pt x="404" y="78"/>
                  </a:lnTo>
                  <a:lnTo>
                    <a:pt x="404" y="68"/>
                  </a:lnTo>
                  <a:lnTo>
                    <a:pt x="404" y="68"/>
                  </a:lnTo>
                  <a:lnTo>
                    <a:pt x="400" y="55"/>
                  </a:lnTo>
                  <a:lnTo>
                    <a:pt x="395" y="42"/>
                  </a:lnTo>
                  <a:lnTo>
                    <a:pt x="386" y="31"/>
                  </a:lnTo>
                  <a:lnTo>
                    <a:pt x="374" y="21"/>
                  </a:lnTo>
                  <a:lnTo>
                    <a:pt x="361" y="11"/>
                  </a:lnTo>
                  <a:lnTo>
                    <a:pt x="345" y="5"/>
                  </a:lnTo>
                  <a:lnTo>
                    <a:pt x="329" y="1"/>
                  </a:lnTo>
                  <a:lnTo>
                    <a:pt x="311" y="0"/>
                  </a:lnTo>
                  <a:lnTo>
                    <a:pt x="311" y="0"/>
                  </a:lnTo>
                  <a:lnTo>
                    <a:pt x="295" y="1"/>
                  </a:lnTo>
                  <a:lnTo>
                    <a:pt x="277" y="5"/>
                  </a:lnTo>
                  <a:lnTo>
                    <a:pt x="262" y="11"/>
                  </a:lnTo>
                  <a:lnTo>
                    <a:pt x="249" y="21"/>
                  </a:lnTo>
                  <a:lnTo>
                    <a:pt x="238" y="31"/>
                  </a:lnTo>
                  <a:lnTo>
                    <a:pt x="228" y="42"/>
                  </a:lnTo>
                  <a:lnTo>
                    <a:pt x="221" y="55"/>
                  </a:lnTo>
                  <a:lnTo>
                    <a:pt x="220" y="68"/>
                  </a:lnTo>
                  <a:lnTo>
                    <a:pt x="220" y="68"/>
                  </a:lnTo>
                  <a:lnTo>
                    <a:pt x="220" y="78"/>
                  </a:lnTo>
                  <a:lnTo>
                    <a:pt x="221" y="84"/>
                  </a:lnTo>
                  <a:lnTo>
                    <a:pt x="223" y="92"/>
                  </a:lnTo>
                  <a:lnTo>
                    <a:pt x="228" y="101"/>
                  </a:lnTo>
                  <a:lnTo>
                    <a:pt x="233" y="109"/>
                  </a:lnTo>
                  <a:lnTo>
                    <a:pt x="241" y="117"/>
                  </a:lnTo>
                  <a:lnTo>
                    <a:pt x="251" y="123"/>
                  </a:lnTo>
                  <a:lnTo>
                    <a:pt x="251" y="123"/>
                  </a:lnTo>
                  <a:lnTo>
                    <a:pt x="221" y="130"/>
                  </a:lnTo>
                  <a:lnTo>
                    <a:pt x="190" y="133"/>
                  </a:lnTo>
                  <a:lnTo>
                    <a:pt x="190" y="133"/>
                  </a:lnTo>
                  <a:lnTo>
                    <a:pt x="181" y="107"/>
                  </a:lnTo>
                  <a:lnTo>
                    <a:pt x="171" y="84"/>
                  </a:lnTo>
                  <a:lnTo>
                    <a:pt x="159" y="65"/>
                  </a:lnTo>
                  <a:lnTo>
                    <a:pt x="148" y="50"/>
                  </a:lnTo>
                  <a:lnTo>
                    <a:pt x="148" y="50"/>
                  </a:lnTo>
                  <a:lnTo>
                    <a:pt x="132" y="35"/>
                  </a:lnTo>
                  <a:lnTo>
                    <a:pt x="116" y="24"/>
                  </a:lnTo>
                  <a:lnTo>
                    <a:pt x="99" y="16"/>
                  </a:lnTo>
                  <a:lnTo>
                    <a:pt x="85" y="13"/>
                  </a:lnTo>
                  <a:lnTo>
                    <a:pt x="70" y="11"/>
                  </a:lnTo>
                  <a:lnTo>
                    <a:pt x="55" y="13"/>
                  </a:lnTo>
                  <a:lnTo>
                    <a:pt x="42" y="16"/>
                  </a:lnTo>
                  <a:lnTo>
                    <a:pt x="33" y="21"/>
                  </a:lnTo>
                  <a:lnTo>
                    <a:pt x="33" y="21"/>
                  </a:lnTo>
                  <a:lnTo>
                    <a:pt x="23" y="26"/>
                  </a:lnTo>
                  <a:lnTo>
                    <a:pt x="16" y="32"/>
                  </a:lnTo>
                  <a:lnTo>
                    <a:pt x="10" y="40"/>
                  </a:lnTo>
                  <a:lnTo>
                    <a:pt x="5" y="48"/>
                  </a:lnTo>
                  <a:lnTo>
                    <a:pt x="2" y="58"/>
                  </a:lnTo>
                  <a:lnTo>
                    <a:pt x="0" y="66"/>
                  </a:lnTo>
                  <a:lnTo>
                    <a:pt x="0" y="76"/>
                  </a:lnTo>
                  <a:lnTo>
                    <a:pt x="2" y="86"/>
                  </a:lnTo>
                  <a:lnTo>
                    <a:pt x="2" y="86"/>
                  </a:lnTo>
                  <a:lnTo>
                    <a:pt x="5" y="97"/>
                  </a:lnTo>
                  <a:lnTo>
                    <a:pt x="10" y="107"/>
                  </a:lnTo>
                  <a:lnTo>
                    <a:pt x="15" y="117"/>
                  </a:lnTo>
                  <a:lnTo>
                    <a:pt x="21" y="125"/>
                  </a:lnTo>
                  <a:lnTo>
                    <a:pt x="29" y="135"/>
                  </a:lnTo>
                  <a:lnTo>
                    <a:pt x="39" y="141"/>
                  </a:lnTo>
                  <a:lnTo>
                    <a:pt x="47" y="149"/>
                  </a:lnTo>
                  <a:lnTo>
                    <a:pt x="59" y="156"/>
                  </a:lnTo>
                  <a:lnTo>
                    <a:pt x="59" y="156"/>
                  </a:lnTo>
                  <a:lnTo>
                    <a:pt x="80" y="166"/>
                  </a:lnTo>
                  <a:lnTo>
                    <a:pt x="104" y="172"/>
                  </a:lnTo>
                  <a:lnTo>
                    <a:pt x="129" y="177"/>
                  </a:lnTo>
                  <a:lnTo>
                    <a:pt x="155" y="180"/>
                  </a:lnTo>
                  <a:lnTo>
                    <a:pt x="155" y="180"/>
                  </a:lnTo>
                  <a:lnTo>
                    <a:pt x="166" y="226"/>
                  </a:lnTo>
                  <a:lnTo>
                    <a:pt x="174" y="276"/>
                  </a:lnTo>
                  <a:lnTo>
                    <a:pt x="182" y="328"/>
                  </a:lnTo>
                  <a:lnTo>
                    <a:pt x="189" y="379"/>
                  </a:lnTo>
                  <a:lnTo>
                    <a:pt x="192" y="429"/>
                  </a:lnTo>
                  <a:lnTo>
                    <a:pt x="197" y="477"/>
                  </a:lnTo>
                  <a:lnTo>
                    <a:pt x="200" y="551"/>
                  </a:lnTo>
                  <a:lnTo>
                    <a:pt x="200" y="551"/>
                  </a:lnTo>
                  <a:lnTo>
                    <a:pt x="202" y="560"/>
                  </a:lnTo>
                  <a:lnTo>
                    <a:pt x="207" y="568"/>
                  </a:lnTo>
                  <a:lnTo>
                    <a:pt x="215" y="573"/>
                  </a:lnTo>
                  <a:lnTo>
                    <a:pt x="220" y="574"/>
                  </a:lnTo>
                  <a:lnTo>
                    <a:pt x="225" y="574"/>
                  </a:lnTo>
                  <a:lnTo>
                    <a:pt x="225" y="574"/>
                  </a:lnTo>
                  <a:lnTo>
                    <a:pt x="233" y="571"/>
                  </a:lnTo>
                  <a:lnTo>
                    <a:pt x="241" y="566"/>
                  </a:lnTo>
                  <a:lnTo>
                    <a:pt x="246" y="560"/>
                  </a:lnTo>
                  <a:lnTo>
                    <a:pt x="247" y="550"/>
                  </a:lnTo>
                  <a:lnTo>
                    <a:pt x="247" y="550"/>
                  </a:lnTo>
                  <a:lnTo>
                    <a:pt x="246" y="499"/>
                  </a:lnTo>
                  <a:lnTo>
                    <a:pt x="239" y="407"/>
                  </a:lnTo>
                  <a:lnTo>
                    <a:pt x="233" y="351"/>
                  </a:lnTo>
                  <a:lnTo>
                    <a:pt x="226" y="293"/>
                  </a:lnTo>
                  <a:lnTo>
                    <a:pt x="216" y="234"/>
                  </a:lnTo>
                  <a:lnTo>
                    <a:pt x="203" y="179"/>
                  </a:lnTo>
                  <a:lnTo>
                    <a:pt x="203" y="179"/>
                  </a:lnTo>
                  <a:lnTo>
                    <a:pt x="226" y="177"/>
                  </a:lnTo>
                  <a:lnTo>
                    <a:pt x="249" y="172"/>
                  </a:lnTo>
                  <a:lnTo>
                    <a:pt x="270" y="167"/>
                  </a:lnTo>
                  <a:lnTo>
                    <a:pt x="291" y="162"/>
                  </a:lnTo>
                  <a:lnTo>
                    <a:pt x="291" y="162"/>
                  </a:lnTo>
                  <a:lnTo>
                    <a:pt x="311" y="154"/>
                  </a:lnTo>
                  <a:lnTo>
                    <a:pt x="311" y="154"/>
                  </a:lnTo>
                  <a:lnTo>
                    <a:pt x="332" y="162"/>
                  </a:lnTo>
                  <a:lnTo>
                    <a:pt x="332" y="162"/>
                  </a:lnTo>
                  <a:lnTo>
                    <a:pt x="352" y="167"/>
                  </a:lnTo>
                  <a:lnTo>
                    <a:pt x="373" y="172"/>
                  </a:lnTo>
                  <a:lnTo>
                    <a:pt x="395" y="177"/>
                  </a:lnTo>
                  <a:lnTo>
                    <a:pt x="418" y="179"/>
                  </a:lnTo>
                  <a:lnTo>
                    <a:pt x="418" y="179"/>
                  </a:lnTo>
                  <a:lnTo>
                    <a:pt x="407" y="234"/>
                  </a:lnTo>
                  <a:lnTo>
                    <a:pt x="397" y="293"/>
                  </a:lnTo>
                  <a:lnTo>
                    <a:pt x="389" y="351"/>
                  </a:lnTo>
                  <a:lnTo>
                    <a:pt x="384" y="407"/>
                  </a:lnTo>
                  <a:lnTo>
                    <a:pt x="378" y="499"/>
                  </a:lnTo>
                  <a:lnTo>
                    <a:pt x="376" y="550"/>
                  </a:lnTo>
                  <a:lnTo>
                    <a:pt x="376" y="550"/>
                  </a:lnTo>
                  <a:lnTo>
                    <a:pt x="378" y="560"/>
                  </a:lnTo>
                  <a:lnTo>
                    <a:pt x="382" y="566"/>
                  </a:lnTo>
                  <a:lnTo>
                    <a:pt x="389" y="571"/>
                  </a:lnTo>
                  <a:lnTo>
                    <a:pt x="399" y="574"/>
                  </a:lnTo>
                  <a:lnTo>
                    <a:pt x="399" y="574"/>
                  </a:lnTo>
                  <a:lnTo>
                    <a:pt x="404" y="574"/>
                  </a:lnTo>
                  <a:lnTo>
                    <a:pt x="409" y="573"/>
                  </a:lnTo>
                  <a:lnTo>
                    <a:pt x="415" y="568"/>
                  </a:lnTo>
                  <a:lnTo>
                    <a:pt x="422" y="560"/>
                  </a:lnTo>
                  <a:lnTo>
                    <a:pt x="423" y="551"/>
                  </a:lnTo>
                  <a:lnTo>
                    <a:pt x="423" y="551"/>
                  </a:lnTo>
                  <a:lnTo>
                    <a:pt x="426" y="477"/>
                  </a:lnTo>
                  <a:lnTo>
                    <a:pt x="430" y="429"/>
                  </a:lnTo>
                  <a:lnTo>
                    <a:pt x="435" y="379"/>
                  </a:lnTo>
                  <a:lnTo>
                    <a:pt x="441" y="328"/>
                  </a:lnTo>
                  <a:lnTo>
                    <a:pt x="448" y="276"/>
                  </a:lnTo>
                  <a:lnTo>
                    <a:pt x="457" y="226"/>
                  </a:lnTo>
                  <a:lnTo>
                    <a:pt x="467" y="180"/>
                  </a:lnTo>
                  <a:lnTo>
                    <a:pt x="467" y="180"/>
                  </a:lnTo>
                  <a:lnTo>
                    <a:pt x="493" y="177"/>
                  </a:lnTo>
                  <a:lnTo>
                    <a:pt x="519" y="172"/>
                  </a:lnTo>
                  <a:lnTo>
                    <a:pt x="542" y="166"/>
                  </a:lnTo>
                  <a:lnTo>
                    <a:pt x="565" y="156"/>
                  </a:lnTo>
                  <a:lnTo>
                    <a:pt x="565" y="156"/>
                  </a:lnTo>
                  <a:lnTo>
                    <a:pt x="575" y="149"/>
                  </a:lnTo>
                  <a:lnTo>
                    <a:pt x="584" y="141"/>
                  </a:lnTo>
                  <a:lnTo>
                    <a:pt x="592" y="135"/>
                  </a:lnTo>
                  <a:lnTo>
                    <a:pt x="601" y="125"/>
                  </a:lnTo>
                  <a:lnTo>
                    <a:pt x="607" y="117"/>
                  </a:lnTo>
                  <a:lnTo>
                    <a:pt x="614" y="107"/>
                  </a:lnTo>
                  <a:lnTo>
                    <a:pt x="618" y="97"/>
                  </a:lnTo>
                  <a:lnTo>
                    <a:pt x="622" y="86"/>
                  </a:lnTo>
                  <a:lnTo>
                    <a:pt x="622" y="86"/>
                  </a:lnTo>
                  <a:lnTo>
                    <a:pt x="623" y="76"/>
                  </a:lnTo>
                  <a:lnTo>
                    <a:pt x="623" y="66"/>
                  </a:lnTo>
                  <a:lnTo>
                    <a:pt x="622" y="58"/>
                  </a:lnTo>
                  <a:lnTo>
                    <a:pt x="618" y="48"/>
                  </a:lnTo>
                  <a:lnTo>
                    <a:pt x="614" y="40"/>
                  </a:lnTo>
                  <a:lnTo>
                    <a:pt x="607" y="32"/>
                  </a:lnTo>
                  <a:lnTo>
                    <a:pt x="599" y="26"/>
                  </a:lnTo>
                  <a:lnTo>
                    <a:pt x="591" y="21"/>
                  </a:lnTo>
                  <a:close/>
                  <a:moveTo>
                    <a:pt x="81" y="114"/>
                  </a:moveTo>
                  <a:lnTo>
                    <a:pt x="81" y="114"/>
                  </a:lnTo>
                  <a:lnTo>
                    <a:pt x="68" y="105"/>
                  </a:lnTo>
                  <a:lnTo>
                    <a:pt x="59" y="96"/>
                  </a:lnTo>
                  <a:lnTo>
                    <a:pt x="52" y="86"/>
                  </a:lnTo>
                  <a:lnTo>
                    <a:pt x="47" y="73"/>
                  </a:lnTo>
                  <a:lnTo>
                    <a:pt x="47" y="73"/>
                  </a:lnTo>
                  <a:lnTo>
                    <a:pt x="47" y="71"/>
                  </a:lnTo>
                  <a:lnTo>
                    <a:pt x="49" y="68"/>
                  </a:lnTo>
                  <a:lnTo>
                    <a:pt x="52" y="65"/>
                  </a:lnTo>
                  <a:lnTo>
                    <a:pt x="55" y="61"/>
                  </a:lnTo>
                  <a:lnTo>
                    <a:pt x="55" y="61"/>
                  </a:lnTo>
                  <a:lnTo>
                    <a:pt x="60" y="60"/>
                  </a:lnTo>
                  <a:lnTo>
                    <a:pt x="65" y="58"/>
                  </a:lnTo>
                  <a:lnTo>
                    <a:pt x="72" y="58"/>
                  </a:lnTo>
                  <a:lnTo>
                    <a:pt x="80" y="60"/>
                  </a:lnTo>
                  <a:lnTo>
                    <a:pt x="88" y="63"/>
                  </a:lnTo>
                  <a:lnTo>
                    <a:pt x="96" y="66"/>
                  </a:lnTo>
                  <a:lnTo>
                    <a:pt x="104" y="73"/>
                  </a:lnTo>
                  <a:lnTo>
                    <a:pt x="112" y="81"/>
                  </a:lnTo>
                  <a:lnTo>
                    <a:pt x="112" y="81"/>
                  </a:lnTo>
                  <a:lnTo>
                    <a:pt x="120" y="91"/>
                  </a:lnTo>
                  <a:lnTo>
                    <a:pt x="127" y="102"/>
                  </a:lnTo>
                  <a:lnTo>
                    <a:pt x="133" y="115"/>
                  </a:lnTo>
                  <a:lnTo>
                    <a:pt x="140" y="131"/>
                  </a:lnTo>
                  <a:lnTo>
                    <a:pt x="140" y="131"/>
                  </a:lnTo>
                  <a:lnTo>
                    <a:pt x="124" y="128"/>
                  </a:lnTo>
                  <a:lnTo>
                    <a:pt x="109" y="125"/>
                  </a:lnTo>
                  <a:lnTo>
                    <a:pt x="94" y="120"/>
                  </a:lnTo>
                  <a:lnTo>
                    <a:pt x="81" y="114"/>
                  </a:lnTo>
                  <a:close/>
                  <a:moveTo>
                    <a:pt x="311" y="101"/>
                  </a:moveTo>
                  <a:lnTo>
                    <a:pt x="311" y="101"/>
                  </a:lnTo>
                  <a:lnTo>
                    <a:pt x="290" y="92"/>
                  </a:lnTo>
                  <a:lnTo>
                    <a:pt x="277" y="84"/>
                  </a:lnTo>
                  <a:lnTo>
                    <a:pt x="269" y="76"/>
                  </a:lnTo>
                  <a:lnTo>
                    <a:pt x="267" y="73"/>
                  </a:lnTo>
                  <a:lnTo>
                    <a:pt x="267" y="70"/>
                  </a:lnTo>
                  <a:lnTo>
                    <a:pt x="267" y="70"/>
                  </a:lnTo>
                  <a:lnTo>
                    <a:pt x="269" y="68"/>
                  </a:lnTo>
                  <a:lnTo>
                    <a:pt x="270" y="63"/>
                  </a:lnTo>
                  <a:lnTo>
                    <a:pt x="282" y="55"/>
                  </a:lnTo>
                  <a:lnTo>
                    <a:pt x="296" y="50"/>
                  </a:lnTo>
                  <a:lnTo>
                    <a:pt x="304" y="47"/>
                  </a:lnTo>
                  <a:lnTo>
                    <a:pt x="311" y="47"/>
                  </a:lnTo>
                  <a:lnTo>
                    <a:pt x="311" y="47"/>
                  </a:lnTo>
                  <a:lnTo>
                    <a:pt x="319" y="47"/>
                  </a:lnTo>
                  <a:lnTo>
                    <a:pt x="327" y="50"/>
                  </a:lnTo>
                  <a:lnTo>
                    <a:pt x="340" y="55"/>
                  </a:lnTo>
                  <a:lnTo>
                    <a:pt x="352" y="63"/>
                  </a:lnTo>
                  <a:lnTo>
                    <a:pt x="355" y="68"/>
                  </a:lnTo>
                  <a:lnTo>
                    <a:pt x="356" y="70"/>
                  </a:lnTo>
                  <a:lnTo>
                    <a:pt x="356" y="70"/>
                  </a:lnTo>
                  <a:lnTo>
                    <a:pt x="356" y="73"/>
                  </a:lnTo>
                  <a:lnTo>
                    <a:pt x="355" y="76"/>
                  </a:lnTo>
                  <a:lnTo>
                    <a:pt x="347" y="84"/>
                  </a:lnTo>
                  <a:lnTo>
                    <a:pt x="332" y="92"/>
                  </a:lnTo>
                  <a:lnTo>
                    <a:pt x="311" y="101"/>
                  </a:lnTo>
                  <a:close/>
                  <a:moveTo>
                    <a:pt x="542" y="114"/>
                  </a:moveTo>
                  <a:lnTo>
                    <a:pt x="542" y="114"/>
                  </a:lnTo>
                  <a:lnTo>
                    <a:pt x="529" y="120"/>
                  </a:lnTo>
                  <a:lnTo>
                    <a:pt x="514" y="125"/>
                  </a:lnTo>
                  <a:lnTo>
                    <a:pt x="498" y="128"/>
                  </a:lnTo>
                  <a:lnTo>
                    <a:pt x="482" y="131"/>
                  </a:lnTo>
                  <a:lnTo>
                    <a:pt x="482" y="131"/>
                  </a:lnTo>
                  <a:lnTo>
                    <a:pt x="488" y="115"/>
                  </a:lnTo>
                  <a:lnTo>
                    <a:pt x="495" y="102"/>
                  </a:lnTo>
                  <a:lnTo>
                    <a:pt x="503" y="91"/>
                  </a:lnTo>
                  <a:lnTo>
                    <a:pt x="509" y="81"/>
                  </a:lnTo>
                  <a:lnTo>
                    <a:pt x="509" y="81"/>
                  </a:lnTo>
                  <a:lnTo>
                    <a:pt x="519" y="73"/>
                  </a:lnTo>
                  <a:lnTo>
                    <a:pt x="527" y="66"/>
                  </a:lnTo>
                  <a:lnTo>
                    <a:pt x="535" y="63"/>
                  </a:lnTo>
                  <a:lnTo>
                    <a:pt x="544" y="60"/>
                  </a:lnTo>
                  <a:lnTo>
                    <a:pt x="550" y="58"/>
                  </a:lnTo>
                  <a:lnTo>
                    <a:pt x="557" y="58"/>
                  </a:lnTo>
                  <a:lnTo>
                    <a:pt x="563" y="60"/>
                  </a:lnTo>
                  <a:lnTo>
                    <a:pt x="568" y="61"/>
                  </a:lnTo>
                  <a:lnTo>
                    <a:pt x="568" y="61"/>
                  </a:lnTo>
                  <a:lnTo>
                    <a:pt x="571" y="65"/>
                  </a:lnTo>
                  <a:lnTo>
                    <a:pt x="575" y="68"/>
                  </a:lnTo>
                  <a:lnTo>
                    <a:pt x="576" y="71"/>
                  </a:lnTo>
                  <a:lnTo>
                    <a:pt x="576" y="73"/>
                  </a:lnTo>
                  <a:lnTo>
                    <a:pt x="576" y="73"/>
                  </a:lnTo>
                  <a:lnTo>
                    <a:pt x="571" y="86"/>
                  </a:lnTo>
                  <a:lnTo>
                    <a:pt x="563" y="96"/>
                  </a:lnTo>
                  <a:lnTo>
                    <a:pt x="553" y="105"/>
                  </a:lnTo>
                  <a:lnTo>
                    <a:pt x="542" y="114"/>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1" name="Freeform 8">
              <a:extLst>
                <a:ext uri="{FF2B5EF4-FFF2-40B4-BE49-F238E27FC236}">
                  <a16:creationId xmlns:a16="http://schemas.microsoft.com/office/drawing/2014/main" id="{9F5C1452-492E-423C-8C20-AF7ADF62228E}"/>
                </a:ext>
              </a:extLst>
            </p:cNvPr>
            <p:cNvSpPr>
              <a:spLocks/>
            </p:cNvSpPr>
            <p:nvPr/>
          </p:nvSpPr>
          <p:spPr bwMode="auto">
            <a:xfrm>
              <a:off x="8415072" y="2542744"/>
              <a:ext cx="662647" cy="610528"/>
            </a:xfrm>
            <a:custGeom>
              <a:avLst/>
              <a:gdLst>
                <a:gd name="T0" fmla="*/ 579 w 623"/>
                <a:gd name="T1" fmla="*/ 16 h 574"/>
                <a:gd name="T2" fmla="*/ 539 w 623"/>
                <a:gd name="T3" fmla="*/ 13 h 574"/>
                <a:gd name="T4" fmla="*/ 492 w 623"/>
                <a:gd name="T5" fmla="*/ 35 h 574"/>
                <a:gd name="T6" fmla="*/ 462 w 623"/>
                <a:gd name="T7" fmla="*/ 65 h 574"/>
                <a:gd name="T8" fmla="*/ 433 w 623"/>
                <a:gd name="T9" fmla="*/ 133 h 574"/>
                <a:gd name="T10" fmla="*/ 371 w 623"/>
                <a:gd name="T11" fmla="*/ 123 h 574"/>
                <a:gd name="T12" fmla="*/ 389 w 623"/>
                <a:gd name="T13" fmla="*/ 109 h 574"/>
                <a:gd name="T14" fmla="*/ 402 w 623"/>
                <a:gd name="T15" fmla="*/ 84 h 574"/>
                <a:gd name="T16" fmla="*/ 404 w 623"/>
                <a:gd name="T17" fmla="*/ 68 h 574"/>
                <a:gd name="T18" fmla="*/ 386 w 623"/>
                <a:gd name="T19" fmla="*/ 31 h 574"/>
                <a:gd name="T20" fmla="*/ 345 w 623"/>
                <a:gd name="T21" fmla="*/ 5 h 574"/>
                <a:gd name="T22" fmla="*/ 311 w 623"/>
                <a:gd name="T23" fmla="*/ 0 h 574"/>
                <a:gd name="T24" fmla="*/ 262 w 623"/>
                <a:gd name="T25" fmla="*/ 11 h 574"/>
                <a:gd name="T26" fmla="*/ 228 w 623"/>
                <a:gd name="T27" fmla="*/ 42 h 574"/>
                <a:gd name="T28" fmla="*/ 220 w 623"/>
                <a:gd name="T29" fmla="*/ 68 h 574"/>
                <a:gd name="T30" fmla="*/ 223 w 623"/>
                <a:gd name="T31" fmla="*/ 92 h 574"/>
                <a:gd name="T32" fmla="*/ 241 w 623"/>
                <a:gd name="T33" fmla="*/ 117 h 574"/>
                <a:gd name="T34" fmla="*/ 221 w 623"/>
                <a:gd name="T35" fmla="*/ 130 h 574"/>
                <a:gd name="T36" fmla="*/ 181 w 623"/>
                <a:gd name="T37" fmla="*/ 107 h 574"/>
                <a:gd name="T38" fmla="*/ 148 w 623"/>
                <a:gd name="T39" fmla="*/ 50 h 574"/>
                <a:gd name="T40" fmla="*/ 116 w 623"/>
                <a:gd name="T41" fmla="*/ 24 h 574"/>
                <a:gd name="T42" fmla="*/ 70 w 623"/>
                <a:gd name="T43" fmla="*/ 11 h 574"/>
                <a:gd name="T44" fmla="*/ 33 w 623"/>
                <a:gd name="T45" fmla="*/ 21 h 574"/>
                <a:gd name="T46" fmla="*/ 16 w 623"/>
                <a:gd name="T47" fmla="*/ 32 h 574"/>
                <a:gd name="T48" fmla="*/ 2 w 623"/>
                <a:gd name="T49" fmla="*/ 58 h 574"/>
                <a:gd name="T50" fmla="*/ 2 w 623"/>
                <a:gd name="T51" fmla="*/ 86 h 574"/>
                <a:gd name="T52" fmla="*/ 10 w 623"/>
                <a:gd name="T53" fmla="*/ 107 h 574"/>
                <a:gd name="T54" fmla="*/ 29 w 623"/>
                <a:gd name="T55" fmla="*/ 135 h 574"/>
                <a:gd name="T56" fmla="*/ 59 w 623"/>
                <a:gd name="T57" fmla="*/ 156 h 574"/>
                <a:gd name="T58" fmla="*/ 104 w 623"/>
                <a:gd name="T59" fmla="*/ 172 h 574"/>
                <a:gd name="T60" fmla="*/ 155 w 623"/>
                <a:gd name="T61" fmla="*/ 180 h 574"/>
                <a:gd name="T62" fmla="*/ 182 w 623"/>
                <a:gd name="T63" fmla="*/ 328 h 574"/>
                <a:gd name="T64" fmla="*/ 197 w 623"/>
                <a:gd name="T65" fmla="*/ 477 h 574"/>
                <a:gd name="T66" fmla="*/ 202 w 623"/>
                <a:gd name="T67" fmla="*/ 560 h 574"/>
                <a:gd name="T68" fmla="*/ 220 w 623"/>
                <a:gd name="T69" fmla="*/ 574 h 574"/>
                <a:gd name="T70" fmla="*/ 233 w 623"/>
                <a:gd name="T71" fmla="*/ 571 h 574"/>
                <a:gd name="T72" fmla="*/ 247 w 623"/>
                <a:gd name="T73" fmla="*/ 550 h 574"/>
                <a:gd name="T74" fmla="*/ 239 w 623"/>
                <a:gd name="T75" fmla="*/ 407 h 574"/>
                <a:gd name="T76" fmla="*/ 216 w 623"/>
                <a:gd name="T77" fmla="*/ 234 h 574"/>
                <a:gd name="T78" fmla="*/ 226 w 623"/>
                <a:gd name="T79" fmla="*/ 177 h 574"/>
                <a:gd name="T80" fmla="*/ 291 w 623"/>
                <a:gd name="T81" fmla="*/ 162 h 574"/>
                <a:gd name="T82" fmla="*/ 311 w 623"/>
                <a:gd name="T83" fmla="*/ 154 h 574"/>
                <a:gd name="T84" fmla="*/ 352 w 623"/>
                <a:gd name="T85" fmla="*/ 167 h 574"/>
                <a:gd name="T86" fmla="*/ 418 w 623"/>
                <a:gd name="T87" fmla="*/ 179 h 574"/>
                <a:gd name="T88" fmla="*/ 397 w 623"/>
                <a:gd name="T89" fmla="*/ 293 h 574"/>
                <a:gd name="T90" fmla="*/ 378 w 623"/>
                <a:gd name="T91" fmla="*/ 499 h 574"/>
                <a:gd name="T92" fmla="*/ 378 w 623"/>
                <a:gd name="T93" fmla="*/ 560 h 574"/>
                <a:gd name="T94" fmla="*/ 399 w 623"/>
                <a:gd name="T95" fmla="*/ 574 h 574"/>
                <a:gd name="T96" fmla="*/ 409 w 623"/>
                <a:gd name="T97" fmla="*/ 573 h 574"/>
                <a:gd name="T98" fmla="*/ 423 w 623"/>
                <a:gd name="T99" fmla="*/ 551 h 574"/>
                <a:gd name="T100" fmla="*/ 430 w 623"/>
                <a:gd name="T101" fmla="*/ 429 h 574"/>
                <a:gd name="T102" fmla="*/ 448 w 623"/>
                <a:gd name="T103" fmla="*/ 276 h 574"/>
                <a:gd name="T104" fmla="*/ 467 w 623"/>
                <a:gd name="T105" fmla="*/ 180 h 574"/>
                <a:gd name="T106" fmla="*/ 542 w 623"/>
                <a:gd name="T107" fmla="*/ 166 h 574"/>
                <a:gd name="T108" fmla="*/ 575 w 623"/>
                <a:gd name="T109" fmla="*/ 149 h 574"/>
                <a:gd name="T110" fmla="*/ 601 w 623"/>
                <a:gd name="T111" fmla="*/ 125 h 574"/>
                <a:gd name="T112" fmla="*/ 618 w 623"/>
                <a:gd name="T113" fmla="*/ 97 h 574"/>
                <a:gd name="T114" fmla="*/ 623 w 623"/>
                <a:gd name="T115" fmla="*/ 76 h 574"/>
                <a:gd name="T116" fmla="*/ 618 w 623"/>
                <a:gd name="T117" fmla="*/ 48 h 574"/>
                <a:gd name="T118" fmla="*/ 599 w 623"/>
                <a:gd name="T119" fmla="*/ 26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3" h="574">
                  <a:moveTo>
                    <a:pt x="591" y="21"/>
                  </a:moveTo>
                  <a:lnTo>
                    <a:pt x="591" y="21"/>
                  </a:lnTo>
                  <a:lnTo>
                    <a:pt x="579" y="16"/>
                  </a:lnTo>
                  <a:lnTo>
                    <a:pt x="566" y="13"/>
                  </a:lnTo>
                  <a:lnTo>
                    <a:pt x="553" y="11"/>
                  </a:lnTo>
                  <a:lnTo>
                    <a:pt x="539" y="13"/>
                  </a:lnTo>
                  <a:lnTo>
                    <a:pt x="522" y="16"/>
                  </a:lnTo>
                  <a:lnTo>
                    <a:pt x="508" y="24"/>
                  </a:lnTo>
                  <a:lnTo>
                    <a:pt x="492" y="35"/>
                  </a:lnTo>
                  <a:lnTo>
                    <a:pt x="475" y="50"/>
                  </a:lnTo>
                  <a:lnTo>
                    <a:pt x="475" y="50"/>
                  </a:lnTo>
                  <a:lnTo>
                    <a:pt x="462" y="65"/>
                  </a:lnTo>
                  <a:lnTo>
                    <a:pt x="452" y="84"/>
                  </a:lnTo>
                  <a:lnTo>
                    <a:pt x="441" y="107"/>
                  </a:lnTo>
                  <a:lnTo>
                    <a:pt x="433" y="133"/>
                  </a:lnTo>
                  <a:lnTo>
                    <a:pt x="433" y="133"/>
                  </a:lnTo>
                  <a:lnTo>
                    <a:pt x="402" y="130"/>
                  </a:lnTo>
                  <a:lnTo>
                    <a:pt x="371" y="123"/>
                  </a:lnTo>
                  <a:lnTo>
                    <a:pt x="371" y="123"/>
                  </a:lnTo>
                  <a:lnTo>
                    <a:pt x="382" y="117"/>
                  </a:lnTo>
                  <a:lnTo>
                    <a:pt x="389" y="109"/>
                  </a:lnTo>
                  <a:lnTo>
                    <a:pt x="395" y="101"/>
                  </a:lnTo>
                  <a:lnTo>
                    <a:pt x="399" y="92"/>
                  </a:lnTo>
                  <a:lnTo>
                    <a:pt x="402" y="84"/>
                  </a:lnTo>
                  <a:lnTo>
                    <a:pt x="404" y="78"/>
                  </a:lnTo>
                  <a:lnTo>
                    <a:pt x="404" y="68"/>
                  </a:lnTo>
                  <a:lnTo>
                    <a:pt x="404" y="68"/>
                  </a:lnTo>
                  <a:lnTo>
                    <a:pt x="400" y="55"/>
                  </a:lnTo>
                  <a:lnTo>
                    <a:pt x="395" y="42"/>
                  </a:lnTo>
                  <a:lnTo>
                    <a:pt x="386" y="31"/>
                  </a:lnTo>
                  <a:lnTo>
                    <a:pt x="374" y="21"/>
                  </a:lnTo>
                  <a:lnTo>
                    <a:pt x="361" y="11"/>
                  </a:lnTo>
                  <a:lnTo>
                    <a:pt x="345" y="5"/>
                  </a:lnTo>
                  <a:lnTo>
                    <a:pt x="329" y="1"/>
                  </a:lnTo>
                  <a:lnTo>
                    <a:pt x="311" y="0"/>
                  </a:lnTo>
                  <a:lnTo>
                    <a:pt x="311" y="0"/>
                  </a:lnTo>
                  <a:lnTo>
                    <a:pt x="295" y="1"/>
                  </a:lnTo>
                  <a:lnTo>
                    <a:pt x="277" y="5"/>
                  </a:lnTo>
                  <a:lnTo>
                    <a:pt x="262" y="11"/>
                  </a:lnTo>
                  <a:lnTo>
                    <a:pt x="249" y="21"/>
                  </a:lnTo>
                  <a:lnTo>
                    <a:pt x="238" y="31"/>
                  </a:lnTo>
                  <a:lnTo>
                    <a:pt x="228" y="42"/>
                  </a:lnTo>
                  <a:lnTo>
                    <a:pt x="221" y="55"/>
                  </a:lnTo>
                  <a:lnTo>
                    <a:pt x="220" y="68"/>
                  </a:lnTo>
                  <a:lnTo>
                    <a:pt x="220" y="68"/>
                  </a:lnTo>
                  <a:lnTo>
                    <a:pt x="220" y="78"/>
                  </a:lnTo>
                  <a:lnTo>
                    <a:pt x="221" y="84"/>
                  </a:lnTo>
                  <a:lnTo>
                    <a:pt x="223" y="92"/>
                  </a:lnTo>
                  <a:lnTo>
                    <a:pt x="228" y="101"/>
                  </a:lnTo>
                  <a:lnTo>
                    <a:pt x="233" y="109"/>
                  </a:lnTo>
                  <a:lnTo>
                    <a:pt x="241" y="117"/>
                  </a:lnTo>
                  <a:lnTo>
                    <a:pt x="251" y="123"/>
                  </a:lnTo>
                  <a:lnTo>
                    <a:pt x="251" y="123"/>
                  </a:lnTo>
                  <a:lnTo>
                    <a:pt x="221" y="130"/>
                  </a:lnTo>
                  <a:lnTo>
                    <a:pt x="190" y="133"/>
                  </a:lnTo>
                  <a:lnTo>
                    <a:pt x="190" y="133"/>
                  </a:lnTo>
                  <a:lnTo>
                    <a:pt x="181" y="107"/>
                  </a:lnTo>
                  <a:lnTo>
                    <a:pt x="171" y="84"/>
                  </a:lnTo>
                  <a:lnTo>
                    <a:pt x="159" y="65"/>
                  </a:lnTo>
                  <a:lnTo>
                    <a:pt x="148" y="50"/>
                  </a:lnTo>
                  <a:lnTo>
                    <a:pt x="148" y="50"/>
                  </a:lnTo>
                  <a:lnTo>
                    <a:pt x="132" y="35"/>
                  </a:lnTo>
                  <a:lnTo>
                    <a:pt x="116" y="24"/>
                  </a:lnTo>
                  <a:lnTo>
                    <a:pt x="99" y="16"/>
                  </a:lnTo>
                  <a:lnTo>
                    <a:pt x="85" y="13"/>
                  </a:lnTo>
                  <a:lnTo>
                    <a:pt x="70" y="11"/>
                  </a:lnTo>
                  <a:lnTo>
                    <a:pt x="55" y="13"/>
                  </a:lnTo>
                  <a:lnTo>
                    <a:pt x="42" y="16"/>
                  </a:lnTo>
                  <a:lnTo>
                    <a:pt x="33" y="21"/>
                  </a:lnTo>
                  <a:lnTo>
                    <a:pt x="33" y="21"/>
                  </a:lnTo>
                  <a:lnTo>
                    <a:pt x="23" y="26"/>
                  </a:lnTo>
                  <a:lnTo>
                    <a:pt x="16" y="32"/>
                  </a:lnTo>
                  <a:lnTo>
                    <a:pt x="10" y="40"/>
                  </a:lnTo>
                  <a:lnTo>
                    <a:pt x="5" y="48"/>
                  </a:lnTo>
                  <a:lnTo>
                    <a:pt x="2" y="58"/>
                  </a:lnTo>
                  <a:lnTo>
                    <a:pt x="0" y="66"/>
                  </a:lnTo>
                  <a:lnTo>
                    <a:pt x="0" y="76"/>
                  </a:lnTo>
                  <a:lnTo>
                    <a:pt x="2" y="86"/>
                  </a:lnTo>
                  <a:lnTo>
                    <a:pt x="2" y="86"/>
                  </a:lnTo>
                  <a:lnTo>
                    <a:pt x="5" y="97"/>
                  </a:lnTo>
                  <a:lnTo>
                    <a:pt x="10" y="107"/>
                  </a:lnTo>
                  <a:lnTo>
                    <a:pt x="15" y="117"/>
                  </a:lnTo>
                  <a:lnTo>
                    <a:pt x="21" y="125"/>
                  </a:lnTo>
                  <a:lnTo>
                    <a:pt x="29" y="135"/>
                  </a:lnTo>
                  <a:lnTo>
                    <a:pt x="39" y="141"/>
                  </a:lnTo>
                  <a:lnTo>
                    <a:pt x="47" y="149"/>
                  </a:lnTo>
                  <a:lnTo>
                    <a:pt x="59" y="156"/>
                  </a:lnTo>
                  <a:lnTo>
                    <a:pt x="59" y="156"/>
                  </a:lnTo>
                  <a:lnTo>
                    <a:pt x="80" y="166"/>
                  </a:lnTo>
                  <a:lnTo>
                    <a:pt x="104" y="172"/>
                  </a:lnTo>
                  <a:lnTo>
                    <a:pt x="129" y="177"/>
                  </a:lnTo>
                  <a:lnTo>
                    <a:pt x="155" y="180"/>
                  </a:lnTo>
                  <a:lnTo>
                    <a:pt x="155" y="180"/>
                  </a:lnTo>
                  <a:lnTo>
                    <a:pt x="166" y="226"/>
                  </a:lnTo>
                  <a:lnTo>
                    <a:pt x="174" y="276"/>
                  </a:lnTo>
                  <a:lnTo>
                    <a:pt x="182" y="328"/>
                  </a:lnTo>
                  <a:lnTo>
                    <a:pt x="189" y="379"/>
                  </a:lnTo>
                  <a:lnTo>
                    <a:pt x="192" y="429"/>
                  </a:lnTo>
                  <a:lnTo>
                    <a:pt x="197" y="477"/>
                  </a:lnTo>
                  <a:lnTo>
                    <a:pt x="200" y="551"/>
                  </a:lnTo>
                  <a:lnTo>
                    <a:pt x="200" y="551"/>
                  </a:lnTo>
                  <a:lnTo>
                    <a:pt x="202" y="560"/>
                  </a:lnTo>
                  <a:lnTo>
                    <a:pt x="207" y="568"/>
                  </a:lnTo>
                  <a:lnTo>
                    <a:pt x="215" y="573"/>
                  </a:lnTo>
                  <a:lnTo>
                    <a:pt x="220" y="574"/>
                  </a:lnTo>
                  <a:lnTo>
                    <a:pt x="225" y="574"/>
                  </a:lnTo>
                  <a:lnTo>
                    <a:pt x="225" y="574"/>
                  </a:lnTo>
                  <a:lnTo>
                    <a:pt x="233" y="571"/>
                  </a:lnTo>
                  <a:lnTo>
                    <a:pt x="241" y="566"/>
                  </a:lnTo>
                  <a:lnTo>
                    <a:pt x="246" y="560"/>
                  </a:lnTo>
                  <a:lnTo>
                    <a:pt x="247" y="550"/>
                  </a:lnTo>
                  <a:lnTo>
                    <a:pt x="247" y="550"/>
                  </a:lnTo>
                  <a:lnTo>
                    <a:pt x="246" y="499"/>
                  </a:lnTo>
                  <a:lnTo>
                    <a:pt x="239" y="407"/>
                  </a:lnTo>
                  <a:lnTo>
                    <a:pt x="233" y="351"/>
                  </a:lnTo>
                  <a:lnTo>
                    <a:pt x="226" y="293"/>
                  </a:lnTo>
                  <a:lnTo>
                    <a:pt x="216" y="234"/>
                  </a:lnTo>
                  <a:lnTo>
                    <a:pt x="203" y="179"/>
                  </a:lnTo>
                  <a:lnTo>
                    <a:pt x="203" y="179"/>
                  </a:lnTo>
                  <a:lnTo>
                    <a:pt x="226" y="177"/>
                  </a:lnTo>
                  <a:lnTo>
                    <a:pt x="249" y="172"/>
                  </a:lnTo>
                  <a:lnTo>
                    <a:pt x="270" y="167"/>
                  </a:lnTo>
                  <a:lnTo>
                    <a:pt x="291" y="162"/>
                  </a:lnTo>
                  <a:lnTo>
                    <a:pt x="291" y="162"/>
                  </a:lnTo>
                  <a:lnTo>
                    <a:pt x="311" y="154"/>
                  </a:lnTo>
                  <a:lnTo>
                    <a:pt x="311" y="154"/>
                  </a:lnTo>
                  <a:lnTo>
                    <a:pt x="332" y="162"/>
                  </a:lnTo>
                  <a:lnTo>
                    <a:pt x="332" y="162"/>
                  </a:lnTo>
                  <a:lnTo>
                    <a:pt x="352" y="167"/>
                  </a:lnTo>
                  <a:lnTo>
                    <a:pt x="373" y="172"/>
                  </a:lnTo>
                  <a:lnTo>
                    <a:pt x="395" y="177"/>
                  </a:lnTo>
                  <a:lnTo>
                    <a:pt x="418" y="179"/>
                  </a:lnTo>
                  <a:lnTo>
                    <a:pt x="418" y="179"/>
                  </a:lnTo>
                  <a:lnTo>
                    <a:pt x="407" y="234"/>
                  </a:lnTo>
                  <a:lnTo>
                    <a:pt x="397" y="293"/>
                  </a:lnTo>
                  <a:lnTo>
                    <a:pt x="389" y="351"/>
                  </a:lnTo>
                  <a:lnTo>
                    <a:pt x="384" y="407"/>
                  </a:lnTo>
                  <a:lnTo>
                    <a:pt x="378" y="499"/>
                  </a:lnTo>
                  <a:lnTo>
                    <a:pt x="376" y="550"/>
                  </a:lnTo>
                  <a:lnTo>
                    <a:pt x="376" y="550"/>
                  </a:lnTo>
                  <a:lnTo>
                    <a:pt x="378" y="560"/>
                  </a:lnTo>
                  <a:lnTo>
                    <a:pt x="382" y="566"/>
                  </a:lnTo>
                  <a:lnTo>
                    <a:pt x="389" y="571"/>
                  </a:lnTo>
                  <a:lnTo>
                    <a:pt x="399" y="574"/>
                  </a:lnTo>
                  <a:lnTo>
                    <a:pt x="399" y="574"/>
                  </a:lnTo>
                  <a:lnTo>
                    <a:pt x="404" y="574"/>
                  </a:lnTo>
                  <a:lnTo>
                    <a:pt x="409" y="573"/>
                  </a:lnTo>
                  <a:lnTo>
                    <a:pt x="415" y="568"/>
                  </a:lnTo>
                  <a:lnTo>
                    <a:pt x="422" y="560"/>
                  </a:lnTo>
                  <a:lnTo>
                    <a:pt x="423" y="551"/>
                  </a:lnTo>
                  <a:lnTo>
                    <a:pt x="423" y="551"/>
                  </a:lnTo>
                  <a:lnTo>
                    <a:pt x="426" y="477"/>
                  </a:lnTo>
                  <a:lnTo>
                    <a:pt x="430" y="429"/>
                  </a:lnTo>
                  <a:lnTo>
                    <a:pt x="435" y="379"/>
                  </a:lnTo>
                  <a:lnTo>
                    <a:pt x="441" y="328"/>
                  </a:lnTo>
                  <a:lnTo>
                    <a:pt x="448" y="276"/>
                  </a:lnTo>
                  <a:lnTo>
                    <a:pt x="457" y="226"/>
                  </a:lnTo>
                  <a:lnTo>
                    <a:pt x="467" y="180"/>
                  </a:lnTo>
                  <a:lnTo>
                    <a:pt x="467" y="180"/>
                  </a:lnTo>
                  <a:lnTo>
                    <a:pt x="493" y="177"/>
                  </a:lnTo>
                  <a:lnTo>
                    <a:pt x="519" y="172"/>
                  </a:lnTo>
                  <a:lnTo>
                    <a:pt x="542" y="166"/>
                  </a:lnTo>
                  <a:lnTo>
                    <a:pt x="565" y="156"/>
                  </a:lnTo>
                  <a:lnTo>
                    <a:pt x="565" y="156"/>
                  </a:lnTo>
                  <a:lnTo>
                    <a:pt x="575" y="149"/>
                  </a:lnTo>
                  <a:lnTo>
                    <a:pt x="584" y="141"/>
                  </a:lnTo>
                  <a:lnTo>
                    <a:pt x="592" y="135"/>
                  </a:lnTo>
                  <a:lnTo>
                    <a:pt x="601" y="125"/>
                  </a:lnTo>
                  <a:lnTo>
                    <a:pt x="607" y="117"/>
                  </a:lnTo>
                  <a:lnTo>
                    <a:pt x="614" y="107"/>
                  </a:lnTo>
                  <a:lnTo>
                    <a:pt x="618" y="97"/>
                  </a:lnTo>
                  <a:lnTo>
                    <a:pt x="622" y="86"/>
                  </a:lnTo>
                  <a:lnTo>
                    <a:pt x="622" y="86"/>
                  </a:lnTo>
                  <a:lnTo>
                    <a:pt x="623" y="76"/>
                  </a:lnTo>
                  <a:lnTo>
                    <a:pt x="623" y="66"/>
                  </a:lnTo>
                  <a:lnTo>
                    <a:pt x="622" y="58"/>
                  </a:lnTo>
                  <a:lnTo>
                    <a:pt x="618" y="48"/>
                  </a:lnTo>
                  <a:lnTo>
                    <a:pt x="614" y="40"/>
                  </a:lnTo>
                  <a:lnTo>
                    <a:pt x="607" y="32"/>
                  </a:lnTo>
                  <a:lnTo>
                    <a:pt x="599" y="26"/>
                  </a:lnTo>
                  <a:lnTo>
                    <a:pt x="591"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2" name="Freeform 9">
              <a:extLst>
                <a:ext uri="{FF2B5EF4-FFF2-40B4-BE49-F238E27FC236}">
                  <a16:creationId xmlns:a16="http://schemas.microsoft.com/office/drawing/2014/main" id="{C0028804-F46C-4593-9BE3-9D3917FE4120}"/>
                </a:ext>
              </a:extLst>
            </p:cNvPr>
            <p:cNvSpPr>
              <a:spLocks/>
            </p:cNvSpPr>
            <p:nvPr/>
          </p:nvSpPr>
          <p:spPr bwMode="auto">
            <a:xfrm>
              <a:off x="8465063" y="2604435"/>
              <a:ext cx="98919" cy="77646"/>
            </a:xfrm>
            <a:custGeom>
              <a:avLst/>
              <a:gdLst>
                <a:gd name="T0" fmla="*/ 34 w 93"/>
                <a:gd name="T1" fmla="*/ 56 h 73"/>
                <a:gd name="T2" fmla="*/ 34 w 93"/>
                <a:gd name="T3" fmla="*/ 56 h 73"/>
                <a:gd name="T4" fmla="*/ 21 w 93"/>
                <a:gd name="T5" fmla="*/ 47 h 73"/>
                <a:gd name="T6" fmla="*/ 12 w 93"/>
                <a:gd name="T7" fmla="*/ 38 h 73"/>
                <a:gd name="T8" fmla="*/ 5 w 93"/>
                <a:gd name="T9" fmla="*/ 28 h 73"/>
                <a:gd name="T10" fmla="*/ 0 w 93"/>
                <a:gd name="T11" fmla="*/ 15 h 73"/>
                <a:gd name="T12" fmla="*/ 0 w 93"/>
                <a:gd name="T13" fmla="*/ 15 h 73"/>
                <a:gd name="T14" fmla="*/ 0 w 93"/>
                <a:gd name="T15" fmla="*/ 13 h 73"/>
                <a:gd name="T16" fmla="*/ 2 w 93"/>
                <a:gd name="T17" fmla="*/ 10 h 73"/>
                <a:gd name="T18" fmla="*/ 5 w 93"/>
                <a:gd name="T19" fmla="*/ 7 h 73"/>
                <a:gd name="T20" fmla="*/ 8 w 93"/>
                <a:gd name="T21" fmla="*/ 3 h 73"/>
                <a:gd name="T22" fmla="*/ 8 w 93"/>
                <a:gd name="T23" fmla="*/ 3 h 73"/>
                <a:gd name="T24" fmla="*/ 13 w 93"/>
                <a:gd name="T25" fmla="*/ 2 h 73"/>
                <a:gd name="T26" fmla="*/ 18 w 93"/>
                <a:gd name="T27" fmla="*/ 0 h 73"/>
                <a:gd name="T28" fmla="*/ 25 w 93"/>
                <a:gd name="T29" fmla="*/ 0 h 73"/>
                <a:gd name="T30" fmla="*/ 33 w 93"/>
                <a:gd name="T31" fmla="*/ 2 h 73"/>
                <a:gd name="T32" fmla="*/ 41 w 93"/>
                <a:gd name="T33" fmla="*/ 5 h 73"/>
                <a:gd name="T34" fmla="*/ 49 w 93"/>
                <a:gd name="T35" fmla="*/ 8 h 73"/>
                <a:gd name="T36" fmla="*/ 57 w 93"/>
                <a:gd name="T37" fmla="*/ 15 h 73"/>
                <a:gd name="T38" fmla="*/ 65 w 93"/>
                <a:gd name="T39" fmla="*/ 23 h 73"/>
                <a:gd name="T40" fmla="*/ 65 w 93"/>
                <a:gd name="T41" fmla="*/ 23 h 73"/>
                <a:gd name="T42" fmla="*/ 73 w 93"/>
                <a:gd name="T43" fmla="*/ 33 h 73"/>
                <a:gd name="T44" fmla="*/ 80 w 93"/>
                <a:gd name="T45" fmla="*/ 44 h 73"/>
                <a:gd name="T46" fmla="*/ 86 w 93"/>
                <a:gd name="T47" fmla="*/ 57 h 73"/>
                <a:gd name="T48" fmla="*/ 93 w 93"/>
                <a:gd name="T49" fmla="*/ 73 h 73"/>
                <a:gd name="T50" fmla="*/ 93 w 93"/>
                <a:gd name="T51" fmla="*/ 73 h 73"/>
                <a:gd name="T52" fmla="*/ 77 w 93"/>
                <a:gd name="T53" fmla="*/ 70 h 73"/>
                <a:gd name="T54" fmla="*/ 62 w 93"/>
                <a:gd name="T55" fmla="*/ 67 h 73"/>
                <a:gd name="T56" fmla="*/ 47 w 93"/>
                <a:gd name="T57" fmla="*/ 62 h 73"/>
                <a:gd name="T58" fmla="*/ 34 w 93"/>
                <a:gd name="T5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 h="73">
                  <a:moveTo>
                    <a:pt x="34" y="56"/>
                  </a:moveTo>
                  <a:lnTo>
                    <a:pt x="34" y="56"/>
                  </a:lnTo>
                  <a:lnTo>
                    <a:pt x="21" y="47"/>
                  </a:lnTo>
                  <a:lnTo>
                    <a:pt x="12" y="38"/>
                  </a:lnTo>
                  <a:lnTo>
                    <a:pt x="5" y="28"/>
                  </a:lnTo>
                  <a:lnTo>
                    <a:pt x="0" y="15"/>
                  </a:lnTo>
                  <a:lnTo>
                    <a:pt x="0" y="15"/>
                  </a:lnTo>
                  <a:lnTo>
                    <a:pt x="0" y="13"/>
                  </a:lnTo>
                  <a:lnTo>
                    <a:pt x="2" y="10"/>
                  </a:lnTo>
                  <a:lnTo>
                    <a:pt x="5" y="7"/>
                  </a:lnTo>
                  <a:lnTo>
                    <a:pt x="8" y="3"/>
                  </a:lnTo>
                  <a:lnTo>
                    <a:pt x="8" y="3"/>
                  </a:lnTo>
                  <a:lnTo>
                    <a:pt x="13" y="2"/>
                  </a:lnTo>
                  <a:lnTo>
                    <a:pt x="18" y="0"/>
                  </a:lnTo>
                  <a:lnTo>
                    <a:pt x="25" y="0"/>
                  </a:lnTo>
                  <a:lnTo>
                    <a:pt x="33" y="2"/>
                  </a:lnTo>
                  <a:lnTo>
                    <a:pt x="41" y="5"/>
                  </a:lnTo>
                  <a:lnTo>
                    <a:pt x="49" y="8"/>
                  </a:lnTo>
                  <a:lnTo>
                    <a:pt x="57" y="15"/>
                  </a:lnTo>
                  <a:lnTo>
                    <a:pt x="65" y="23"/>
                  </a:lnTo>
                  <a:lnTo>
                    <a:pt x="65" y="23"/>
                  </a:lnTo>
                  <a:lnTo>
                    <a:pt x="73" y="33"/>
                  </a:lnTo>
                  <a:lnTo>
                    <a:pt x="80" y="44"/>
                  </a:lnTo>
                  <a:lnTo>
                    <a:pt x="86" y="57"/>
                  </a:lnTo>
                  <a:lnTo>
                    <a:pt x="93" y="73"/>
                  </a:lnTo>
                  <a:lnTo>
                    <a:pt x="93" y="73"/>
                  </a:lnTo>
                  <a:lnTo>
                    <a:pt x="77" y="70"/>
                  </a:lnTo>
                  <a:lnTo>
                    <a:pt x="62" y="67"/>
                  </a:lnTo>
                  <a:lnTo>
                    <a:pt x="47" y="62"/>
                  </a:lnTo>
                  <a:lnTo>
                    <a:pt x="34"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3" name="Freeform 10">
              <a:extLst>
                <a:ext uri="{FF2B5EF4-FFF2-40B4-BE49-F238E27FC236}">
                  <a16:creationId xmlns:a16="http://schemas.microsoft.com/office/drawing/2014/main" id="{C3440820-EF70-4299-9D91-E553E95CD848}"/>
                </a:ext>
              </a:extLst>
            </p:cNvPr>
            <p:cNvSpPr>
              <a:spLocks/>
            </p:cNvSpPr>
            <p:nvPr/>
          </p:nvSpPr>
          <p:spPr bwMode="auto">
            <a:xfrm>
              <a:off x="8699064" y="2592735"/>
              <a:ext cx="94664" cy="57436"/>
            </a:xfrm>
            <a:custGeom>
              <a:avLst/>
              <a:gdLst>
                <a:gd name="T0" fmla="*/ 44 w 89"/>
                <a:gd name="T1" fmla="*/ 54 h 54"/>
                <a:gd name="T2" fmla="*/ 44 w 89"/>
                <a:gd name="T3" fmla="*/ 54 h 54"/>
                <a:gd name="T4" fmla="*/ 23 w 89"/>
                <a:gd name="T5" fmla="*/ 45 h 54"/>
                <a:gd name="T6" fmla="*/ 10 w 89"/>
                <a:gd name="T7" fmla="*/ 37 h 54"/>
                <a:gd name="T8" fmla="*/ 2 w 89"/>
                <a:gd name="T9" fmla="*/ 29 h 54"/>
                <a:gd name="T10" fmla="*/ 0 w 89"/>
                <a:gd name="T11" fmla="*/ 26 h 54"/>
                <a:gd name="T12" fmla="*/ 0 w 89"/>
                <a:gd name="T13" fmla="*/ 23 h 54"/>
                <a:gd name="T14" fmla="*/ 0 w 89"/>
                <a:gd name="T15" fmla="*/ 23 h 54"/>
                <a:gd name="T16" fmla="*/ 2 w 89"/>
                <a:gd name="T17" fmla="*/ 21 h 54"/>
                <a:gd name="T18" fmla="*/ 3 w 89"/>
                <a:gd name="T19" fmla="*/ 16 h 54"/>
                <a:gd name="T20" fmla="*/ 15 w 89"/>
                <a:gd name="T21" fmla="*/ 8 h 54"/>
                <a:gd name="T22" fmla="*/ 29 w 89"/>
                <a:gd name="T23" fmla="*/ 3 h 54"/>
                <a:gd name="T24" fmla="*/ 37 w 89"/>
                <a:gd name="T25" fmla="*/ 0 h 54"/>
                <a:gd name="T26" fmla="*/ 44 w 89"/>
                <a:gd name="T27" fmla="*/ 0 h 54"/>
                <a:gd name="T28" fmla="*/ 44 w 89"/>
                <a:gd name="T29" fmla="*/ 0 h 54"/>
                <a:gd name="T30" fmla="*/ 52 w 89"/>
                <a:gd name="T31" fmla="*/ 0 h 54"/>
                <a:gd name="T32" fmla="*/ 60 w 89"/>
                <a:gd name="T33" fmla="*/ 3 h 54"/>
                <a:gd name="T34" fmla="*/ 73 w 89"/>
                <a:gd name="T35" fmla="*/ 8 h 54"/>
                <a:gd name="T36" fmla="*/ 85 w 89"/>
                <a:gd name="T37" fmla="*/ 16 h 54"/>
                <a:gd name="T38" fmla="*/ 88 w 89"/>
                <a:gd name="T39" fmla="*/ 21 h 54"/>
                <a:gd name="T40" fmla="*/ 89 w 89"/>
                <a:gd name="T41" fmla="*/ 23 h 54"/>
                <a:gd name="T42" fmla="*/ 89 w 89"/>
                <a:gd name="T43" fmla="*/ 23 h 54"/>
                <a:gd name="T44" fmla="*/ 89 w 89"/>
                <a:gd name="T45" fmla="*/ 26 h 54"/>
                <a:gd name="T46" fmla="*/ 88 w 89"/>
                <a:gd name="T47" fmla="*/ 29 h 54"/>
                <a:gd name="T48" fmla="*/ 80 w 89"/>
                <a:gd name="T49" fmla="*/ 37 h 54"/>
                <a:gd name="T50" fmla="*/ 65 w 89"/>
                <a:gd name="T51" fmla="*/ 45 h 54"/>
                <a:gd name="T52" fmla="*/ 44 w 89"/>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 h="54">
                  <a:moveTo>
                    <a:pt x="44" y="54"/>
                  </a:moveTo>
                  <a:lnTo>
                    <a:pt x="44" y="54"/>
                  </a:lnTo>
                  <a:lnTo>
                    <a:pt x="23" y="45"/>
                  </a:lnTo>
                  <a:lnTo>
                    <a:pt x="10" y="37"/>
                  </a:lnTo>
                  <a:lnTo>
                    <a:pt x="2" y="29"/>
                  </a:lnTo>
                  <a:lnTo>
                    <a:pt x="0" y="26"/>
                  </a:lnTo>
                  <a:lnTo>
                    <a:pt x="0" y="23"/>
                  </a:lnTo>
                  <a:lnTo>
                    <a:pt x="0" y="23"/>
                  </a:lnTo>
                  <a:lnTo>
                    <a:pt x="2" y="21"/>
                  </a:lnTo>
                  <a:lnTo>
                    <a:pt x="3" y="16"/>
                  </a:lnTo>
                  <a:lnTo>
                    <a:pt x="15" y="8"/>
                  </a:lnTo>
                  <a:lnTo>
                    <a:pt x="29" y="3"/>
                  </a:lnTo>
                  <a:lnTo>
                    <a:pt x="37" y="0"/>
                  </a:lnTo>
                  <a:lnTo>
                    <a:pt x="44" y="0"/>
                  </a:lnTo>
                  <a:lnTo>
                    <a:pt x="44" y="0"/>
                  </a:lnTo>
                  <a:lnTo>
                    <a:pt x="52" y="0"/>
                  </a:lnTo>
                  <a:lnTo>
                    <a:pt x="60" y="3"/>
                  </a:lnTo>
                  <a:lnTo>
                    <a:pt x="73" y="8"/>
                  </a:lnTo>
                  <a:lnTo>
                    <a:pt x="85" y="16"/>
                  </a:lnTo>
                  <a:lnTo>
                    <a:pt x="88" y="21"/>
                  </a:lnTo>
                  <a:lnTo>
                    <a:pt x="89" y="23"/>
                  </a:lnTo>
                  <a:lnTo>
                    <a:pt x="89" y="23"/>
                  </a:lnTo>
                  <a:lnTo>
                    <a:pt x="89" y="26"/>
                  </a:lnTo>
                  <a:lnTo>
                    <a:pt x="88" y="29"/>
                  </a:lnTo>
                  <a:lnTo>
                    <a:pt x="80" y="37"/>
                  </a:lnTo>
                  <a:lnTo>
                    <a:pt x="65" y="45"/>
                  </a:lnTo>
                  <a:lnTo>
                    <a:pt x="44"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4" name="Freeform 11">
              <a:extLst>
                <a:ext uri="{FF2B5EF4-FFF2-40B4-BE49-F238E27FC236}">
                  <a16:creationId xmlns:a16="http://schemas.microsoft.com/office/drawing/2014/main" id="{91329120-74B1-4179-85EC-CC28C22006B6}"/>
                </a:ext>
              </a:extLst>
            </p:cNvPr>
            <p:cNvSpPr>
              <a:spLocks/>
            </p:cNvSpPr>
            <p:nvPr/>
          </p:nvSpPr>
          <p:spPr bwMode="auto">
            <a:xfrm>
              <a:off x="8927746" y="2604435"/>
              <a:ext cx="99982" cy="77646"/>
            </a:xfrm>
            <a:custGeom>
              <a:avLst/>
              <a:gdLst>
                <a:gd name="T0" fmla="*/ 60 w 94"/>
                <a:gd name="T1" fmla="*/ 56 h 73"/>
                <a:gd name="T2" fmla="*/ 60 w 94"/>
                <a:gd name="T3" fmla="*/ 56 h 73"/>
                <a:gd name="T4" fmla="*/ 47 w 94"/>
                <a:gd name="T5" fmla="*/ 62 h 73"/>
                <a:gd name="T6" fmla="*/ 32 w 94"/>
                <a:gd name="T7" fmla="*/ 67 h 73"/>
                <a:gd name="T8" fmla="*/ 16 w 94"/>
                <a:gd name="T9" fmla="*/ 70 h 73"/>
                <a:gd name="T10" fmla="*/ 0 w 94"/>
                <a:gd name="T11" fmla="*/ 73 h 73"/>
                <a:gd name="T12" fmla="*/ 0 w 94"/>
                <a:gd name="T13" fmla="*/ 73 h 73"/>
                <a:gd name="T14" fmla="*/ 6 w 94"/>
                <a:gd name="T15" fmla="*/ 57 h 73"/>
                <a:gd name="T16" fmla="*/ 13 w 94"/>
                <a:gd name="T17" fmla="*/ 44 h 73"/>
                <a:gd name="T18" fmla="*/ 21 w 94"/>
                <a:gd name="T19" fmla="*/ 33 h 73"/>
                <a:gd name="T20" fmla="*/ 27 w 94"/>
                <a:gd name="T21" fmla="*/ 23 h 73"/>
                <a:gd name="T22" fmla="*/ 27 w 94"/>
                <a:gd name="T23" fmla="*/ 23 h 73"/>
                <a:gd name="T24" fmla="*/ 37 w 94"/>
                <a:gd name="T25" fmla="*/ 15 h 73"/>
                <a:gd name="T26" fmla="*/ 45 w 94"/>
                <a:gd name="T27" fmla="*/ 8 h 73"/>
                <a:gd name="T28" fmla="*/ 53 w 94"/>
                <a:gd name="T29" fmla="*/ 5 h 73"/>
                <a:gd name="T30" fmla="*/ 62 w 94"/>
                <a:gd name="T31" fmla="*/ 2 h 73"/>
                <a:gd name="T32" fmla="*/ 68 w 94"/>
                <a:gd name="T33" fmla="*/ 0 h 73"/>
                <a:gd name="T34" fmla="*/ 75 w 94"/>
                <a:gd name="T35" fmla="*/ 0 h 73"/>
                <a:gd name="T36" fmla="*/ 81 w 94"/>
                <a:gd name="T37" fmla="*/ 2 h 73"/>
                <a:gd name="T38" fmla="*/ 86 w 94"/>
                <a:gd name="T39" fmla="*/ 3 h 73"/>
                <a:gd name="T40" fmla="*/ 86 w 94"/>
                <a:gd name="T41" fmla="*/ 3 h 73"/>
                <a:gd name="T42" fmla="*/ 89 w 94"/>
                <a:gd name="T43" fmla="*/ 7 h 73"/>
                <a:gd name="T44" fmla="*/ 93 w 94"/>
                <a:gd name="T45" fmla="*/ 10 h 73"/>
                <a:gd name="T46" fmla="*/ 94 w 94"/>
                <a:gd name="T47" fmla="*/ 13 h 73"/>
                <a:gd name="T48" fmla="*/ 94 w 94"/>
                <a:gd name="T49" fmla="*/ 15 h 73"/>
                <a:gd name="T50" fmla="*/ 94 w 94"/>
                <a:gd name="T51" fmla="*/ 15 h 73"/>
                <a:gd name="T52" fmla="*/ 89 w 94"/>
                <a:gd name="T53" fmla="*/ 28 h 73"/>
                <a:gd name="T54" fmla="*/ 81 w 94"/>
                <a:gd name="T55" fmla="*/ 38 h 73"/>
                <a:gd name="T56" fmla="*/ 71 w 94"/>
                <a:gd name="T57" fmla="*/ 47 h 73"/>
                <a:gd name="T58" fmla="*/ 60 w 94"/>
                <a:gd name="T59"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73">
                  <a:moveTo>
                    <a:pt x="60" y="56"/>
                  </a:moveTo>
                  <a:lnTo>
                    <a:pt x="60" y="56"/>
                  </a:lnTo>
                  <a:lnTo>
                    <a:pt x="47" y="62"/>
                  </a:lnTo>
                  <a:lnTo>
                    <a:pt x="32" y="67"/>
                  </a:lnTo>
                  <a:lnTo>
                    <a:pt x="16" y="70"/>
                  </a:lnTo>
                  <a:lnTo>
                    <a:pt x="0" y="73"/>
                  </a:lnTo>
                  <a:lnTo>
                    <a:pt x="0" y="73"/>
                  </a:lnTo>
                  <a:lnTo>
                    <a:pt x="6" y="57"/>
                  </a:lnTo>
                  <a:lnTo>
                    <a:pt x="13" y="44"/>
                  </a:lnTo>
                  <a:lnTo>
                    <a:pt x="21" y="33"/>
                  </a:lnTo>
                  <a:lnTo>
                    <a:pt x="27" y="23"/>
                  </a:lnTo>
                  <a:lnTo>
                    <a:pt x="27" y="23"/>
                  </a:lnTo>
                  <a:lnTo>
                    <a:pt x="37" y="15"/>
                  </a:lnTo>
                  <a:lnTo>
                    <a:pt x="45" y="8"/>
                  </a:lnTo>
                  <a:lnTo>
                    <a:pt x="53" y="5"/>
                  </a:lnTo>
                  <a:lnTo>
                    <a:pt x="62" y="2"/>
                  </a:lnTo>
                  <a:lnTo>
                    <a:pt x="68" y="0"/>
                  </a:lnTo>
                  <a:lnTo>
                    <a:pt x="75" y="0"/>
                  </a:lnTo>
                  <a:lnTo>
                    <a:pt x="81" y="2"/>
                  </a:lnTo>
                  <a:lnTo>
                    <a:pt x="86" y="3"/>
                  </a:lnTo>
                  <a:lnTo>
                    <a:pt x="86" y="3"/>
                  </a:lnTo>
                  <a:lnTo>
                    <a:pt x="89" y="7"/>
                  </a:lnTo>
                  <a:lnTo>
                    <a:pt x="93" y="10"/>
                  </a:lnTo>
                  <a:lnTo>
                    <a:pt x="94" y="13"/>
                  </a:lnTo>
                  <a:lnTo>
                    <a:pt x="94" y="15"/>
                  </a:lnTo>
                  <a:lnTo>
                    <a:pt x="94" y="15"/>
                  </a:lnTo>
                  <a:lnTo>
                    <a:pt x="89" y="28"/>
                  </a:lnTo>
                  <a:lnTo>
                    <a:pt x="81" y="38"/>
                  </a:lnTo>
                  <a:lnTo>
                    <a:pt x="71" y="47"/>
                  </a:lnTo>
                  <a:lnTo>
                    <a:pt x="60"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5" name="Freeform 12">
              <a:extLst>
                <a:ext uri="{FF2B5EF4-FFF2-40B4-BE49-F238E27FC236}">
                  <a16:creationId xmlns:a16="http://schemas.microsoft.com/office/drawing/2014/main" id="{6905FC6F-9C0F-4DE7-8DCD-6AA6C0330C37}"/>
                </a:ext>
              </a:extLst>
            </p:cNvPr>
            <p:cNvSpPr>
              <a:spLocks/>
            </p:cNvSpPr>
            <p:nvPr/>
          </p:nvSpPr>
          <p:spPr bwMode="auto">
            <a:xfrm>
              <a:off x="8045990" y="1934343"/>
              <a:ext cx="1398685" cy="1227439"/>
            </a:xfrm>
            <a:custGeom>
              <a:avLst/>
              <a:gdLst>
                <a:gd name="T0" fmla="*/ 230 w 1315"/>
                <a:gd name="T1" fmla="*/ 1151 h 1154"/>
                <a:gd name="T2" fmla="*/ 187 w 1315"/>
                <a:gd name="T3" fmla="*/ 1115 h 1154"/>
                <a:gd name="T4" fmla="*/ 103 w 1315"/>
                <a:gd name="T5" fmla="*/ 1009 h 1154"/>
                <a:gd name="T6" fmla="*/ 43 w 1315"/>
                <a:gd name="T7" fmla="*/ 889 h 1154"/>
                <a:gd name="T8" fmla="*/ 8 w 1315"/>
                <a:gd name="T9" fmla="*/ 759 h 1154"/>
                <a:gd name="T10" fmla="*/ 0 w 1315"/>
                <a:gd name="T11" fmla="*/ 658 h 1154"/>
                <a:gd name="T12" fmla="*/ 15 w 1315"/>
                <a:gd name="T13" fmla="*/ 526 h 1154"/>
                <a:gd name="T14" fmla="*/ 52 w 1315"/>
                <a:gd name="T15" fmla="*/ 402 h 1154"/>
                <a:gd name="T16" fmla="*/ 114 w 1315"/>
                <a:gd name="T17" fmla="*/ 290 h 1154"/>
                <a:gd name="T18" fmla="*/ 194 w 1315"/>
                <a:gd name="T19" fmla="*/ 192 h 1154"/>
                <a:gd name="T20" fmla="*/ 292 w 1315"/>
                <a:gd name="T21" fmla="*/ 113 h 1154"/>
                <a:gd name="T22" fmla="*/ 402 w 1315"/>
                <a:gd name="T23" fmla="*/ 52 h 1154"/>
                <a:gd name="T24" fmla="*/ 526 w 1315"/>
                <a:gd name="T25" fmla="*/ 13 h 1154"/>
                <a:gd name="T26" fmla="*/ 658 w 1315"/>
                <a:gd name="T27" fmla="*/ 0 h 1154"/>
                <a:gd name="T28" fmla="*/ 759 w 1315"/>
                <a:gd name="T29" fmla="*/ 8 h 1154"/>
                <a:gd name="T30" fmla="*/ 884 w 1315"/>
                <a:gd name="T31" fmla="*/ 41 h 1154"/>
                <a:gd name="T32" fmla="*/ 1000 w 1315"/>
                <a:gd name="T33" fmla="*/ 96 h 1154"/>
                <a:gd name="T34" fmla="*/ 1101 w 1315"/>
                <a:gd name="T35" fmla="*/ 171 h 1154"/>
                <a:gd name="T36" fmla="*/ 1185 w 1315"/>
                <a:gd name="T37" fmla="*/ 264 h 1154"/>
                <a:gd name="T38" fmla="*/ 1250 w 1315"/>
                <a:gd name="T39" fmla="*/ 373 h 1154"/>
                <a:gd name="T40" fmla="*/ 1294 w 1315"/>
                <a:gd name="T41" fmla="*/ 494 h 1154"/>
                <a:gd name="T42" fmla="*/ 1315 w 1315"/>
                <a:gd name="T43" fmla="*/ 624 h 1154"/>
                <a:gd name="T44" fmla="*/ 1312 w 1315"/>
                <a:gd name="T45" fmla="*/ 725 h 1154"/>
                <a:gd name="T46" fmla="*/ 1286 w 1315"/>
                <a:gd name="T47" fmla="*/ 855 h 1154"/>
                <a:gd name="T48" fmla="*/ 1234 w 1315"/>
                <a:gd name="T49" fmla="*/ 977 h 1154"/>
                <a:gd name="T50" fmla="*/ 1158 w 1315"/>
                <a:gd name="T51" fmla="*/ 1086 h 1154"/>
                <a:gd name="T52" fmla="*/ 1102 w 1315"/>
                <a:gd name="T53" fmla="*/ 1141 h 1154"/>
                <a:gd name="T54" fmla="*/ 1060 w 1315"/>
                <a:gd name="T55" fmla="*/ 1148 h 1154"/>
                <a:gd name="T56" fmla="*/ 1032 w 1315"/>
                <a:gd name="T57" fmla="*/ 1133 h 1154"/>
                <a:gd name="T58" fmla="*/ 1016 w 1315"/>
                <a:gd name="T59" fmla="*/ 1093 h 1154"/>
                <a:gd name="T60" fmla="*/ 1034 w 1315"/>
                <a:gd name="T61" fmla="*/ 1053 h 1154"/>
                <a:gd name="T62" fmla="*/ 1091 w 1315"/>
                <a:gd name="T63" fmla="*/ 992 h 1154"/>
                <a:gd name="T64" fmla="*/ 1148 w 1315"/>
                <a:gd name="T65" fmla="*/ 897 h 1154"/>
                <a:gd name="T66" fmla="*/ 1187 w 1315"/>
                <a:gd name="T67" fmla="*/ 795 h 1154"/>
                <a:gd name="T68" fmla="*/ 1203 w 1315"/>
                <a:gd name="T69" fmla="*/ 686 h 1154"/>
                <a:gd name="T70" fmla="*/ 1201 w 1315"/>
                <a:gd name="T71" fmla="*/ 603 h 1154"/>
                <a:gd name="T72" fmla="*/ 1179 w 1315"/>
                <a:gd name="T73" fmla="*/ 495 h 1154"/>
                <a:gd name="T74" fmla="*/ 1138 w 1315"/>
                <a:gd name="T75" fmla="*/ 397 h 1154"/>
                <a:gd name="T76" fmla="*/ 1079 w 1315"/>
                <a:gd name="T77" fmla="*/ 311 h 1154"/>
                <a:gd name="T78" fmla="*/ 1005 w 1315"/>
                <a:gd name="T79" fmla="*/ 236 h 1154"/>
                <a:gd name="T80" fmla="*/ 918 w 1315"/>
                <a:gd name="T81" fmla="*/ 178 h 1154"/>
                <a:gd name="T82" fmla="*/ 821 w 1315"/>
                <a:gd name="T83" fmla="*/ 137 h 1154"/>
                <a:gd name="T84" fmla="*/ 713 w 1315"/>
                <a:gd name="T85" fmla="*/ 114 h 1154"/>
                <a:gd name="T86" fmla="*/ 630 w 1315"/>
                <a:gd name="T87" fmla="*/ 113 h 1154"/>
                <a:gd name="T88" fmla="*/ 523 w 1315"/>
                <a:gd name="T89" fmla="*/ 129 h 1154"/>
                <a:gd name="T90" fmla="*/ 422 w 1315"/>
                <a:gd name="T91" fmla="*/ 166 h 1154"/>
                <a:gd name="T92" fmla="*/ 332 w 1315"/>
                <a:gd name="T93" fmla="*/ 220 h 1154"/>
                <a:gd name="T94" fmla="*/ 254 w 1315"/>
                <a:gd name="T95" fmla="*/ 292 h 1154"/>
                <a:gd name="T96" fmla="*/ 192 w 1315"/>
                <a:gd name="T97" fmla="*/ 375 h 1154"/>
                <a:gd name="T98" fmla="*/ 147 w 1315"/>
                <a:gd name="T99" fmla="*/ 471 h 1154"/>
                <a:gd name="T100" fmla="*/ 119 w 1315"/>
                <a:gd name="T101" fmla="*/ 575 h 1154"/>
                <a:gd name="T102" fmla="*/ 113 w 1315"/>
                <a:gd name="T103" fmla="*/ 658 h 1154"/>
                <a:gd name="T104" fmla="*/ 124 w 1315"/>
                <a:gd name="T105" fmla="*/ 769 h 1154"/>
                <a:gd name="T106" fmla="*/ 158 w 1315"/>
                <a:gd name="T107" fmla="*/ 876 h 1154"/>
                <a:gd name="T108" fmla="*/ 213 w 1315"/>
                <a:gd name="T109" fmla="*/ 972 h 1154"/>
                <a:gd name="T110" fmla="*/ 287 w 1315"/>
                <a:gd name="T111" fmla="*/ 1057 h 1154"/>
                <a:gd name="T112" fmla="*/ 303 w 1315"/>
                <a:gd name="T113" fmla="*/ 1086 h 1154"/>
                <a:gd name="T114" fmla="*/ 296 w 1315"/>
                <a:gd name="T115" fmla="*/ 1127 h 1154"/>
                <a:gd name="T116" fmla="*/ 270 w 1315"/>
                <a:gd name="T117" fmla="*/ 1149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5" h="1154">
                  <a:moveTo>
                    <a:pt x="249" y="1154"/>
                  </a:moveTo>
                  <a:lnTo>
                    <a:pt x="249" y="1154"/>
                  </a:lnTo>
                  <a:lnTo>
                    <a:pt x="240" y="1153"/>
                  </a:lnTo>
                  <a:lnTo>
                    <a:pt x="230" y="1151"/>
                  </a:lnTo>
                  <a:lnTo>
                    <a:pt x="220" y="1146"/>
                  </a:lnTo>
                  <a:lnTo>
                    <a:pt x="212" y="1140"/>
                  </a:lnTo>
                  <a:lnTo>
                    <a:pt x="212" y="1140"/>
                  </a:lnTo>
                  <a:lnTo>
                    <a:pt x="187" y="1115"/>
                  </a:lnTo>
                  <a:lnTo>
                    <a:pt x="163" y="1091"/>
                  </a:lnTo>
                  <a:lnTo>
                    <a:pt x="142" y="1065"/>
                  </a:lnTo>
                  <a:lnTo>
                    <a:pt x="122" y="1037"/>
                  </a:lnTo>
                  <a:lnTo>
                    <a:pt x="103" y="1009"/>
                  </a:lnTo>
                  <a:lnTo>
                    <a:pt x="87" y="980"/>
                  </a:lnTo>
                  <a:lnTo>
                    <a:pt x="70" y="951"/>
                  </a:lnTo>
                  <a:lnTo>
                    <a:pt x="56" y="920"/>
                  </a:lnTo>
                  <a:lnTo>
                    <a:pt x="43" y="889"/>
                  </a:lnTo>
                  <a:lnTo>
                    <a:pt x="33" y="858"/>
                  </a:lnTo>
                  <a:lnTo>
                    <a:pt x="23" y="826"/>
                  </a:lnTo>
                  <a:lnTo>
                    <a:pt x="15" y="793"/>
                  </a:lnTo>
                  <a:lnTo>
                    <a:pt x="8" y="759"/>
                  </a:lnTo>
                  <a:lnTo>
                    <a:pt x="5" y="726"/>
                  </a:lnTo>
                  <a:lnTo>
                    <a:pt x="2" y="692"/>
                  </a:lnTo>
                  <a:lnTo>
                    <a:pt x="0" y="658"/>
                  </a:lnTo>
                  <a:lnTo>
                    <a:pt x="0" y="658"/>
                  </a:lnTo>
                  <a:lnTo>
                    <a:pt x="2" y="624"/>
                  </a:lnTo>
                  <a:lnTo>
                    <a:pt x="5" y="591"/>
                  </a:lnTo>
                  <a:lnTo>
                    <a:pt x="8" y="557"/>
                  </a:lnTo>
                  <a:lnTo>
                    <a:pt x="15" y="526"/>
                  </a:lnTo>
                  <a:lnTo>
                    <a:pt x="21" y="494"/>
                  </a:lnTo>
                  <a:lnTo>
                    <a:pt x="31" y="463"/>
                  </a:lnTo>
                  <a:lnTo>
                    <a:pt x="41" y="432"/>
                  </a:lnTo>
                  <a:lnTo>
                    <a:pt x="52" y="402"/>
                  </a:lnTo>
                  <a:lnTo>
                    <a:pt x="65" y="373"/>
                  </a:lnTo>
                  <a:lnTo>
                    <a:pt x="80" y="345"/>
                  </a:lnTo>
                  <a:lnTo>
                    <a:pt x="96" y="318"/>
                  </a:lnTo>
                  <a:lnTo>
                    <a:pt x="114" y="290"/>
                  </a:lnTo>
                  <a:lnTo>
                    <a:pt x="132" y="264"/>
                  </a:lnTo>
                  <a:lnTo>
                    <a:pt x="152" y="240"/>
                  </a:lnTo>
                  <a:lnTo>
                    <a:pt x="171" y="215"/>
                  </a:lnTo>
                  <a:lnTo>
                    <a:pt x="194" y="192"/>
                  </a:lnTo>
                  <a:lnTo>
                    <a:pt x="217" y="171"/>
                  </a:lnTo>
                  <a:lnTo>
                    <a:pt x="241" y="150"/>
                  </a:lnTo>
                  <a:lnTo>
                    <a:pt x="266" y="131"/>
                  </a:lnTo>
                  <a:lnTo>
                    <a:pt x="292" y="113"/>
                  </a:lnTo>
                  <a:lnTo>
                    <a:pt x="318" y="96"/>
                  </a:lnTo>
                  <a:lnTo>
                    <a:pt x="345" y="80"/>
                  </a:lnTo>
                  <a:lnTo>
                    <a:pt x="373" y="65"/>
                  </a:lnTo>
                  <a:lnTo>
                    <a:pt x="402" y="52"/>
                  </a:lnTo>
                  <a:lnTo>
                    <a:pt x="433" y="41"/>
                  </a:lnTo>
                  <a:lnTo>
                    <a:pt x="463" y="30"/>
                  </a:lnTo>
                  <a:lnTo>
                    <a:pt x="493" y="21"/>
                  </a:lnTo>
                  <a:lnTo>
                    <a:pt x="526" y="13"/>
                  </a:lnTo>
                  <a:lnTo>
                    <a:pt x="559" y="8"/>
                  </a:lnTo>
                  <a:lnTo>
                    <a:pt x="591" y="4"/>
                  </a:lnTo>
                  <a:lnTo>
                    <a:pt x="625" y="2"/>
                  </a:lnTo>
                  <a:lnTo>
                    <a:pt x="658" y="0"/>
                  </a:lnTo>
                  <a:lnTo>
                    <a:pt x="658" y="0"/>
                  </a:lnTo>
                  <a:lnTo>
                    <a:pt x="692" y="2"/>
                  </a:lnTo>
                  <a:lnTo>
                    <a:pt x="726" y="4"/>
                  </a:lnTo>
                  <a:lnTo>
                    <a:pt x="759" y="8"/>
                  </a:lnTo>
                  <a:lnTo>
                    <a:pt x="791" y="13"/>
                  </a:lnTo>
                  <a:lnTo>
                    <a:pt x="822" y="21"/>
                  </a:lnTo>
                  <a:lnTo>
                    <a:pt x="853" y="30"/>
                  </a:lnTo>
                  <a:lnTo>
                    <a:pt x="884" y="41"/>
                  </a:lnTo>
                  <a:lnTo>
                    <a:pt x="913" y="52"/>
                  </a:lnTo>
                  <a:lnTo>
                    <a:pt x="943" y="65"/>
                  </a:lnTo>
                  <a:lnTo>
                    <a:pt x="972" y="80"/>
                  </a:lnTo>
                  <a:lnTo>
                    <a:pt x="1000" y="96"/>
                  </a:lnTo>
                  <a:lnTo>
                    <a:pt x="1026" y="113"/>
                  </a:lnTo>
                  <a:lnTo>
                    <a:pt x="1052" y="131"/>
                  </a:lnTo>
                  <a:lnTo>
                    <a:pt x="1076" y="150"/>
                  </a:lnTo>
                  <a:lnTo>
                    <a:pt x="1101" y="171"/>
                  </a:lnTo>
                  <a:lnTo>
                    <a:pt x="1123" y="192"/>
                  </a:lnTo>
                  <a:lnTo>
                    <a:pt x="1145" y="215"/>
                  </a:lnTo>
                  <a:lnTo>
                    <a:pt x="1166" y="240"/>
                  </a:lnTo>
                  <a:lnTo>
                    <a:pt x="1185" y="264"/>
                  </a:lnTo>
                  <a:lnTo>
                    <a:pt x="1203" y="290"/>
                  </a:lnTo>
                  <a:lnTo>
                    <a:pt x="1221" y="318"/>
                  </a:lnTo>
                  <a:lnTo>
                    <a:pt x="1236" y="345"/>
                  </a:lnTo>
                  <a:lnTo>
                    <a:pt x="1250" y="373"/>
                  </a:lnTo>
                  <a:lnTo>
                    <a:pt x="1263" y="402"/>
                  </a:lnTo>
                  <a:lnTo>
                    <a:pt x="1276" y="432"/>
                  </a:lnTo>
                  <a:lnTo>
                    <a:pt x="1286" y="463"/>
                  </a:lnTo>
                  <a:lnTo>
                    <a:pt x="1294" y="494"/>
                  </a:lnTo>
                  <a:lnTo>
                    <a:pt x="1302" y="526"/>
                  </a:lnTo>
                  <a:lnTo>
                    <a:pt x="1307" y="557"/>
                  </a:lnTo>
                  <a:lnTo>
                    <a:pt x="1312" y="591"/>
                  </a:lnTo>
                  <a:lnTo>
                    <a:pt x="1315" y="624"/>
                  </a:lnTo>
                  <a:lnTo>
                    <a:pt x="1315" y="658"/>
                  </a:lnTo>
                  <a:lnTo>
                    <a:pt x="1315" y="658"/>
                  </a:lnTo>
                  <a:lnTo>
                    <a:pt x="1315" y="692"/>
                  </a:lnTo>
                  <a:lnTo>
                    <a:pt x="1312" y="725"/>
                  </a:lnTo>
                  <a:lnTo>
                    <a:pt x="1307" y="759"/>
                  </a:lnTo>
                  <a:lnTo>
                    <a:pt x="1302" y="791"/>
                  </a:lnTo>
                  <a:lnTo>
                    <a:pt x="1294" y="824"/>
                  </a:lnTo>
                  <a:lnTo>
                    <a:pt x="1286" y="855"/>
                  </a:lnTo>
                  <a:lnTo>
                    <a:pt x="1275" y="887"/>
                  </a:lnTo>
                  <a:lnTo>
                    <a:pt x="1263" y="917"/>
                  </a:lnTo>
                  <a:lnTo>
                    <a:pt x="1249" y="948"/>
                  </a:lnTo>
                  <a:lnTo>
                    <a:pt x="1234" y="977"/>
                  </a:lnTo>
                  <a:lnTo>
                    <a:pt x="1216" y="1005"/>
                  </a:lnTo>
                  <a:lnTo>
                    <a:pt x="1198" y="1032"/>
                  </a:lnTo>
                  <a:lnTo>
                    <a:pt x="1179" y="1060"/>
                  </a:lnTo>
                  <a:lnTo>
                    <a:pt x="1158" y="1086"/>
                  </a:lnTo>
                  <a:lnTo>
                    <a:pt x="1135" y="1110"/>
                  </a:lnTo>
                  <a:lnTo>
                    <a:pt x="1110" y="1135"/>
                  </a:lnTo>
                  <a:lnTo>
                    <a:pt x="1110" y="1135"/>
                  </a:lnTo>
                  <a:lnTo>
                    <a:pt x="1102" y="1141"/>
                  </a:lnTo>
                  <a:lnTo>
                    <a:pt x="1092" y="1146"/>
                  </a:lnTo>
                  <a:lnTo>
                    <a:pt x="1081" y="1149"/>
                  </a:lnTo>
                  <a:lnTo>
                    <a:pt x="1071" y="1149"/>
                  </a:lnTo>
                  <a:lnTo>
                    <a:pt x="1060" y="1148"/>
                  </a:lnTo>
                  <a:lnTo>
                    <a:pt x="1050" y="1145"/>
                  </a:lnTo>
                  <a:lnTo>
                    <a:pt x="1040" y="1140"/>
                  </a:lnTo>
                  <a:lnTo>
                    <a:pt x="1032" y="1133"/>
                  </a:lnTo>
                  <a:lnTo>
                    <a:pt x="1032" y="1133"/>
                  </a:lnTo>
                  <a:lnTo>
                    <a:pt x="1024" y="1123"/>
                  </a:lnTo>
                  <a:lnTo>
                    <a:pt x="1019" y="1114"/>
                  </a:lnTo>
                  <a:lnTo>
                    <a:pt x="1018" y="1104"/>
                  </a:lnTo>
                  <a:lnTo>
                    <a:pt x="1016" y="1093"/>
                  </a:lnTo>
                  <a:lnTo>
                    <a:pt x="1018" y="1081"/>
                  </a:lnTo>
                  <a:lnTo>
                    <a:pt x="1021" y="1071"/>
                  </a:lnTo>
                  <a:lnTo>
                    <a:pt x="1026" y="1062"/>
                  </a:lnTo>
                  <a:lnTo>
                    <a:pt x="1034" y="1053"/>
                  </a:lnTo>
                  <a:lnTo>
                    <a:pt x="1034" y="1053"/>
                  </a:lnTo>
                  <a:lnTo>
                    <a:pt x="1053" y="1034"/>
                  </a:lnTo>
                  <a:lnTo>
                    <a:pt x="1073" y="1013"/>
                  </a:lnTo>
                  <a:lnTo>
                    <a:pt x="1091" y="992"/>
                  </a:lnTo>
                  <a:lnTo>
                    <a:pt x="1107" y="969"/>
                  </a:lnTo>
                  <a:lnTo>
                    <a:pt x="1122" y="946"/>
                  </a:lnTo>
                  <a:lnTo>
                    <a:pt x="1136" y="922"/>
                  </a:lnTo>
                  <a:lnTo>
                    <a:pt x="1148" y="897"/>
                  </a:lnTo>
                  <a:lnTo>
                    <a:pt x="1159" y="873"/>
                  </a:lnTo>
                  <a:lnTo>
                    <a:pt x="1171" y="848"/>
                  </a:lnTo>
                  <a:lnTo>
                    <a:pt x="1179" y="822"/>
                  </a:lnTo>
                  <a:lnTo>
                    <a:pt x="1187" y="795"/>
                  </a:lnTo>
                  <a:lnTo>
                    <a:pt x="1193" y="769"/>
                  </a:lnTo>
                  <a:lnTo>
                    <a:pt x="1198" y="741"/>
                  </a:lnTo>
                  <a:lnTo>
                    <a:pt x="1201" y="713"/>
                  </a:lnTo>
                  <a:lnTo>
                    <a:pt x="1203" y="686"/>
                  </a:lnTo>
                  <a:lnTo>
                    <a:pt x="1203" y="658"/>
                  </a:lnTo>
                  <a:lnTo>
                    <a:pt x="1203" y="658"/>
                  </a:lnTo>
                  <a:lnTo>
                    <a:pt x="1203" y="630"/>
                  </a:lnTo>
                  <a:lnTo>
                    <a:pt x="1201" y="603"/>
                  </a:lnTo>
                  <a:lnTo>
                    <a:pt x="1198" y="575"/>
                  </a:lnTo>
                  <a:lnTo>
                    <a:pt x="1193" y="547"/>
                  </a:lnTo>
                  <a:lnTo>
                    <a:pt x="1187" y="521"/>
                  </a:lnTo>
                  <a:lnTo>
                    <a:pt x="1179" y="495"/>
                  </a:lnTo>
                  <a:lnTo>
                    <a:pt x="1171" y="471"/>
                  </a:lnTo>
                  <a:lnTo>
                    <a:pt x="1161" y="446"/>
                  </a:lnTo>
                  <a:lnTo>
                    <a:pt x="1149" y="422"/>
                  </a:lnTo>
                  <a:lnTo>
                    <a:pt x="1138" y="397"/>
                  </a:lnTo>
                  <a:lnTo>
                    <a:pt x="1125" y="375"/>
                  </a:lnTo>
                  <a:lnTo>
                    <a:pt x="1110" y="354"/>
                  </a:lnTo>
                  <a:lnTo>
                    <a:pt x="1096" y="331"/>
                  </a:lnTo>
                  <a:lnTo>
                    <a:pt x="1079" y="311"/>
                  </a:lnTo>
                  <a:lnTo>
                    <a:pt x="1062" y="292"/>
                  </a:lnTo>
                  <a:lnTo>
                    <a:pt x="1044" y="272"/>
                  </a:lnTo>
                  <a:lnTo>
                    <a:pt x="1024" y="254"/>
                  </a:lnTo>
                  <a:lnTo>
                    <a:pt x="1005" y="236"/>
                  </a:lnTo>
                  <a:lnTo>
                    <a:pt x="985" y="220"/>
                  </a:lnTo>
                  <a:lnTo>
                    <a:pt x="964" y="205"/>
                  </a:lnTo>
                  <a:lnTo>
                    <a:pt x="941" y="191"/>
                  </a:lnTo>
                  <a:lnTo>
                    <a:pt x="918" y="178"/>
                  </a:lnTo>
                  <a:lnTo>
                    <a:pt x="894" y="166"/>
                  </a:lnTo>
                  <a:lnTo>
                    <a:pt x="871" y="155"/>
                  </a:lnTo>
                  <a:lnTo>
                    <a:pt x="845" y="145"/>
                  </a:lnTo>
                  <a:lnTo>
                    <a:pt x="821" y="137"/>
                  </a:lnTo>
                  <a:lnTo>
                    <a:pt x="795" y="129"/>
                  </a:lnTo>
                  <a:lnTo>
                    <a:pt x="769" y="124"/>
                  </a:lnTo>
                  <a:lnTo>
                    <a:pt x="741" y="119"/>
                  </a:lnTo>
                  <a:lnTo>
                    <a:pt x="713" y="114"/>
                  </a:lnTo>
                  <a:lnTo>
                    <a:pt x="687" y="113"/>
                  </a:lnTo>
                  <a:lnTo>
                    <a:pt x="658" y="113"/>
                  </a:lnTo>
                  <a:lnTo>
                    <a:pt x="658" y="113"/>
                  </a:lnTo>
                  <a:lnTo>
                    <a:pt x="630" y="113"/>
                  </a:lnTo>
                  <a:lnTo>
                    <a:pt x="603" y="114"/>
                  </a:lnTo>
                  <a:lnTo>
                    <a:pt x="575" y="119"/>
                  </a:lnTo>
                  <a:lnTo>
                    <a:pt x="549" y="124"/>
                  </a:lnTo>
                  <a:lnTo>
                    <a:pt x="523" y="129"/>
                  </a:lnTo>
                  <a:lnTo>
                    <a:pt x="497" y="137"/>
                  </a:lnTo>
                  <a:lnTo>
                    <a:pt x="471" y="145"/>
                  </a:lnTo>
                  <a:lnTo>
                    <a:pt x="446" y="155"/>
                  </a:lnTo>
                  <a:lnTo>
                    <a:pt x="422" y="166"/>
                  </a:lnTo>
                  <a:lnTo>
                    <a:pt x="399" y="178"/>
                  </a:lnTo>
                  <a:lnTo>
                    <a:pt x="376" y="191"/>
                  </a:lnTo>
                  <a:lnTo>
                    <a:pt x="353" y="205"/>
                  </a:lnTo>
                  <a:lnTo>
                    <a:pt x="332" y="220"/>
                  </a:lnTo>
                  <a:lnTo>
                    <a:pt x="311" y="236"/>
                  </a:lnTo>
                  <a:lnTo>
                    <a:pt x="292" y="254"/>
                  </a:lnTo>
                  <a:lnTo>
                    <a:pt x="272" y="272"/>
                  </a:lnTo>
                  <a:lnTo>
                    <a:pt x="254" y="292"/>
                  </a:lnTo>
                  <a:lnTo>
                    <a:pt x="238" y="311"/>
                  </a:lnTo>
                  <a:lnTo>
                    <a:pt x="222" y="331"/>
                  </a:lnTo>
                  <a:lnTo>
                    <a:pt x="207" y="354"/>
                  </a:lnTo>
                  <a:lnTo>
                    <a:pt x="192" y="375"/>
                  </a:lnTo>
                  <a:lnTo>
                    <a:pt x="179" y="397"/>
                  </a:lnTo>
                  <a:lnTo>
                    <a:pt x="166" y="422"/>
                  </a:lnTo>
                  <a:lnTo>
                    <a:pt x="157" y="446"/>
                  </a:lnTo>
                  <a:lnTo>
                    <a:pt x="147" y="471"/>
                  </a:lnTo>
                  <a:lnTo>
                    <a:pt x="137" y="495"/>
                  </a:lnTo>
                  <a:lnTo>
                    <a:pt x="130" y="521"/>
                  </a:lnTo>
                  <a:lnTo>
                    <a:pt x="124" y="547"/>
                  </a:lnTo>
                  <a:lnTo>
                    <a:pt x="119" y="575"/>
                  </a:lnTo>
                  <a:lnTo>
                    <a:pt x="116" y="603"/>
                  </a:lnTo>
                  <a:lnTo>
                    <a:pt x="114" y="630"/>
                  </a:lnTo>
                  <a:lnTo>
                    <a:pt x="113" y="658"/>
                  </a:lnTo>
                  <a:lnTo>
                    <a:pt x="113" y="658"/>
                  </a:lnTo>
                  <a:lnTo>
                    <a:pt x="114" y="686"/>
                  </a:lnTo>
                  <a:lnTo>
                    <a:pt x="116" y="713"/>
                  </a:lnTo>
                  <a:lnTo>
                    <a:pt x="119" y="743"/>
                  </a:lnTo>
                  <a:lnTo>
                    <a:pt x="124" y="769"/>
                  </a:lnTo>
                  <a:lnTo>
                    <a:pt x="130" y="796"/>
                  </a:lnTo>
                  <a:lnTo>
                    <a:pt x="139" y="824"/>
                  </a:lnTo>
                  <a:lnTo>
                    <a:pt x="148" y="850"/>
                  </a:lnTo>
                  <a:lnTo>
                    <a:pt x="158" y="876"/>
                  </a:lnTo>
                  <a:lnTo>
                    <a:pt x="170" y="900"/>
                  </a:lnTo>
                  <a:lnTo>
                    <a:pt x="184" y="925"/>
                  </a:lnTo>
                  <a:lnTo>
                    <a:pt x="197" y="949"/>
                  </a:lnTo>
                  <a:lnTo>
                    <a:pt x="213" y="972"/>
                  </a:lnTo>
                  <a:lnTo>
                    <a:pt x="230" y="995"/>
                  </a:lnTo>
                  <a:lnTo>
                    <a:pt x="248" y="1018"/>
                  </a:lnTo>
                  <a:lnTo>
                    <a:pt x="267" y="1037"/>
                  </a:lnTo>
                  <a:lnTo>
                    <a:pt x="287" y="1057"/>
                  </a:lnTo>
                  <a:lnTo>
                    <a:pt x="287" y="1057"/>
                  </a:lnTo>
                  <a:lnTo>
                    <a:pt x="295" y="1066"/>
                  </a:lnTo>
                  <a:lnTo>
                    <a:pt x="300" y="1076"/>
                  </a:lnTo>
                  <a:lnTo>
                    <a:pt x="303" y="1086"/>
                  </a:lnTo>
                  <a:lnTo>
                    <a:pt x="305" y="1096"/>
                  </a:lnTo>
                  <a:lnTo>
                    <a:pt x="305" y="1107"/>
                  </a:lnTo>
                  <a:lnTo>
                    <a:pt x="301" y="1117"/>
                  </a:lnTo>
                  <a:lnTo>
                    <a:pt x="296" y="1127"/>
                  </a:lnTo>
                  <a:lnTo>
                    <a:pt x="290" y="1136"/>
                  </a:lnTo>
                  <a:lnTo>
                    <a:pt x="290" y="1136"/>
                  </a:lnTo>
                  <a:lnTo>
                    <a:pt x="282" y="1145"/>
                  </a:lnTo>
                  <a:lnTo>
                    <a:pt x="270" y="1149"/>
                  </a:lnTo>
                  <a:lnTo>
                    <a:pt x="261" y="1153"/>
                  </a:lnTo>
                  <a:lnTo>
                    <a:pt x="249" y="1154"/>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6" name="Freeform 13">
              <a:extLst>
                <a:ext uri="{FF2B5EF4-FFF2-40B4-BE49-F238E27FC236}">
                  <a16:creationId xmlns:a16="http://schemas.microsoft.com/office/drawing/2014/main" id="{CEF91631-5B5F-4FD0-A31C-6C8A416F320F}"/>
                </a:ext>
              </a:extLst>
            </p:cNvPr>
            <p:cNvSpPr>
              <a:spLocks/>
            </p:cNvSpPr>
            <p:nvPr/>
          </p:nvSpPr>
          <p:spPr bwMode="auto">
            <a:xfrm>
              <a:off x="8045990" y="1934343"/>
              <a:ext cx="1398685" cy="1227439"/>
            </a:xfrm>
            <a:custGeom>
              <a:avLst/>
              <a:gdLst>
                <a:gd name="T0" fmla="*/ 230 w 1315"/>
                <a:gd name="T1" fmla="*/ 1151 h 1154"/>
                <a:gd name="T2" fmla="*/ 187 w 1315"/>
                <a:gd name="T3" fmla="*/ 1115 h 1154"/>
                <a:gd name="T4" fmla="*/ 103 w 1315"/>
                <a:gd name="T5" fmla="*/ 1009 h 1154"/>
                <a:gd name="T6" fmla="*/ 43 w 1315"/>
                <a:gd name="T7" fmla="*/ 889 h 1154"/>
                <a:gd name="T8" fmla="*/ 8 w 1315"/>
                <a:gd name="T9" fmla="*/ 759 h 1154"/>
                <a:gd name="T10" fmla="*/ 0 w 1315"/>
                <a:gd name="T11" fmla="*/ 658 h 1154"/>
                <a:gd name="T12" fmla="*/ 15 w 1315"/>
                <a:gd name="T13" fmla="*/ 526 h 1154"/>
                <a:gd name="T14" fmla="*/ 52 w 1315"/>
                <a:gd name="T15" fmla="*/ 402 h 1154"/>
                <a:gd name="T16" fmla="*/ 114 w 1315"/>
                <a:gd name="T17" fmla="*/ 290 h 1154"/>
                <a:gd name="T18" fmla="*/ 194 w 1315"/>
                <a:gd name="T19" fmla="*/ 192 h 1154"/>
                <a:gd name="T20" fmla="*/ 292 w 1315"/>
                <a:gd name="T21" fmla="*/ 113 h 1154"/>
                <a:gd name="T22" fmla="*/ 402 w 1315"/>
                <a:gd name="T23" fmla="*/ 52 h 1154"/>
                <a:gd name="T24" fmla="*/ 526 w 1315"/>
                <a:gd name="T25" fmla="*/ 13 h 1154"/>
                <a:gd name="T26" fmla="*/ 658 w 1315"/>
                <a:gd name="T27" fmla="*/ 0 h 1154"/>
                <a:gd name="T28" fmla="*/ 759 w 1315"/>
                <a:gd name="T29" fmla="*/ 8 h 1154"/>
                <a:gd name="T30" fmla="*/ 884 w 1315"/>
                <a:gd name="T31" fmla="*/ 41 h 1154"/>
                <a:gd name="T32" fmla="*/ 1000 w 1315"/>
                <a:gd name="T33" fmla="*/ 96 h 1154"/>
                <a:gd name="T34" fmla="*/ 1101 w 1315"/>
                <a:gd name="T35" fmla="*/ 171 h 1154"/>
                <a:gd name="T36" fmla="*/ 1185 w 1315"/>
                <a:gd name="T37" fmla="*/ 264 h 1154"/>
                <a:gd name="T38" fmla="*/ 1250 w 1315"/>
                <a:gd name="T39" fmla="*/ 373 h 1154"/>
                <a:gd name="T40" fmla="*/ 1294 w 1315"/>
                <a:gd name="T41" fmla="*/ 494 h 1154"/>
                <a:gd name="T42" fmla="*/ 1315 w 1315"/>
                <a:gd name="T43" fmla="*/ 624 h 1154"/>
                <a:gd name="T44" fmla="*/ 1312 w 1315"/>
                <a:gd name="T45" fmla="*/ 725 h 1154"/>
                <a:gd name="T46" fmla="*/ 1286 w 1315"/>
                <a:gd name="T47" fmla="*/ 855 h 1154"/>
                <a:gd name="T48" fmla="*/ 1234 w 1315"/>
                <a:gd name="T49" fmla="*/ 977 h 1154"/>
                <a:gd name="T50" fmla="*/ 1158 w 1315"/>
                <a:gd name="T51" fmla="*/ 1086 h 1154"/>
                <a:gd name="T52" fmla="*/ 1102 w 1315"/>
                <a:gd name="T53" fmla="*/ 1141 h 1154"/>
                <a:gd name="T54" fmla="*/ 1060 w 1315"/>
                <a:gd name="T55" fmla="*/ 1148 h 1154"/>
                <a:gd name="T56" fmla="*/ 1032 w 1315"/>
                <a:gd name="T57" fmla="*/ 1133 h 1154"/>
                <a:gd name="T58" fmla="*/ 1016 w 1315"/>
                <a:gd name="T59" fmla="*/ 1093 h 1154"/>
                <a:gd name="T60" fmla="*/ 1034 w 1315"/>
                <a:gd name="T61" fmla="*/ 1053 h 1154"/>
                <a:gd name="T62" fmla="*/ 1091 w 1315"/>
                <a:gd name="T63" fmla="*/ 992 h 1154"/>
                <a:gd name="T64" fmla="*/ 1148 w 1315"/>
                <a:gd name="T65" fmla="*/ 897 h 1154"/>
                <a:gd name="T66" fmla="*/ 1187 w 1315"/>
                <a:gd name="T67" fmla="*/ 795 h 1154"/>
                <a:gd name="T68" fmla="*/ 1203 w 1315"/>
                <a:gd name="T69" fmla="*/ 686 h 1154"/>
                <a:gd name="T70" fmla="*/ 1201 w 1315"/>
                <a:gd name="T71" fmla="*/ 603 h 1154"/>
                <a:gd name="T72" fmla="*/ 1179 w 1315"/>
                <a:gd name="T73" fmla="*/ 495 h 1154"/>
                <a:gd name="T74" fmla="*/ 1138 w 1315"/>
                <a:gd name="T75" fmla="*/ 397 h 1154"/>
                <a:gd name="T76" fmla="*/ 1079 w 1315"/>
                <a:gd name="T77" fmla="*/ 311 h 1154"/>
                <a:gd name="T78" fmla="*/ 1005 w 1315"/>
                <a:gd name="T79" fmla="*/ 236 h 1154"/>
                <a:gd name="T80" fmla="*/ 918 w 1315"/>
                <a:gd name="T81" fmla="*/ 178 h 1154"/>
                <a:gd name="T82" fmla="*/ 821 w 1315"/>
                <a:gd name="T83" fmla="*/ 137 h 1154"/>
                <a:gd name="T84" fmla="*/ 713 w 1315"/>
                <a:gd name="T85" fmla="*/ 114 h 1154"/>
                <a:gd name="T86" fmla="*/ 630 w 1315"/>
                <a:gd name="T87" fmla="*/ 113 h 1154"/>
                <a:gd name="T88" fmla="*/ 523 w 1315"/>
                <a:gd name="T89" fmla="*/ 129 h 1154"/>
                <a:gd name="T90" fmla="*/ 422 w 1315"/>
                <a:gd name="T91" fmla="*/ 166 h 1154"/>
                <a:gd name="T92" fmla="*/ 332 w 1315"/>
                <a:gd name="T93" fmla="*/ 220 h 1154"/>
                <a:gd name="T94" fmla="*/ 254 w 1315"/>
                <a:gd name="T95" fmla="*/ 292 h 1154"/>
                <a:gd name="T96" fmla="*/ 192 w 1315"/>
                <a:gd name="T97" fmla="*/ 375 h 1154"/>
                <a:gd name="T98" fmla="*/ 147 w 1315"/>
                <a:gd name="T99" fmla="*/ 471 h 1154"/>
                <a:gd name="T100" fmla="*/ 119 w 1315"/>
                <a:gd name="T101" fmla="*/ 575 h 1154"/>
                <a:gd name="T102" fmla="*/ 113 w 1315"/>
                <a:gd name="T103" fmla="*/ 658 h 1154"/>
                <a:gd name="T104" fmla="*/ 124 w 1315"/>
                <a:gd name="T105" fmla="*/ 769 h 1154"/>
                <a:gd name="T106" fmla="*/ 158 w 1315"/>
                <a:gd name="T107" fmla="*/ 876 h 1154"/>
                <a:gd name="T108" fmla="*/ 213 w 1315"/>
                <a:gd name="T109" fmla="*/ 972 h 1154"/>
                <a:gd name="T110" fmla="*/ 287 w 1315"/>
                <a:gd name="T111" fmla="*/ 1057 h 1154"/>
                <a:gd name="T112" fmla="*/ 303 w 1315"/>
                <a:gd name="T113" fmla="*/ 1086 h 1154"/>
                <a:gd name="T114" fmla="*/ 296 w 1315"/>
                <a:gd name="T115" fmla="*/ 1127 h 1154"/>
                <a:gd name="T116" fmla="*/ 270 w 1315"/>
                <a:gd name="T117" fmla="*/ 1149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15" h="1154">
                  <a:moveTo>
                    <a:pt x="249" y="1154"/>
                  </a:moveTo>
                  <a:lnTo>
                    <a:pt x="249" y="1154"/>
                  </a:lnTo>
                  <a:lnTo>
                    <a:pt x="240" y="1153"/>
                  </a:lnTo>
                  <a:lnTo>
                    <a:pt x="230" y="1151"/>
                  </a:lnTo>
                  <a:lnTo>
                    <a:pt x="220" y="1146"/>
                  </a:lnTo>
                  <a:lnTo>
                    <a:pt x="212" y="1140"/>
                  </a:lnTo>
                  <a:lnTo>
                    <a:pt x="212" y="1140"/>
                  </a:lnTo>
                  <a:lnTo>
                    <a:pt x="187" y="1115"/>
                  </a:lnTo>
                  <a:lnTo>
                    <a:pt x="163" y="1091"/>
                  </a:lnTo>
                  <a:lnTo>
                    <a:pt x="142" y="1065"/>
                  </a:lnTo>
                  <a:lnTo>
                    <a:pt x="122" y="1037"/>
                  </a:lnTo>
                  <a:lnTo>
                    <a:pt x="103" y="1009"/>
                  </a:lnTo>
                  <a:lnTo>
                    <a:pt x="87" y="980"/>
                  </a:lnTo>
                  <a:lnTo>
                    <a:pt x="70" y="951"/>
                  </a:lnTo>
                  <a:lnTo>
                    <a:pt x="56" y="920"/>
                  </a:lnTo>
                  <a:lnTo>
                    <a:pt x="43" y="889"/>
                  </a:lnTo>
                  <a:lnTo>
                    <a:pt x="33" y="858"/>
                  </a:lnTo>
                  <a:lnTo>
                    <a:pt x="23" y="826"/>
                  </a:lnTo>
                  <a:lnTo>
                    <a:pt x="15" y="793"/>
                  </a:lnTo>
                  <a:lnTo>
                    <a:pt x="8" y="759"/>
                  </a:lnTo>
                  <a:lnTo>
                    <a:pt x="5" y="726"/>
                  </a:lnTo>
                  <a:lnTo>
                    <a:pt x="2" y="692"/>
                  </a:lnTo>
                  <a:lnTo>
                    <a:pt x="0" y="658"/>
                  </a:lnTo>
                  <a:lnTo>
                    <a:pt x="0" y="658"/>
                  </a:lnTo>
                  <a:lnTo>
                    <a:pt x="2" y="624"/>
                  </a:lnTo>
                  <a:lnTo>
                    <a:pt x="5" y="591"/>
                  </a:lnTo>
                  <a:lnTo>
                    <a:pt x="8" y="557"/>
                  </a:lnTo>
                  <a:lnTo>
                    <a:pt x="15" y="526"/>
                  </a:lnTo>
                  <a:lnTo>
                    <a:pt x="21" y="494"/>
                  </a:lnTo>
                  <a:lnTo>
                    <a:pt x="31" y="463"/>
                  </a:lnTo>
                  <a:lnTo>
                    <a:pt x="41" y="432"/>
                  </a:lnTo>
                  <a:lnTo>
                    <a:pt x="52" y="402"/>
                  </a:lnTo>
                  <a:lnTo>
                    <a:pt x="65" y="373"/>
                  </a:lnTo>
                  <a:lnTo>
                    <a:pt x="80" y="345"/>
                  </a:lnTo>
                  <a:lnTo>
                    <a:pt x="96" y="318"/>
                  </a:lnTo>
                  <a:lnTo>
                    <a:pt x="114" y="290"/>
                  </a:lnTo>
                  <a:lnTo>
                    <a:pt x="132" y="264"/>
                  </a:lnTo>
                  <a:lnTo>
                    <a:pt x="152" y="240"/>
                  </a:lnTo>
                  <a:lnTo>
                    <a:pt x="171" y="215"/>
                  </a:lnTo>
                  <a:lnTo>
                    <a:pt x="194" y="192"/>
                  </a:lnTo>
                  <a:lnTo>
                    <a:pt x="217" y="171"/>
                  </a:lnTo>
                  <a:lnTo>
                    <a:pt x="241" y="150"/>
                  </a:lnTo>
                  <a:lnTo>
                    <a:pt x="266" y="131"/>
                  </a:lnTo>
                  <a:lnTo>
                    <a:pt x="292" y="113"/>
                  </a:lnTo>
                  <a:lnTo>
                    <a:pt x="318" y="96"/>
                  </a:lnTo>
                  <a:lnTo>
                    <a:pt x="345" y="80"/>
                  </a:lnTo>
                  <a:lnTo>
                    <a:pt x="373" y="65"/>
                  </a:lnTo>
                  <a:lnTo>
                    <a:pt x="402" y="52"/>
                  </a:lnTo>
                  <a:lnTo>
                    <a:pt x="433" y="41"/>
                  </a:lnTo>
                  <a:lnTo>
                    <a:pt x="463" y="30"/>
                  </a:lnTo>
                  <a:lnTo>
                    <a:pt x="493" y="21"/>
                  </a:lnTo>
                  <a:lnTo>
                    <a:pt x="526" y="13"/>
                  </a:lnTo>
                  <a:lnTo>
                    <a:pt x="559" y="8"/>
                  </a:lnTo>
                  <a:lnTo>
                    <a:pt x="591" y="4"/>
                  </a:lnTo>
                  <a:lnTo>
                    <a:pt x="625" y="2"/>
                  </a:lnTo>
                  <a:lnTo>
                    <a:pt x="658" y="0"/>
                  </a:lnTo>
                  <a:lnTo>
                    <a:pt x="658" y="0"/>
                  </a:lnTo>
                  <a:lnTo>
                    <a:pt x="692" y="2"/>
                  </a:lnTo>
                  <a:lnTo>
                    <a:pt x="726" y="4"/>
                  </a:lnTo>
                  <a:lnTo>
                    <a:pt x="759" y="8"/>
                  </a:lnTo>
                  <a:lnTo>
                    <a:pt x="791" y="13"/>
                  </a:lnTo>
                  <a:lnTo>
                    <a:pt x="822" y="21"/>
                  </a:lnTo>
                  <a:lnTo>
                    <a:pt x="853" y="30"/>
                  </a:lnTo>
                  <a:lnTo>
                    <a:pt x="884" y="41"/>
                  </a:lnTo>
                  <a:lnTo>
                    <a:pt x="913" y="52"/>
                  </a:lnTo>
                  <a:lnTo>
                    <a:pt x="943" y="65"/>
                  </a:lnTo>
                  <a:lnTo>
                    <a:pt x="972" y="80"/>
                  </a:lnTo>
                  <a:lnTo>
                    <a:pt x="1000" y="96"/>
                  </a:lnTo>
                  <a:lnTo>
                    <a:pt x="1026" y="113"/>
                  </a:lnTo>
                  <a:lnTo>
                    <a:pt x="1052" y="131"/>
                  </a:lnTo>
                  <a:lnTo>
                    <a:pt x="1076" y="150"/>
                  </a:lnTo>
                  <a:lnTo>
                    <a:pt x="1101" y="171"/>
                  </a:lnTo>
                  <a:lnTo>
                    <a:pt x="1123" y="192"/>
                  </a:lnTo>
                  <a:lnTo>
                    <a:pt x="1145" y="215"/>
                  </a:lnTo>
                  <a:lnTo>
                    <a:pt x="1166" y="240"/>
                  </a:lnTo>
                  <a:lnTo>
                    <a:pt x="1185" y="264"/>
                  </a:lnTo>
                  <a:lnTo>
                    <a:pt x="1203" y="290"/>
                  </a:lnTo>
                  <a:lnTo>
                    <a:pt x="1221" y="318"/>
                  </a:lnTo>
                  <a:lnTo>
                    <a:pt x="1236" y="345"/>
                  </a:lnTo>
                  <a:lnTo>
                    <a:pt x="1250" y="373"/>
                  </a:lnTo>
                  <a:lnTo>
                    <a:pt x="1263" y="402"/>
                  </a:lnTo>
                  <a:lnTo>
                    <a:pt x="1276" y="432"/>
                  </a:lnTo>
                  <a:lnTo>
                    <a:pt x="1286" y="463"/>
                  </a:lnTo>
                  <a:lnTo>
                    <a:pt x="1294" y="494"/>
                  </a:lnTo>
                  <a:lnTo>
                    <a:pt x="1302" y="526"/>
                  </a:lnTo>
                  <a:lnTo>
                    <a:pt x="1307" y="557"/>
                  </a:lnTo>
                  <a:lnTo>
                    <a:pt x="1312" y="591"/>
                  </a:lnTo>
                  <a:lnTo>
                    <a:pt x="1315" y="624"/>
                  </a:lnTo>
                  <a:lnTo>
                    <a:pt x="1315" y="658"/>
                  </a:lnTo>
                  <a:lnTo>
                    <a:pt x="1315" y="658"/>
                  </a:lnTo>
                  <a:lnTo>
                    <a:pt x="1315" y="692"/>
                  </a:lnTo>
                  <a:lnTo>
                    <a:pt x="1312" y="725"/>
                  </a:lnTo>
                  <a:lnTo>
                    <a:pt x="1307" y="759"/>
                  </a:lnTo>
                  <a:lnTo>
                    <a:pt x="1302" y="791"/>
                  </a:lnTo>
                  <a:lnTo>
                    <a:pt x="1294" y="824"/>
                  </a:lnTo>
                  <a:lnTo>
                    <a:pt x="1286" y="855"/>
                  </a:lnTo>
                  <a:lnTo>
                    <a:pt x="1275" y="887"/>
                  </a:lnTo>
                  <a:lnTo>
                    <a:pt x="1263" y="917"/>
                  </a:lnTo>
                  <a:lnTo>
                    <a:pt x="1249" y="948"/>
                  </a:lnTo>
                  <a:lnTo>
                    <a:pt x="1234" y="977"/>
                  </a:lnTo>
                  <a:lnTo>
                    <a:pt x="1216" y="1005"/>
                  </a:lnTo>
                  <a:lnTo>
                    <a:pt x="1198" y="1032"/>
                  </a:lnTo>
                  <a:lnTo>
                    <a:pt x="1179" y="1060"/>
                  </a:lnTo>
                  <a:lnTo>
                    <a:pt x="1158" y="1086"/>
                  </a:lnTo>
                  <a:lnTo>
                    <a:pt x="1135" y="1110"/>
                  </a:lnTo>
                  <a:lnTo>
                    <a:pt x="1110" y="1135"/>
                  </a:lnTo>
                  <a:lnTo>
                    <a:pt x="1110" y="1135"/>
                  </a:lnTo>
                  <a:lnTo>
                    <a:pt x="1102" y="1141"/>
                  </a:lnTo>
                  <a:lnTo>
                    <a:pt x="1092" y="1146"/>
                  </a:lnTo>
                  <a:lnTo>
                    <a:pt x="1081" y="1149"/>
                  </a:lnTo>
                  <a:lnTo>
                    <a:pt x="1071" y="1149"/>
                  </a:lnTo>
                  <a:lnTo>
                    <a:pt x="1060" y="1148"/>
                  </a:lnTo>
                  <a:lnTo>
                    <a:pt x="1050" y="1145"/>
                  </a:lnTo>
                  <a:lnTo>
                    <a:pt x="1040" y="1140"/>
                  </a:lnTo>
                  <a:lnTo>
                    <a:pt x="1032" y="1133"/>
                  </a:lnTo>
                  <a:lnTo>
                    <a:pt x="1032" y="1133"/>
                  </a:lnTo>
                  <a:lnTo>
                    <a:pt x="1024" y="1123"/>
                  </a:lnTo>
                  <a:lnTo>
                    <a:pt x="1019" y="1114"/>
                  </a:lnTo>
                  <a:lnTo>
                    <a:pt x="1018" y="1104"/>
                  </a:lnTo>
                  <a:lnTo>
                    <a:pt x="1016" y="1093"/>
                  </a:lnTo>
                  <a:lnTo>
                    <a:pt x="1018" y="1081"/>
                  </a:lnTo>
                  <a:lnTo>
                    <a:pt x="1021" y="1071"/>
                  </a:lnTo>
                  <a:lnTo>
                    <a:pt x="1026" y="1062"/>
                  </a:lnTo>
                  <a:lnTo>
                    <a:pt x="1034" y="1053"/>
                  </a:lnTo>
                  <a:lnTo>
                    <a:pt x="1034" y="1053"/>
                  </a:lnTo>
                  <a:lnTo>
                    <a:pt x="1053" y="1034"/>
                  </a:lnTo>
                  <a:lnTo>
                    <a:pt x="1073" y="1013"/>
                  </a:lnTo>
                  <a:lnTo>
                    <a:pt x="1091" y="992"/>
                  </a:lnTo>
                  <a:lnTo>
                    <a:pt x="1107" y="969"/>
                  </a:lnTo>
                  <a:lnTo>
                    <a:pt x="1122" y="946"/>
                  </a:lnTo>
                  <a:lnTo>
                    <a:pt x="1136" y="922"/>
                  </a:lnTo>
                  <a:lnTo>
                    <a:pt x="1148" y="897"/>
                  </a:lnTo>
                  <a:lnTo>
                    <a:pt x="1159" y="873"/>
                  </a:lnTo>
                  <a:lnTo>
                    <a:pt x="1171" y="848"/>
                  </a:lnTo>
                  <a:lnTo>
                    <a:pt x="1179" y="822"/>
                  </a:lnTo>
                  <a:lnTo>
                    <a:pt x="1187" y="795"/>
                  </a:lnTo>
                  <a:lnTo>
                    <a:pt x="1193" y="769"/>
                  </a:lnTo>
                  <a:lnTo>
                    <a:pt x="1198" y="741"/>
                  </a:lnTo>
                  <a:lnTo>
                    <a:pt x="1201" y="713"/>
                  </a:lnTo>
                  <a:lnTo>
                    <a:pt x="1203" y="686"/>
                  </a:lnTo>
                  <a:lnTo>
                    <a:pt x="1203" y="658"/>
                  </a:lnTo>
                  <a:lnTo>
                    <a:pt x="1203" y="658"/>
                  </a:lnTo>
                  <a:lnTo>
                    <a:pt x="1203" y="630"/>
                  </a:lnTo>
                  <a:lnTo>
                    <a:pt x="1201" y="603"/>
                  </a:lnTo>
                  <a:lnTo>
                    <a:pt x="1198" y="575"/>
                  </a:lnTo>
                  <a:lnTo>
                    <a:pt x="1193" y="547"/>
                  </a:lnTo>
                  <a:lnTo>
                    <a:pt x="1187" y="521"/>
                  </a:lnTo>
                  <a:lnTo>
                    <a:pt x="1179" y="495"/>
                  </a:lnTo>
                  <a:lnTo>
                    <a:pt x="1171" y="471"/>
                  </a:lnTo>
                  <a:lnTo>
                    <a:pt x="1161" y="446"/>
                  </a:lnTo>
                  <a:lnTo>
                    <a:pt x="1149" y="422"/>
                  </a:lnTo>
                  <a:lnTo>
                    <a:pt x="1138" y="397"/>
                  </a:lnTo>
                  <a:lnTo>
                    <a:pt x="1125" y="375"/>
                  </a:lnTo>
                  <a:lnTo>
                    <a:pt x="1110" y="354"/>
                  </a:lnTo>
                  <a:lnTo>
                    <a:pt x="1096" y="331"/>
                  </a:lnTo>
                  <a:lnTo>
                    <a:pt x="1079" y="311"/>
                  </a:lnTo>
                  <a:lnTo>
                    <a:pt x="1062" y="292"/>
                  </a:lnTo>
                  <a:lnTo>
                    <a:pt x="1044" y="272"/>
                  </a:lnTo>
                  <a:lnTo>
                    <a:pt x="1024" y="254"/>
                  </a:lnTo>
                  <a:lnTo>
                    <a:pt x="1005" y="236"/>
                  </a:lnTo>
                  <a:lnTo>
                    <a:pt x="985" y="220"/>
                  </a:lnTo>
                  <a:lnTo>
                    <a:pt x="964" y="205"/>
                  </a:lnTo>
                  <a:lnTo>
                    <a:pt x="941" y="191"/>
                  </a:lnTo>
                  <a:lnTo>
                    <a:pt x="918" y="178"/>
                  </a:lnTo>
                  <a:lnTo>
                    <a:pt x="894" y="166"/>
                  </a:lnTo>
                  <a:lnTo>
                    <a:pt x="871" y="155"/>
                  </a:lnTo>
                  <a:lnTo>
                    <a:pt x="845" y="145"/>
                  </a:lnTo>
                  <a:lnTo>
                    <a:pt x="821" y="137"/>
                  </a:lnTo>
                  <a:lnTo>
                    <a:pt x="795" y="129"/>
                  </a:lnTo>
                  <a:lnTo>
                    <a:pt x="769" y="124"/>
                  </a:lnTo>
                  <a:lnTo>
                    <a:pt x="741" y="119"/>
                  </a:lnTo>
                  <a:lnTo>
                    <a:pt x="713" y="114"/>
                  </a:lnTo>
                  <a:lnTo>
                    <a:pt x="687" y="113"/>
                  </a:lnTo>
                  <a:lnTo>
                    <a:pt x="658" y="113"/>
                  </a:lnTo>
                  <a:lnTo>
                    <a:pt x="658" y="113"/>
                  </a:lnTo>
                  <a:lnTo>
                    <a:pt x="630" y="113"/>
                  </a:lnTo>
                  <a:lnTo>
                    <a:pt x="603" y="114"/>
                  </a:lnTo>
                  <a:lnTo>
                    <a:pt x="575" y="119"/>
                  </a:lnTo>
                  <a:lnTo>
                    <a:pt x="549" y="124"/>
                  </a:lnTo>
                  <a:lnTo>
                    <a:pt x="523" y="129"/>
                  </a:lnTo>
                  <a:lnTo>
                    <a:pt x="497" y="137"/>
                  </a:lnTo>
                  <a:lnTo>
                    <a:pt x="471" y="145"/>
                  </a:lnTo>
                  <a:lnTo>
                    <a:pt x="446" y="155"/>
                  </a:lnTo>
                  <a:lnTo>
                    <a:pt x="422" y="166"/>
                  </a:lnTo>
                  <a:lnTo>
                    <a:pt x="399" y="178"/>
                  </a:lnTo>
                  <a:lnTo>
                    <a:pt x="376" y="191"/>
                  </a:lnTo>
                  <a:lnTo>
                    <a:pt x="353" y="205"/>
                  </a:lnTo>
                  <a:lnTo>
                    <a:pt x="332" y="220"/>
                  </a:lnTo>
                  <a:lnTo>
                    <a:pt x="311" y="236"/>
                  </a:lnTo>
                  <a:lnTo>
                    <a:pt x="292" y="254"/>
                  </a:lnTo>
                  <a:lnTo>
                    <a:pt x="272" y="272"/>
                  </a:lnTo>
                  <a:lnTo>
                    <a:pt x="254" y="292"/>
                  </a:lnTo>
                  <a:lnTo>
                    <a:pt x="238" y="311"/>
                  </a:lnTo>
                  <a:lnTo>
                    <a:pt x="222" y="331"/>
                  </a:lnTo>
                  <a:lnTo>
                    <a:pt x="207" y="354"/>
                  </a:lnTo>
                  <a:lnTo>
                    <a:pt x="192" y="375"/>
                  </a:lnTo>
                  <a:lnTo>
                    <a:pt x="179" y="397"/>
                  </a:lnTo>
                  <a:lnTo>
                    <a:pt x="166" y="422"/>
                  </a:lnTo>
                  <a:lnTo>
                    <a:pt x="157" y="446"/>
                  </a:lnTo>
                  <a:lnTo>
                    <a:pt x="147" y="471"/>
                  </a:lnTo>
                  <a:lnTo>
                    <a:pt x="137" y="495"/>
                  </a:lnTo>
                  <a:lnTo>
                    <a:pt x="130" y="521"/>
                  </a:lnTo>
                  <a:lnTo>
                    <a:pt x="124" y="547"/>
                  </a:lnTo>
                  <a:lnTo>
                    <a:pt x="119" y="575"/>
                  </a:lnTo>
                  <a:lnTo>
                    <a:pt x="116" y="603"/>
                  </a:lnTo>
                  <a:lnTo>
                    <a:pt x="114" y="630"/>
                  </a:lnTo>
                  <a:lnTo>
                    <a:pt x="113" y="658"/>
                  </a:lnTo>
                  <a:lnTo>
                    <a:pt x="113" y="658"/>
                  </a:lnTo>
                  <a:lnTo>
                    <a:pt x="114" y="686"/>
                  </a:lnTo>
                  <a:lnTo>
                    <a:pt x="116" y="713"/>
                  </a:lnTo>
                  <a:lnTo>
                    <a:pt x="119" y="743"/>
                  </a:lnTo>
                  <a:lnTo>
                    <a:pt x="124" y="769"/>
                  </a:lnTo>
                  <a:lnTo>
                    <a:pt x="130" y="796"/>
                  </a:lnTo>
                  <a:lnTo>
                    <a:pt x="139" y="824"/>
                  </a:lnTo>
                  <a:lnTo>
                    <a:pt x="148" y="850"/>
                  </a:lnTo>
                  <a:lnTo>
                    <a:pt x="158" y="876"/>
                  </a:lnTo>
                  <a:lnTo>
                    <a:pt x="170" y="900"/>
                  </a:lnTo>
                  <a:lnTo>
                    <a:pt x="184" y="925"/>
                  </a:lnTo>
                  <a:lnTo>
                    <a:pt x="197" y="949"/>
                  </a:lnTo>
                  <a:lnTo>
                    <a:pt x="213" y="972"/>
                  </a:lnTo>
                  <a:lnTo>
                    <a:pt x="230" y="995"/>
                  </a:lnTo>
                  <a:lnTo>
                    <a:pt x="248" y="1018"/>
                  </a:lnTo>
                  <a:lnTo>
                    <a:pt x="267" y="1037"/>
                  </a:lnTo>
                  <a:lnTo>
                    <a:pt x="287" y="1057"/>
                  </a:lnTo>
                  <a:lnTo>
                    <a:pt x="287" y="1057"/>
                  </a:lnTo>
                  <a:lnTo>
                    <a:pt x="295" y="1066"/>
                  </a:lnTo>
                  <a:lnTo>
                    <a:pt x="300" y="1076"/>
                  </a:lnTo>
                  <a:lnTo>
                    <a:pt x="303" y="1086"/>
                  </a:lnTo>
                  <a:lnTo>
                    <a:pt x="305" y="1096"/>
                  </a:lnTo>
                  <a:lnTo>
                    <a:pt x="305" y="1107"/>
                  </a:lnTo>
                  <a:lnTo>
                    <a:pt x="301" y="1117"/>
                  </a:lnTo>
                  <a:lnTo>
                    <a:pt x="296" y="1127"/>
                  </a:lnTo>
                  <a:lnTo>
                    <a:pt x="290" y="1136"/>
                  </a:lnTo>
                  <a:lnTo>
                    <a:pt x="290" y="1136"/>
                  </a:lnTo>
                  <a:lnTo>
                    <a:pt x="282" y="1145"/>
                  </a:lnTo>
                  <a:lnTo>
                    <a:pt x="270" y="1149"/>
                  </a:lnTo>
                  <a:lnTo>
                    <a:pt x="261" y="1153"/>
                  </a:lnTo>
                  <a:lnTo>
                    <a:pt x="249" y="11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7" name="Freeform 14">
              <a:extLst>
                <a:ext uri="{FF2B5EF4-FFF2-40B4-BE49-F238E27FC236}">
                  <a16:creationId xmlns:a16="http://schemas.microsoft.com/office/drawing/2014/main" id="{D10A5ADF-DF2F-43FD-ABF2-1BBE72F0687A}"/>
                </a:ext>
              </a:extLst>
            </p:cNvPr>
            <p:cNvSpPr>
              <a:spLocks/>
            </p:cNvSpPr>
            <p:nvPr/>
          </p:nvSpPr>
          <p:spPr bwMode="auto">
            <a:xfrm>
              <a:off x="8406563" y="3179863"/>
              <a:ext cx="679665" cy="117000"/>
            </a:xfrm>
            <a:custGeom>
              <a:avLst/>
              <a:gdLst>
                <a:gd name="T0" fmla="*/ 639 w 639"/>
                <a:gd name="T1" fmla="*/ 55 h 110"/>
                <a:gd name="T2" fmla="*/ 639 w 639"/>
                <a:gd name="T3" fmla="*/ 55 h 110"/>
                <a:gd name="T4" fmla="*/ 638 w 639"/>
                <a:gd name="T5" fmla="*/ 66 h 110"/>
                <a:gd name="T6" fmla="*/ 635 w 639"/>
                <a:gd name="T7" fmla="*/ 76 h 110"/>
                <a:gd name="T8" fmla="*/ 630 w 639"/>
                <a:gd name="T9" fmla="*/ 86 h 110"/>
                <a:gd name="T10" fmla="*/ 623 w 639"/>
                <a:gd name="T11" fmla="*/ 94 h 110"/>
                <a:gd name="T12" fmla="*/ 615 w 639"/>
                <a:gd name="T13" fmla="*/ 101 h 110"/>
                <a:gd name="T14" fmla="*/ 605 w 639"/>
                <a:gd name="T15" fmla="*/ 105 h 110"/>
                <a:gd name="T16" fmla="*/ 596 w 639"/>
                <a:gd name="T17" fmla="*/ 109 h 110"/>
                <a:gd name="T18" fmla="*/ 584 w 639"/>
                <a:gd name="T19" fmla="*/ 110 h 110"/>
                <a:gd name="T20" fmla="*/ 55 w 639"/>
                <a:gd name="T21" fmla="*/ 110 h 110"/>
                <a:gd name="T22" fmla="*/ 55 w 639"/>
                <a:gd name="T23" fmla="*/ 110 h 110"/>
                <a:gd name="T24" fmla="*/ 44 w 639"/>
                <a:gd name="T25" fmla="*/ 109 h 110"/>
                <a:gd name="T26" fmla="*/ 32 w 639"/>
                <a:gd name="T27" fmla="*/ 105 h 110"/>
                <a:gd name="T28" fmla="*/ 24 w 639"/>
                <a:gd name="T29" fmla="*/ 101 h 110"/>
                <a:gd name="T30" fmla="*/ 16 w 639"/>
                <a:gd name="T31" fmla="*/ 94 h 110"/>
                <a:gd name="T32" fmla="*/ 10 w 639"/>
                <a:gd name="T33" fmla="*/ 86 h 110"/>
                <a:gd name="T34" fmla="*/ 3 w 639"/>
                <a:gd name="T35" fmla="*/ 76 h 110"/>
                <a:gd name="T36" fmla="*/ 0 w 639"/>
                <a:gd name="T37" fmla="*/ 66 h 110"/>
                <a:gd name="T38" fmla="*/ 0 w 639"/>
                <a:gd name="T39" fmla="*/ 55 h 110"/>
                <a:gd name="T40" fmla="*/ 0 w 639"/>
                <a:gd name="T41" fmla="*/ 55 h 110"/>
                <a:gd name="T42" fmla="*/ 0 w 639"/>
                <a:gd name="T43" fmla="*/ 44 h 110"/>
                <a:gd name="T44" fmla="*/ 3 w 639"/>
                <a:gd name="T45" fmla="*/ 34 h 110"/>
                <a:gd name="T46" fmla="*/ 10 w 639"/>
                <a:gd name="T47" fmla="*/ 24 h 110"/>
                <a:gd name="T48" fmla="*/ 16 w 639"/>
                <a:gd name="T49" fmla="*/ 16 h 110"/>
                <a:gd name="T50" fmla="*/ 24 w 639"/>
                <a:gd name="T51" fmla="*/ 9 h 110"/>
                <a:gd name="T52" fmla="*/ 32 w 639"/>
                <a:gd name="T53" fmla="*/ 5 h 110"/>
                <a:gd name="T54" fmla="*/ 44 w 639"/>
                <a:gd name="T55" fmla="*/ 1 h 110"/>
                <a:gd name="T56" fmla="*/ 55 w 639"/>
                <a:gd name="T57" fmla="*/ 0 h 110"/>
                <a:gd name="T58" fmla="*/ 584 w 639"/>
                <a:gd name="T59" fmla="*/ 0 h 110"/>
                <a:gd name="T60" fmla="*/ 584 w 639"/>
                <a:gd name="T61" fmla="*/ 0 h 110"/>
                <a:gd name="T62" fmla="*/ 596 w 639"/>
                <a:gd name="T63" fmla="*/ 1 h 110"/>
                <a:gd name="T64" fmla="*/ 605 w 639"/>
                <a:gd name="T65" fmla="*/ 5 h 110"/>
                <a:gd name="T66" fmla="*/ 615 w 639"/>
                <a:gd name="T67" fmla="*/ 9 h 110"/>
                <a:gd name="T68" fmla="*/ 623 w 639"/>
                <a:gd name="T69" fmla="*/ 16 h 110"/>
                <a:gd name="T70" fmla="*/ 630 w 639"/>
                <a:gd name="T71" fmla="*/ 24 h 110"/>
                <a:gd name="T72" fmla="*/ 635 w 639"/>
                <a:gd name="T73" fmla="*/ 34 h 110"/>
                <a:gd name="T74" fmla="*/ 638 w 639"/>
                <a:gd name="T75" fmla="*/ 44 h 110"/>
                <a:gd name="T76" fmla="*/ 639 w 639"/>
                <a:gd name="T7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10">
                  <a:moveTo>
                    <a:pt x="639" y="55"/>
                  </a:moveTo>
                  <a:lnTo>
                    <a:pt x="639" y="55"/>
                  </a:lnTo>
                  <a:lnTo>
                    <a:pt x="638" y="66"/>
                  </a:lnTo>
                  <a:lnTo>
                    <a:pt x="635" y="76"/>
                  </a:lnTo>
                  <a:lnTo>
                    <a:pt x="630" y="86"/>
                  </a:lnTo>
                  <a:lnTo>
                    <a:pt x="623" y="94"/>
                  </a:lnTo>
                  <a:lnTo>
                    <a:pt x="615" y="101"/>
                  </a:lnTo>
                  <a:lnTo>
                    <a:pt x="605" y="105"/>
                  </a:lnTo>
                  <a:lnTo>
                    <a:pt x="596" y="109"/>
                  </a:lnTo>
                  <a:lnTo>
                    <a:pt x="584" y="110"/>
                  </a:lnTo>
                  <a:lnTo>
                    <a:pt x="55" y="110"/>
                  </a:lnTo>
                  <a:lnTo>
                    <a:pt x="55" y="110"/>
                  </a:lnTo>
                  <a:lnTo>
                    <a:pt x="44" y="109"/>
                  </a:lnTo>
                  <a:lnTo>
                    <a:pt x="32" y="105"/>
                  </a:lnTo>
                  <a:lnTo>
                    <a:pt x="24" y="101"/>
                  </a:lnTo>
                  <a:lnTo>
                    <a:pt x="16" y="94"/>
                  </a:lnTo>
                  <a:lnTo>
                    <a:pt x="10" y="86"/>
                  </a:lnTo>
                  <a:lnTo>
                    <a:pt x="3" y="76"/>
                  </a:lnTo>
                  <a:lnTo>
                    <a:pt x="0" y="66"/>
                  </a:lnTo>
                  <a:lnTo>
                    <a:pt x="0" y="55"/>
                  </a:lnTo>
                  <a:lnTo>
                    <a:pt x="0" y="55"/>
                  </a:lnTo>
                  <a:lnTo>
                    <a:pt x="0" y="44"/>
                  </a:lnTo>
                  <a:lnTo>
                    <a:pt x="3" y="34"/>
                  </a:lnTo>
                  <a:lnTo>
                    <a:pt x="10" y="24"/>
                  </a:lnTo>
                  <a:lnTo>
                    <a:pt x="16" y="16"/>
                  </a:lnTo>
                  <a:lnTo>
                    <a:pt x="24" y="9"/>
                  </a:lnTo>
                  <a:lnTo>
                    <a:pt x="32" y="5"/>
                  </a:lnTo>
                  <a:lnTo>
                    <a:pt x="44" y="1"/>
                  </a:lnTo>
                  <a:lnTo>
                    <a:pt x="55" y="0"/>
                  </a:lnTo>
                  <a:lnTo>
                    <a:pt x="584" y="0"/>
                  </a:lnTo>
                  <a:lnTo>
                    <a:pt x="584" y="0"/>
                  </a:lnTo>
                  <a:lnTo>
                    <a:pt x="596" y="1"/>
                  </a:lnTo>
                  <a:lnTo>
                    <a:pt x="605" y="5"/>
                  </a:lnTo>
                  <a:lnTo>
                    <a:pt x="615" y="9"/>
                  </a:lnTo>
                  <a:lnTo>
                    <a:pt x="623" y="16"/>
                  </a:lnTo>
                  <a:lnTo>
                    <a:pt x="630" y="24"/>
                  </a:lnTo>
                  <a:lnTo>
                    <a:pt x="635" y="34"/>
                  </a:lnTo>
                  <a:lnTo>
                    <a:pt x="638" y="44"/>
                  </a:lnTo>
                  <a:lnTo>
                    <a:pt x="639" y="55"/>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8" name="Freeform 15">
              <a:extLst>
                <a:ext uri="{FF2B5EF4-FFF2-40B4-BE49-F238E27FC236}">
                  <a16:creationId xmlns:a16="http://schemas.microsoft.com/office/drawing/2014/main" id="{B2EF8D05-FDD6-4461-89C7-13B8F12E54DA}"/>
                </a:ext>
              </a:extLst>
            </p:cNvPr>
            <p:cNvSpPr>
              <a:spLocks/>
            </p:cNvSpPr>
            <p:nvPr/>
          </p:nvSpPr>
          <p:spPr bwMode="auto">
            <a:xfrm>
              <a:off x="8406563" y="3179863"/>
              <a:ext cx="679665" cy="117000"/>
            </a:xfrm>
            <a:custGeom>
              <a:avLst/>
              <a:gdLst>
                <a:gd name="T0" fmla="*/ 639 w 639"/>
                <a:gd name="T1" fmla="*/ 55 h 110"/>
                <a:gd name="T2" fmla="*/ 639 w 639"/>
                <a:gd name="T3" fmla="*/ 55 h 110"/>
                <a:gd name="T4" fmla="*/ 638 w 639"/>
                <a:gd name="T5" fmla="*/ 66 h 110"/>
                <a:gd name="T6" fmla="*/ 635 w 639"/>
                <a:gd name="T7" fmla="*/ 76 h 110"/>
                <a:gd name="T8" fmla="*/ 630 w 639"/>
                <a:gd name="T9" fmla="*/ 86 h 110"/>
                <a:gd name="T10" fmla="*/ 623 w 639"/>
                <a:gd name="T11" fmla="*/ 94 h 110"/>
                <a:gd name="T12" fmla="*/ 615 w 639"/>
                <a:gd name="T13" fmla="*/ 101 h 110"/>
                <a:gd name="T14" fmla="*/ 605 w 639"/>
                <a:gd name="T15" fmla="*/ 105 h 110"/>
                <a:gd name="T16" fmla="*/ 596 w 639"/>
                <a:gd name="T17" fmla="*/ 109 h 110"/>
                <a:gd name="T18" fmla="*/ 584 w 639"/>
                <a:gd name="T19" fmla="*/ 110 h 110"/>
                <a:gd name="T20" fmla="*/ 55 w 639"/>
                <a:gd name="T21" fmla="*/ 110 h 110"/>
                <a:gd name="T22" fmla="*/ 55 w 639"/>
                <a:gd name="T23" fmla="*/ 110 h 110"/>
                <a:gd name="T24" fmla="*/ 44 w 639"/>
                <a:gd name="T25" fmla="*/ 109 h 110"/>
                <a:gd name="T26" fmla="*/ 32 w 639"/>
                <a:gd name="T27" fmla="*/ 105 h 110"/>
                <a:gd name="T28" fmla="*/ 24 w 639"/>
                <a:gd name="T29" fmla="*/ 101 h 110"/>
                <a:gd name="T30" fmla="*/ 16 w 639"/>
                <a:gd name="T31" fmla="*/ 94 h 110"/>
                <a:gd name="T32" fmla="*/ 10 w 639"/>
                <a:gd name="T33" fmla="*/ 86 h 110"/>
                <a:gd name="T34" fmla="*/ 3 w 639"/>
                <a:gd name="T35" fmla="*/ 76 h 110"/>
                <a:gd name="T36" fmla="*/ 0 w 639"/>
                <a:gd name="T37" fmla="*/ 66 h 110"/>
                <a:gd name="T38" fmla="*/ 0 w 639"/>
                <a:gd name="T39" fmla="*/ 55 h 110"/>
                <a:gd name="T40" fmla="*/ 0 w 639"/>
                <a:gd name="T41" fmla="*/ 55 h 110"/>
                <a:gd name="T42" fmla="*/ 0 w 639"/>
                <a:gd name="T43" fmla="*/ 44 h 110"/>
                <a:gd name="T44" fmla="*/ 3 w 639"/>
                <a:gd name="T45" fmla="*/ 34 h 110"/>
                <a:gd name="T46" fmla="*/ 10 w 639"/>
                <a:gd name="T47" fmla="*/ 24 h 110"/>
                <a:gd name="T48" fmla="*/ 16 w 639"/>
                <a:gd name="T49" fmla="*/ 16 h 110"/>
                <a:gd name="T50" fmla="*/ 24 w 639"/>
                <a:gd name="T51" fmla="*/ 9 h 110"/>
                <a:gd name="T52" fmla="*/ 32 w 639"/>
                <a:gd name="T53" fmla="*/ 5 h 110"/>
                <a:gd name="T54" fmla="*/ 44 w 639"/>
                <a:gd name="T55" fmla="*/ 1 h 110"/>
                <a:gd name="T56" fmla="*/ 55 w 639"/>
                <a:gd name="T57" fmla="*/ 0 h 110"/>
                <a:gd name="T58" fmla="*/ 584 w 639"/>
                <a:gd name="T59" fmla="*/ 0 h 110"/>
                <a:gd name="T60" fmla="*/ 584 w 639"/>
                <a:gd name="T61" fmla="*/ 0 h 110"/>
                <a:gd name="T62" fmla="*/ 596 w 639"/>
                <a:gd name="T63" fmla="*/ 1 h 110"/>
                <a:gd name="T64" fmla="*/ 605 w 639"/>
                <a:gd name="T65" fmla="*/ 5 h 110"/>
                <a:gd name="T66" fmla="*/ 615 w 639"/>
                <a:gd name="T67" fmla="*/ 9 h 110"/>
                <a:gd name="T68" fmla="*/ 623 w 639"/>
                <a:gd name="T69" fmla="*/ 16 h 110"/>
                <a:gd name="T70" fmla="*/ 630 w 639"/>
                <a:gd name="T71" fmla="*/ 24 h 110"/>
                <a:gd name="T72" fmla="*/ 635 w 639"/>
                <a:gd name="T73" fmla="*/ 34 h 110"/>
                <a:gd name="T74" fmla="*/ 638 w 639"/>
                <a:gd name="T75" fmla="*/ 44 h 110"/>
                <a:gd name="T76" fmla="*/ 639 w 639"/>
                <a:gd name="T77" fmla="*/ 5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10">
                  <a:moveTo>
                    <a:pt x="639" y="55"/>
                  </a:moveTo>
                  <a:lnTo>
                    <a:pt x="639" y="55"/>
                  </a:lnTo>
                  <a:lnTo>
                    <a:pt x="638" y="66"/>
                  </a:lnTo>
                  <a:lnTo>
                    <a:pt x="635" y="76"/>
                  </a:lnTo>
                  <a:lnTo>
                    <a:pt x="630" y="86"/>
                  </a:lnTo>
                  <a:lnTo>
                    <a:pt x="623" y="94"/>
                  </a:lnTo>
                  <a:lnTo>
                    <a:pt x="615" y="101"/>
                  </a:lnTo>
                  <a:lnTo>
                    <a:pt x="605" y="105"/>
                  </a:lnTo>
                  <a:lnTo>
                    <a:pt x="596" y="109"/>
                  </a:lnTo>
                  <a:lnTo>
                    <a:pt x="584" y="110"/>
                  </a:lnTo>
                  <a:lnTo>
                    <a:pt x="55" y="110"/>
                  </a:lnTo>
                  <a:lnTo>
                    <a:pt x="55" y="110"/>
                  </a:lnTo>
                  <a:lnTo>
                    <a:pt x="44" y="109"/>
                  </a:lnTo>
                  <a:lnTo>
                    <a:pt x="32" y="105"/>
                  </a:lnTo>
                  <a:lnTo>
                    <a:pt x="24" y="101"/>
                  </a:lnTo>
                  <a:lnTo>
                    <a:pt x="16" y="94"/>
                  </a:lnTo>
                  <a:lnTo>
                    <a:pt x="10" y="86"/>
                  </a:lnTo>
                  <a:lnTo>
                    <a:pt x="3" y="76"/>
                  </a:lnTo>
                  <a:lnTo>
                    <a:pt x="0" y="66"/>
                  </a:lnTo>
                  <a:lnTo>
                    <a:pt x="0" y="55"/>
                  </a:lnTo>
                  <a:lnTo>
                    <a:pt x="0" y="55"/>
                  </a:lnTo>
                  <a:lnTo>
                    <a:pt x="0" y="44"/>
                  </a:lnTo>
                  <a:lnTo>
                    <a:pt x="3" y="34"/>
                  </a:lnTo>
                  <a:lnTo>
                    <a:pt x="10" y="24"/>
                  </a:lnTo>
                  <a:lnTo>
                    <a:pt x="16" y="16"/>
                  </a:lnTo>
                  <a:lnTo>
                    <a:pt x="24" y="9"/>
                  </a:lnTo>
                  <a:lnTo>
                    <a:pt x="32" y="5"/>
                  </a:lnTo>
                  <a:lnTo>
                    <a:pt x="44" y="1"/>
                  </a:lnTo>
                  <a:lnTo>
                    <a:pt x="55" y="0"/>
                  </a:lnTo>
                  <a:lnTo>
                    <a:pt x="584" y="0"/>
                  </a:lnTo>
                  <a:lnTo>
                    <a:pt x="584" y="0"/>
                  </a:lnTo>
                  <a:lnTo>
                    <a:pt x="596" y="1"/>
                  </a:lnTo>
                  <a:lnTo>
                    <a:pt x="605" y="5"/>
                  </a:lnTo>
                  <a:lnTo>
                    <a:pt x="615" y="9"/>
                  </a:lnTo>
                  <a:lnTo>
                    <a:pt x="623" y="16"/>
                  </a:lnTo>
                  <a:lnTo>
                    <a:pt x="630" y="24"/>
                  </a:lnTo>
                  <a:lnTo>
                    <a:pt x="635" y="34"/>
                  </a:lnTo>
                  <a:lnTo>
                    <a:pt x="638" y="44"/>
                  </a:lnTo>
                  <a:lnTo>
                    <a:pt x="639"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19" name="Freeform 16">
              <a:extLst>
                <a:ext uri="{FF2B5EF4-FFF2-40B4-BE49-F238E27FC236}">
                  <a16:creationId xmlns:a16="http://schemas.microsoft.com/office/drawing/2014/main" id="{13DF3E85-05C5-42E2-A2D3-A604432B69AD}"/>
                </a:ext>
              </a:extLst>
            </p:cNvPr>
            <p:cNvSpPr>
              <a:spLocks/>
            </p:cNvSpPr>
            <p:nvPr/>
          </p:nvSpPr>
          <p:spPr bwMode="auto">
            <a:xfrm>
              <a:off x="8406563" y="3331964"/>
              <a:ext cx="679665" cy="115937"/>
            </a:xfrm>
            <a:custGeom>
              <a:avLst/>
              <a:gdLst>
                <a:gd name="T0" fmla="*/ 639 w 639"/>
                <a:gd name="T1" fmla="*/ 54 h 109"/>
                <a:gd name="T2" fmla="*/ 639 w 639"/>
                <a:gd name="T3" fmla="*/ 54 h 109"/>
                <a:gd name="T4" fmla="*/ 638 w 639"/>
                <a:gd name="T5" fmla="*/ 65 h 109"/>
                <a:gd name="T6" fmla="*/ 635 w 639"/>
                <a:gd name="T7" fmla="*/ 76 h 109"/>
                <a:gd name="T8" fmla="*/ 630 w 639"/>
                <a:gd name="T9" fmla="*/ 85 h 109"/>
                <a:gd name="T10" fmla="*/ 623 w 639"/>
                <a:gd name="T11" fmla="*/ 93 h 109"/>
                <a:gd name="T12" fmla="*/ 615 w 639"/>
                <a:gd name="T13" fmla="*/ 99 h 109"/>
                <a:gd name="T14" fmla="*/ 605 w 639"/>
                <a:gd name="T15" fmla="*/ 106 h 109"/>
                <a:gd name="T16" fmla="*/ 596 w 639"/>
                <a:gd name="T17" fmla="*/ 107 h 109"/>
                <a:gd name="T18" fmla="*/ 584 w 639"/>
                <a:gd name="T19" fmla="*/ 109 h 109"/>
                <a:gd name="T20" fmla="*/ 55 w 639"/>
                <a:gd name="T21" fmla="*/ 109 h 109"/>
                <a:gd name="T22" fmla="*/ 55 w 639"/>
                <a:gd name="T23" fmla="*/ 109 h 109"/>
                <a:gd name="T24" fmla="*/ 44 w 639"/>
                <a:gd name="T25" fmla="*/ 107 h 109"/>
                <a:gd name="T26" fmla="*/ 32 w 639"/>
                <a:gd name="T27" fmla="*/ 106 h 109"/>
                <a:gd name="T28" fmla="*/ 24 w 639"/>
                <a:gd name="T29" fmla="*/ 99 h 109"/>
                <a:gd name="T30" fmla="*/ 16 w 639"/>
                <a:gd name="T31" fmla="*/ 93 h 109"/>
                <a:gd name="T32" fmla="*/ 10 w 639"/>
                <a:gd name="T33" fmla="*/ 85 h 109"/>
                <a:gd name="T34" fmla="*/ 3 w 639"/>
                <a:gd name="T35" fmla="*/ 76 h 109"/>
                <a:gd name="T36" fmla="*/ 0 w 639"/>
                <a:gd name="T37" fmla="*/ 65 h 109"/>
                <a:gd name="T38" fmla="*/ 0 w 639"/>
                <a:gd name="T39" fmla="*/ 54 h 109"/>
                <a:gd name="T40" fmla="*/ 0 w 639"/>
                <a:gd name="T41" fmla="*/ 54 h 109"/>
                <a:gd name="T42" fmla="*/ 0 w 639"/>
                <a:gd name="T43" fmla="*/ 44 h 109"/>
                <a:gd name="T44" fmla="*/ 3 w 639"/>
                <a:gd name="T45" fmla="*/ 32 h 109"/>
                <a:gd name="T46" fmla="*/ 10 w 639"/>
                <a:gd name="T47" fmla="*/ 23 h 109"/>
                <a:gd name="T48" fmla="*/ 16 w 639"/>
                <a:gd name="T49" fmla="*/ 15 h 109"/>
                <a:gd name="T50" fmla="*/ 24 w 639"/>
                <a:gd name="T51" fmla="*/ 8 h 109"/>
                <a:gd name="T52" fmla="*/ 32 w 639"/>
                <a:gd name="T53" fmla="*/ 3 h 109"/>
                <a:gd name="T54" fmla="*/ 44 w 639"/>
                <a:gd name="T55" fmla="*/ 0 h 109"/>
                <a:gd name="T56" fmla="*/ 55 w 639"/>
                <a:gd name="T57" fmla="*/ 0 h 109"/>
                <a:gd name="T58" fmla="*/ 584 w 639"/>
                <a:gd name="T59" fmla="*/ 0 h 109"/>
                <a:gd name="T60" fmla="*/ 584 w 639"/>
                <a:gd name="T61" fmla="*/ 0 h 109"/>
                <a:gd name="T62" fmla="*/ 596 w 639"/>
                <a:gd name="T63" fmla="*/ 0 h 109"/>
                <a:gd name="T64" fmla="*/ 605 w 639"/>
                <a:gd name="T65" fmla="*/ 3 h 109"/>
                <a:gd name="T66" fmla="*/ 615 w 639"/>
                <a:gd name="T67" fmla="*/ 8 h 109"/>
                <a:gd name="T68" fmla="*/ 623 w 639"/>
                <a:gd name="T69" fmla="*/ 15 h 109"/>
                <a:gd name="T70" fmla="*/ 630 w 639"/>
                <a:gd name="T71" fmla="*/ 23 h 109"/>
                <a:gd name="T72" fmla="*/ 635 w 639"/>
                <a:gd name="T73" fmla="*/ 32 h 109"/>
                <a:gd name="T74" fmla="*/ 638 w 639"/>
                <a:gd name="T75" fmla="*/ 44 h 109"/>
                <a:gd name="T76" fmla="*/ 639 w 639"/>
                <a:gd name="T77"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09">
                  <a:moveTo>
                    <a:pt x="639" y="54"/>
                  </a:moveTo>
                  <a:lnTo>
                    <a:pt x="639" y="54"/>
                  </a:lnTo>
                  <a:lnTo>
                    <a:pt x="638" y="65"/>
                  </a:lnTo>
                  <a:lnTo>
                    <a:pt x="635" y="76"/>
                  </a:lnTo>
                  <a:lnTo>
                    <a:pt x="630" y="85"/>
                  </a:lnTo>
                  <a:lnTo>
                    <a:pt x="623" y="93"/>
                  </a:lnTo>
                  <a:lnTo>
                    <a:pt x="615" y="99"/>
                  </a:lnTo>
                  <a:lnTo>
                    <a:pt x="605" y="106"/>
                  </a:lnTo>
                  <a:lnTo>
                    <a:pt x="596" y="107"/>
                  </a:lnTo>
                  <a:lnTo>
                    <a:pt x="584" y="109"/>
                  </a:lnTo>
                  <a:lnTo>
                    <a:pt x="55" y="109"/>
                  </a:lnTo>
                  <a:lnTo>
                    <a:pt x="55" y="109"/>
                  </a:lnTo>
                  <a:lnTo>
                    <a:pt x="44" y="107"/>
                  </a:lnTo>
                  <a:lnTo>
                    <a:pt x="32" y="106"/>
                  </a:lnTo>
                  <a:lnTo>
                    <a:pt x="24" y="99"/>
                  </a:lnTo>
                  <a:lnTo>
                    <a:pt x="16" y="93"/>
                  </a:lnTo>
                  <a:lnTo>
                    <a:pt x="10" y="85"/>
                  </a:lnTo>
                  <a:lnTo>
                    <a:pt x="3" y="76"/>
                  </a:lnTo>
                  <a:lnTo>
                    <a:pt x="0" y="65"/>
                  </a:lnTo>
                  <a:lnTo>
                    <a:pt x="0" y="54"/>
                  </a:lnTo>
                  <a:lnTo>
                    <a:pt x="0" y="54"/>
                  </a:lnTo>
                  <a:lnTo>
                    <a:pt x="0" y="44"/>
                  </a:lnTo>
                  <a:lnTo>
                    <a:pt x="3" y="32"/>
                  </a:lnTo>
                  <a:lnTo>
                    <a:pt x="10" y="23"/>
                  </a:lnTo>
                  <a:lnTo>
                    <a:pt x="16" y="15"/>
                  </a:lnTo>
                  <a:lnTo>
                    <a:pt x="24" y="8"/>
                  </a:lnTo>
                  <a:lnTo>
                    <a:pt x="32" y="3"/>
                  </a:lnTo>
                  <a:lnTo>
                    <a:pt x="44" y="0"/>
                  </a:lnTo>
                  <a:lnTo>
                    <a:pt x="55" y="0"/>
                  </a:lnTo>
                  <a:lnTo>
                    <a:pt x="584" y="0"/>
                  </a:lnTo>
                  <a:lnTo>
                    <a:pt x="584" y="0"/>
                  </a:lnTo>
                  <a:lnTo>
                    <a:pt x="596" y="0"/>
                  </a:lnTo>
                  <a:lnTo>
                    <a:pt x="605" y="3"/>
                  </a:lnTo>
                  <a:lnTo>
                    <a:pt x="615" y="8"/>
                  </a:lnTo>
                  <a:lnTo>
                    <a:pt x="623" y="15"/>
                  </a:lnTo>
                  <a:lnTo>
                    <a:pt x="630" y="23"/>
                  </a:lnTo>
                  <a:lnTo>
                    <a:pt x="635" y="32"/>
                  </a:lnTo>
                  <a:lnTo>
                    <a:pt x="638" y="44"/>
                  </a:lnTo>
                  <a:lnTo>
                    <a:pt x="639" y="54"/>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0" name="Freeform 17">
              <a:extLst>
                <a:ext uri="{FF2B5EF4-FFF2-40B4-BE49-F238E27FC236}">
                  <a16:creationId xmlns:a16="http://schemas.microsoft.com/office/drawing/2014/main" id="{53CD2708-EE8A-43BE-90EF-8152097B0299}"/>
                </a:ext>
              </a:extLst>
            </p:cNvPr>
            <p:cNvSpPr>
              <a:spLocks/>
            </p:cNvSpPr>
            <p:nvPr/>
          </p:nvSpPr>
          <p:spPr bwMode="auto">
            <a:xfrm>
              <a:off x="8406563" y="3331964"/>
              <a:ext cx="679665" cy="115937"/>
            </a:xfrm>
            <a:custGeom>
              <a:avLst/>
              <a:gdLst>
                <a:gd name="T0" fmla="*/ 639 w 639"/>
                <a:gd name="T1" fmla="*/ 54 h 109"/>
                <a:gd name="T2" fmla="*/ 639 w 639"/>
                <a:gd name="T3" fmla="*/ 54 h 109"/>
                <a:gd name="T4" fmla="*/ 638 w 639"/>
                <a:gd name="T5" fmla="*/ 65 h 109"/>
                <a:gd name="T6" fmla="*/ 635 w 639"/>
                <a:gd name="T7" fmla="*/ 76 h 109"/>
                <a:gd name="T8" fmla="*/ 630 w 639"/>
                <a:gd name="T9" fmla="*/ 85 h 109"/>
                <a:gd name="T10" fmla="*/ 623 w 639"/>
                <a:gd name="T11" fmla="*/ 93 h 109"/>
                <a:gd name="T12" fmla="*/ 615 w 639"/>
                <a:gd name="T13" fmla="*/ 99 h 109"/>
                <a:gd name="T14" fmla="*/ 605 w 639"/>
                <a:gd name="T15" fmla="*/ 106 h 109"/>
                <a:gd name="T16" fmla="*/ 596 w 639"/>
                <a:gd name="T17" fmla="*/ 107 h 109"/>
                <a:gd name="T18" fmla="*/ 584 w 639"/>
                <a:gd name="T19" fmla="*/ 109 h 109"/>
                <a:gd name="T20" fmla="*/ 55 w 639"/>
                <a:gd name="T21" fmla="*/ 109 h 109"/>
                <a:gd name="T22" fmla="*/ 55 w 639"/>
                <a:gd name="T23" fmla="*/ 109 h 109"/>
                <a:gd name="T24" fmla="*/ 44 w 639"/>
                <a:gd name="T25" fmla="*/ 107 h 109"/>
                <a:gd name="T26" fmla="*/ 32 w 639"/>
                <a:gd name="T27" fmla="*/ 106 h 109"/>
                <a:gd name="T28" fmla="*/ 24 w 639"/>
                <a:gd name="T29" fmla="*/ 99 h 109"/>
                <a:gd name="T30" fmla="*/ 16 w 639"/>
                <a:gd name="T31" fmla="*/ 93 h 109"/>
                <a:gd name="T32" fmla="*/ 10 w 639"/>
                <a:gd name="T33" fmla="*/ 85 h 109"/>
                <a:gd name="T34" fmla="*/ 3 w 639"/>
                <a:gd name="T35" fmla="*/ 76 h 109"/>
                <a:gd name="T36" fmla="*/ 0 w 639"/>
                <a:gd name="T37" fmla="*/ 65 h 109"/>
                <a:gd name="T38" fmla="*/ 0 w 639"/>
                <a:gd name="T39" fmla="*/ 54 h 109"/>
                <a:gd name="T40" fmla="*/ 0 w 639"/>
                <a:gd name="T41" fmla="*/ 54 h 109"/>
                <a:gd name="T42" fmla="*/ 0 w 639"/>
                <a:gd name="T43" fmla="*/ 44 h 109"/>
                <a:gd name="T44" fmla="*/ 3 w 639"/>
                <a:gd name="T45" fmla="*/ 32 h 109"/>
                <a:gd name="T46" fmla="*/ 10 w 639"/>
                <a:gd name="T47" fmla="*/ 23 h 109"/>
                <a:gd name="T48" fmla="*/ 16 w 639"/>
                <a:gd name="T49" fmla="*/ 15 h 109"/>
                <a:gd name="T50" fmla="*/ 24 w 639"/>
                <a:gd name="T51" fmla="*/ 8 h 109"/>
                <a:gd name="T52" fmla="*/ 32 w 639"/>
                <a:gd name="T53" fmla="*/ 3 h 109"/>
                <a:gd name="T54" fmla="*/ 44 w 639"/>
                <a:gd name="T55" fmla="*/ 0 h 109"/>
                <a:gd name="T56" fmla="*/ 55 w 639"/>
                <a:gd name="T57" fmla="*/ 0 h 109"/>
                <a:gd name="T58" fmla="*/ 584 w 639"/>
                <a:gd name="T59" fmla="*/ 0 h 109"/>
                <a:gd name="T60" fmla="*/ 584 w 639"/>
                <a:gd name="T61" fmla="*/ 0 h 109"/>
                <a:gd name="T62" fmla="*/ 596 w 639"/>
                <a:gd name="T63" fmla="*/ 0 h 109"/>
                <a:gd name="T64" fmla="*/ 605 w 639"/>
                <a:gd name="T65" fmla="*/ 3 h 109"/>
                <a:gd name="T66" fmla="*/ 615 w 639"/>
                <a:gd name="T67" fmla="*/ 8 h 109"/>
                <a:gd name="T68" fmla="*/ 623 w 639"/>
                <a:gd name="T69" fmla="*/ 15 h 109"/>
                <a:gd name="T70" fmla="*/ 630 w 639"/>
                <a:gd name="T71" fmla="*/ 23 h 109"/>
                <a:gd name="T72" fmla="*/ 635 w 639"/>
                <a:gd name="T73" fmla="*/ 32 h 109"/>
                <a:gd name="T74" fmla="*/ 638 w 639"/>
                <a:gd name="T75" fmla="*/ 44 h 109"/>
                <a:gd name="T76" fmla="*/ 639 w 639"/>
                <a:gd name="T77" fmla="*/ 5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09">
                  <a:moveTo>
                    <a:pt x="639" y="54"/>
                  </a:moveTo>
                  <a:lnTo>
                    <a:pt x="639" y="54"/>
                  </a:lnTo>
                  <a:lnTo>
                    <a:pt x="638" y="65"/>
                  </a:lnTo>
                  <a:lnTo>
                    <a:pt x="635" y="76"/>
                  </a:lnTo>
                  <a:lnTo>
                    <a:pt x="630" y="85"/>
                  </a:lnTo>
                  <a:lnTo>
                    <a:pt x="623" y="93"/>
                  </a:lnTo>
                  <a:lnTo>
                    <a:pt x="615" y="99"/>
                  </a:lnTo>
                  <a:lnTo>
                    <a:pt x="605" y="106"/>
                  </a:lnTo>
                  <a:lnTo>
                    <a:pt x="596" y="107"/>
                  </a:lnTo>
                  <a:lnTo>
                    <a:pt x="584" y="109"/>
                  </a:lnTo>
                  <a:lnTo>
                    <a:pt x="55" y="109"/>
                  </a:lnTo>
                  <a:lnTo>
                    <a:pt x="55" y="109"/>
                  </a:lnTo>
                  <a:lnTo>
                    <a:pt x="44" y="107"/>
                  </a:lnTo>
                  <a:lnTo>
                    <a:pt x="32" y="106"/>
                  </a:lnTo>
                  <a:lnTo>
                    <a:pt x="24" y="99"/>
                  </a:lnTo>
                  <a:lnTo>
                    <a:pt x="16" y="93"/>
                  </a:lnTo>
                  <a:lnTo>
                    <a:pt x="10" y="85"/>
                  </a:lnTo>
                  <a:lnTo>
                    <a:pt x="3" y="76"/>
                  </a:lnTo>
                  <a:lnTo>
                    <a:pt x="0" y="65"/>
                  </a:lnTo>
                  <a:lnTo>
                    <a:pt x="0" y="54"/>
                  </a:lnTo>
                  <a:lnTo>
                    <a:pt x="0" y="54"/>
                  </a:lnTo>
                  <a:lnTo>
                    <a:pt x="0" y="44"/>
                  </a:lnTo>
                  <a:lnTo>
                    <a:pt x="3" y="32"/>
                  </a:lnTo>
                  <a:lnTo>
                    <a:pt x="10" y="23"/>
                  </a:lnTo>
                  <a:lnTo>
                    <a:pt x="16" y="15"/>
                  </a:lnTo>
                  <a:lnTo>
                    <a:pt x="24" y="8"/>
                  </a:lnTo>
                  <a:lnTo>
                    <a:pt x="32" y="3"/>
                  </a:lnTo>
                  <a:lnTo>
                    <a:pt x="44" y="0"/>
                  </a:lnTo>
                  <a:lnTo>
                    <a:pt x="55" y="0"/>
                  </a:lnTo>
                  <a:lnTo>
                    <a:pt x="584" y="0"/>
                  </a:lnTo>
                  <a:lnTo>
                    <a:pt x="584" y="0"/>
                  </a:lnTo>
                  <a:lnTo>
                    <a:pt x="596" y="0"/>
                  </a:lnTo>
                  <a:lnTo>
                    <a:pt x="605" y="3"/>
                  </a:lnTo>
                  <a:lnTo>
                    <a:pt x="615" y="8"/>
                  </a:lnTo>
                  <a:lnTo>
                    <a:pt x="623" y="15"/>
                  </a:lnTo>
                  <a:lnTo>
                    <a:pt x="630" y="23"/>
                  </a:lnTo>
                  <a:lnTo>
                    <a:pt x="635" y="32"/>
                  </a:lnTo>
                  <a:lnTo>
                    <a:pt x="638" y="44"/>
                  </a:lnTo>
                  <a:lnTo>
                    <a:pt x="639"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1" name="Freeform 18">
              <a:extLst>
                <a:ext uri="{FF2B5EF4-FFF2-40B4-BE49-F238E27FC236}">
                  <a16:creationId xmlns:a16="http://schemas.microsoft.com/office/drawing/2014/main" id="{7DC0DFDC-1E3B-40C9-BE95-73BDA42A8ECC}"/>
                </a:ext>
              </a:extLst>
            </p:cNvPr>
            <p:cNvSpPr>
              <a:spLocks/>
            </p:cNvSpPr>
            <p:nvPr/>
          </p:nvSpPr>
          <p:spPr bwMode="auto">
            <a:xfrm>
              <a:off x="8406563" y="3481936"/>
              <a:ext cx="679665" cy="117000"/>
            </a:xfrm>
            <a:custGeom>
              <a:avLst/>
              <a:gdLst>
                <a:gd name="T0" fmla="*/ 639 w 639"/>
                <a:gd name="T1" fmla="*/ 54 h 110"/>
                <a:gd name="T2" fmla="*/ 639 w 639"/>
                <a:gd name="T3" fmla="*/ 54 h 110"/>
                <a:gd name="T4" fmla="*/ 638 w 639"/>
                <a:gd name="T5" fmla="*/ 66 h 110"/>
                <a:gd name="T6" fmla="*/ 635 w 639"/>
                <a:gd name="T7" fmla="*/ 77 h 110"/>
                <a:gd name="T8" fmla="*/ 630 w 639"/>
                <a:gd name="T9" fmla="*/ 85 h 110"/>
                <a:gd name="T10" fmla="*/ 623 w 639"/>
                <a:gd name="T11" fmla="*/ 93 h 110"/>
                <a:gd name="T12" fmla="*/ 615 w 639"/>
                <a:gd name="T13" fmla="*/ 101 h 110"/>
                <a:gd name="T14" fmla="*/ 605 w 639"/>
                <a:gd name="T15" fmla="*/ 106 h 110"/>
                <a:gd name="T16" fmla="*/ 596 w 639"/>
                <a:gd name="T17" fmla="*/ 110 h 110"/>
                <a:gd name="T18" fmla="*/ 584 w 639"/>
                <a:gd name="T19" fmla="*/ 110 h 110"/>
                <a:gd name="T20" fmla="*/ 55 w 639"/>
                <a:gd name="T21" fmla="*/ 110 h 110"/>
                <a:gd name="T22" fmla="*/ 55 w 639"/>
                <a:gd name="T23" fmla="*/ 110 h 110"/>
                <a:gd name="T24" fmla="*/ 44 w 639"/>
                <a:gd name="T25" fmla="*/ 110 h 110"/>
                <a:gd name="T26" fmla="*/ 32 w 639"/>
                <a:gd name="T27" fmla="*/ 106 h 110"/>
                <a:gd name="T28" fmla="*/ 24 w 639"/>
                <a:gd name="T29" fmla="*/ 101 h 110"/>
                <a:gd name="T30" fmla="*/ 16 w 639"/>
                <a:gd name="T31" fmla="*/ 93 h 110"/>
                <a:gd name="T32" fmla="*/ 10 w 639"/>
                <a:gd name="T33" fmla="*/ 85 h 110"/>
                <a:gd name="T34" fmla="*/ 3 w 639"/>
                <a:gd name="T35" fmla="*/ 77 h 110"/>
                <a:gd name="T36" fmla="*/ 0 w 639"/>
                <a:gd name="T37" fmla="*/ 66 h 110"/>
                <a:gd name="T38" fmla="*/ 0 w 639"/>
                <a:gd name="T39" fmla="*/ 54 h 110"/>
                <a:gd name="T40" fmla="*/ 0 w 639"/>
                <a:gd name="T41" fmla="*/ 54 h 110"/>
                <a:gd name="T42" fmla="*/ 0 w 639"/>
                <a:gd name="T43" fmla="*/ 44 h 110"/>
                <a:gd name="T44" fmla="*/ 3 w 639"/>
                <a:gd name="T45" fmla="*/ 33 h 110"/>
                <a:gd name="T46" fmla="*/ 10 w 639"/>
                <a:gd name="T47" fmla="*/ 25 h 110"/>
                <a:gd name="T48" fmla="*/ 16 w 639"/>
                <a:gd name="T49" fmla="*/ 17 h 110"/>
                <a:gd name="T50" fmla="*/ 24 w 639"/>
                <a:gd name="T51" fmla="*/ 9 h 110"/>
                <a:gd name="T52" fmla="*/ 32 w 639"/>
                <a:gd name="T53" fmla="*/ 4 h 110"/>
                <a:gd name="T54" fmla="*/ 44 w 639"/>
                <a:gd name="T55" fmla="*/ 0 h 110"/>
                <a:gd name="T56" fmla="*/ 55 w 639"/>
                <a:gd name="T57" fmla="*/ 0 h 110"/>
                <a:gd name="T58" fmla="*/ 584 w 639"/>
                <a:gd name="T59" fmla="*/ 0 h 110"/>
                <a:gd name="T60" fmla="*/ 584 w 639"/>
                <a:gd name="T61" fmla="*/ 0 h 110"/>
                <a:gd name="T62" fmla="*/ 596 w 639"/>
                <a:gd name="T63" fmla="*/ 0 h 110"/>
                <a:gd name="T64" fmla="*/ 605 w 639"/>
                <a:gd name="T65" fmla="*/ 4 h 110"/>
                <a:gd name="T66" fmla="*/ 615 w 639"/>
                <a:gd name="T67" fmla="*/ 9 h 110"/>
                <a:gd name="T68" fmla="*/ 623 w 639"/>
                <a:gd name="T69" fmla="*/ 17 h 110"/>
                <a:gd name="T70" fmla="*/ 630 w 639"/>
                <a:gd name="T71" fmla="*/ 25 h 110"/>
                <a:gd name="T72" fmla="*/ 635 w 639"/>
                <a:gd name="T73" fmla="*/ 33 h 110"/>
                <a:gd name="T74" fmla="*/ 638 w 639"/>
                <a:gd name="T75" fmla="*/ 44 h 110"/>
                <a:gd name="T76" fmla="*/ 639 w 639"/>
                <a:gd name="T77"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10">
                  <a:moveTo>
                    <a:pt x="639" y="54"/>
                  </a:moveTo>
                  <a:lnTo>
                    <a:pt x="639" y="54"/>
                  </a:lnTo>
                  <a:lnTo>
                    <a:pt x="638" y="66"/>
                  </a:lnTo>
                  <a:lnTo>
                    <a:pt x="635" y="77"/>
                  </a:lnTo>
                  <a:lnTo>
                    <a:pt x="630" y="85"/>
                  </a:lnTo>
                  <a:lnTo>
                    <a:pt x="623" y="93"/>
                  </a:lnTo>
                  <a:lnTo>
                    <a:pt x="615" y="101"/>
                  </a:lnTo>
                  <a:lnTo>
                    <a:pt x="605" y="106"/>
                  </a:lnTo>
                  <a:lnTo>
                    <a:pt x="596" y="110"/>
                  </a:lnTo>
                  <a:lnTo>
                    <a:pt x="584" y="110"/>
                  </a:lnTo>
                  <a:lnTo>
                    <a:pt x="55" y="110"/>
                  </a:lnTo>
                  <a:lnTo>
                    <a:pt x="55" y="110"/>
                  </a:lnTo>
                  <a:lnTo>
                    <a:pt x="44" y="110"/>
                  </a:lnTo>
                  <a:lnTo>
                    <a:pt x="32" y="106"/>
                  </a:lnTo>
                  <a:lnTo>
                    <a:pt x="24" y="101"/>
                  </a:lnTo>
                  <a:lnTo>
                    <a:pt x="16" y="93"/>
                  </a:lnTo>
                  <a:lnTo>
                    <a:pt x="10" y="85"/>
                  </a:lnTo>
                  <a:lnTo>
                    <a:pt x="3" y="77"/>
                  </a:lnTo>
                  <a:lnTo>
                    <a:pt x="0" y="66"/>
                  </a:lnTo>
                  <a:lnTo>
                    <a:pt x="0" y="54"/>
                  </a:lnTo>
                  <a:lnTo>
                    <a:pt x="0" y="54"/>
                  </a:lnTo>
                  <a:lnTo>
                    <a:pt x="0" y="44"/>
                  </a:lnTo>
                  <a:lnTo>
                    <a:pt x="3" y="33"/>
                  </a:lnTo>
                  <a:lnTo>
                    <a:pt x="10" y="25"/>
                  </a:lnTo>
                  <a:lnTo>
                    <a:pt x="16" y="17"/>
                  </a:lnTo>
                  <a:lnTo>
                    <a:pt x="24" y="9"/>
                  </a:lnTo>
                  <a:lnTo>
                    <a:pt x="32" y="4"/>
                  </a:lnTo>
                  <a:lnTo>
                    <a:pt x="44" y="0"/>
                  </a:lnTo>
                  <a:lnTo>
                    <a:pt x="55" y="0"/>
                  </a:lnTo>
                  <a:lnTo>
                    <a:pt x="584" y="0"/>
                  </a:lnTo>
                  <a:lnTo>
                    <a:pt x="584" y="0"/>
                  </a:lnTo>
                  <a:lnTo>
                    <a:pt x="596" y="0"/>
                  </a:lnTo>
                  <a:lnTo>
                    <a:pt x="605" y="4"/>
                  </a:lnTo>
                  <a:lnTo>
                    <a:pt x="615" y="9"/>
                  </a:lnTo>
                  <a:lnTo>
                    <a:pt x="623" y="17"/>
                  </a:lnTo>
                  <a:lnTo>
                    <a:pt x="630" y="25"/>
                  </a:lnTo>
                  <a:lnTo>
                    <a:pt x="635" y="33"/>
                  </a:lnTo>
                  <a:lnTo>
                    <a:pt x="638" y="44"/>
                  </a:lnTo>
                  <a:lnTo>
                    <a:pt x="639" y="54"/>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2" name="Freeform 19">
              <a:extLst>
                <a:ext uri="{FF2B5EF4-FFF2-40B4-BE49-F238E27FC236}">
                  <a16:creationId xmlns:a16="http://schemas.microsoft.com/office/drawing/2014/main" id="{B2A4CA5B-AB65-4943-98ED-B5D56F5AB965}"/>
                </a:ext>
              </a:extLst>
            </p:cNvPr>
            <p:cNvSpPr>
              <a:spLocks/>
            </p:cNvSpPr>
            <p:nvPr/>
          </p:nvSpPr>
          <p:spPr bwMode="auto">
            <a:xfrm>
              <a:off x="8406563" y="3481936"/>
              <a:ext cx="679665" cy="117000"/>
            </a:xfrm>
            <a:custGeom>
              <a:avLst/>
              <a:gdLst>
                <a:gd name="T0" fmla="*/ 639 w 639"/>
                <a:gd name="T1" fmla="*/ 54 h 110"/>
                <a:gd name="T2" fmla="*/ 639 w 639"/>
                <a:gd name="T3" fmla="*/ 54 h 110"/>
                <a:gd name="T4" fmla="*/ 638 w 639"/>
                <a:gd name="T5" fmla="*/ 66 h 110"/>
                <a:gd name="T6" fmla="*/ 635 w 639"/>
                <a:gd name="T7" fmla="*/ 77 h 110"/>
                <a:gd name="T8" fmla="*/ 630 w 639"/>
                <a:gd name="T9" fmla="*/ 85 h 110"/>
                <a:gd name="T10" fmla="*/ 623 w 639"/>
                <a:gd name="T11" fmla="*/ 93 h 110"/>
                <a:gd name="T12" fmla="*/ 615 w 639"/>
                <a:gd name="T13" fmla="*/ 101 h 110"/>
                <a:gd name="T14" fmla="*/ 605 w 639"/>
                <a:gd name="T15" fmla="*/ 106 h 110"/>
                <a:gd name="T16" fmla="*/ 596 w 639"/>
                <a:gd name="T17" fmla="*/ 110 h 110"/>
                <a:gd name="T18" fmla="*/ 584 w 639"/>
                <a:gd name="T19" fmla="*/ 110 h 110"/>
                <a:gd name="T20" fmla="*/ 55 w 639"/>
                <a:gd name="T21" fmla="*/ 110 h 110"/>
                <a:gd name="T22" fmla="*/ 55 w 639"/>
                <a:gd name="T23" fmla="*/ 110 h 110"/>
                <a:gd name="T24" fmla="*/ 44 w 639"/>
                <a:gd name="T25" fmla="*/ 110 h 110"/>
                <a:gd name="T26" fmla="*/ 32 w 639"/>
                <a:gd name="T27" fmla="*/ 106 h 110"/>
                <a:gd name="T28" fmla="*/ 24 w 639"/>
                <a:gd name="T29" fmla="*/ 101 h 110"/>
                <a:gd name="T30" fmla="*/ 16 w 639"/>
                <a:gd name="T31" fmla="*/ 93 h 110"/>
                <a:gd name="T32" fmla="*/ 10 w 639"/>
                <a:gd name="T33" fmla="*/ 85 h 110"/>
                <a:gd name="T34" fmla="*/ 3 w 639"/>
                <a:gd name="T35" fmla="*/ 77 h 110"/>
                <a:gd name="T36" fmla="*/ 0 w 639"/>
                <a:gd name="T37" fmla="*/ 66 h 110"/>
                <a:gd name="T38" fmla="*/ 0 w 639"/>
                <a:gd name="T39" fmla="*/ 54 h 110"/>
                <a:gd name="T40" fmla="*/ 0 w 639"/>
                <a:gd name="T41" fmla="*/ 54 h 110"/>
                <a:gd name="T42" fmla="*/ 0 w 639"/>
                <a:gd name="T43" fmla="*/ 44 h 110"/>
                <a:gd name="T44" fmla="*/ 3 w 639"/>
                <a:gd name="T45" fmla="*/ 33 h 110"/>
                <a:gd name="T46" fmla="*/ 10 w 639"/>
                <a:gd name="T47" fmla="*/ 25 h 110"/>
                <a:gd name="T48" fmla="*/ 16 w 639"/>
                <a:gd name="T49" fmla="*/ 17 h 110"/>
                <a:gd name="T50" fmla="*/ 24 w 639"/>
                <a:gd name="T51" fmla="*/ 9 h 110"/>
                <a:gd name="T52" fmla="*/ 32 w 639"/>
                <a:gd name="T53" fmla="*/ 4 h 110"/>
                <a:gd name="T54" fmla="*/ 44 w 639"/>
                <a:gd name="T55" fmla="*/ 0 h 110"/>
                <a:gd name="T56" fmla="*/ 55 w 639"/>
                <a:gd name="T57" fmla="*/ 0 h 110"/>
                <a:gd name="T58" fmla="*/ 584 w 639"/>
                <a:gd name="T59" fmla="*/ 0 h 110"/>
                <a:gd name="T60" fmla="*/ 584 w 639"/>
                <a:gd name="T61" fmla="*/ 0 h 110"/>
                <a:gd name="T62" fmla="*/ 596 w 639"/>
                <a:gd name="T63" fmla="*/ 0 h 110"/>
                <a:gd name="T64" fmla="*/ 605 w 639"/>
                <a:gd name="T65" fmla="*/ 4 h 110"/>
                <a:gd name="T66" fmla="*/ 615 w 639"/>
                <a:gd name="T67" fmla="*/ 9 h 110"/>
                <a:gd name="T68" fmla="*/ 623 w 639"/>
                <a:gd name="T69" fmla="*/ 17 h 110"/>
                <a:gd name="T70" fmla="*/ 630 w 639"/>
                <a:gd name="T71" fmla="*/ 25 h 110"/>
                <a:gd name="T72" fmla="*/ 635 w 639"/>
                <a:gd name="T73" fmla="*/ 33 h 110"/>
                <a:gd name="T74" fmla="*/ 638 w 639"/>
                <a:gd name="T75" fmla="*/ 44 h 110"/>
                <a:gd name="T76" fmla="*/ 639 w 639"/>
                <a:gd name="T77"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9" h="110">
                  <a:moveTo>
                    <a:pt x="639" y="54"/>
                  </a:moveTo>
                  <a:lnTo>
                    <a:pt x="639" y="54"/>
                  </a:lnTo>
                  <a:lnTo>
                    <a:pt x="638" y="66"/>
                  </a:lnTo>
                  <a:lnTo>
                    <a:pt x="635" y="77"/>
                  </a:lnTo>
                  <a:lnTo>
                    <a:pt x="630" y="85"/>
                  </a:lnTo>
                  <a:lnTo>
                    <a:pt x="623" y="93"/>
                  </a:lnTo>
                  <a:lnTo>
                    <a:pt x="615" y="101"/>
                  </a:lnTo>
                  <a:lnTo>
                    <a:pt x="605" y="106"/>
                  </a:lnTo>
                  <a:lnTo>
                    <a:pt x="596" y="110"/>
                  </a:lnTo>
                  <a:lnTo>
                    <a:pt x="584" y="110"/>
                  </a:lnTo>
                  <a:lnTo>
                    <a:pt x="55" y="110"/>
                  </a:lnTo>
                  <a:lnTo>
                    <a:pt x="55" y="110"/>
                  </a:lnTo>
                  <a:lnTo>
                    <a:pt x="44" y="110"/>
                  </a:lnTo>
                  <a:lnTo>
                    <a:pt x="32" y="106"/>
                  </a:lnTo>
                  <a:lnTo>
                    <a:pt x="24" y="101"/>
                  </a:lnTo>
                  <a:lnTo>
                    <a:pt x="16" y="93"/>
                  </a:lnTo>
                  <a:lnTo>
                    <a:pt x="10" y="85"/>
                  </a:lnTo>
                  <a:lnTo>
                    <a:pt x="3" y="77"/>
                  </a:lnTo>
                  <a:lnTo>
                    <a:pt x="0" y="66"/>
                  </a:lnTo>
                  <a:lnTo>
                    <a:pt x="0" y="54"/>
                  </a:lnTo>
                  <a:lnTo>
                    <a:pt x="0" y="54"/>
                  </a:lnTo>
                  <a:lnTo>
                    <a:pt x="0" y="44"/>
                  </a:lnTo>
                  <a:lnTo>
                    <a:pt x="3" y="33"/>
                  </a:lnTo>
                  <a:lnTo>
                    <a:pt x="10" y="25"/>
                  </a:lnTo>
                  <a:lnTo>
                    <a:pt x="16" y="17"/>
                  </a:lnTo>
                  <a:lnTo>
                    <a:pt x="24" y="9"/>
                  </a:lnTo>
                  <a:lnTo>
                    <a:pt x="32" y="4"/>
                  </a:lnTo>
                  <a:lnTo>
                    <a:pt x="44" y="0"/>
                  </a:lnTo>
                  <a:lnTo>
                    <a:pt x="55" y="0"/>
                  </a:lnTo>
                  <a:lnTo>
                    <a:pt x="584" y="0"/>
                  </a:lnTo>
                  <a:lnTo>
                    <a:pt x="584" y="0"/>
                  </a:lnTo>
                  <a:lnTo>
                    <a:pt x="596" y="0"/>
                  </a:lnTo>
                  <a:lnTo>
                    <a:pt x="605" y="4"/>
                  </a:lnTo>
                  <a:lnTo>
                    <a:pt x="615" y="9"/>
                  </a:lnTo>
                  <a:lnTo>
                    <a:pt x="623" y="17"/>
                  </a:lnTo>
                  <a:lnTo>
                    <a:pt x="630" y="25"/>
                  </a:lnTo>
                  <a:lnTo>
                    <a:pt x="635" y="33"/>
                  </a:lnTo>
                  <a:lnTo>
                    <a:pt x="638" y="44"/>
                  </a:lnTo>
                  <a:lnTo>
                    <a:pt x="639" y="5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3" name="Freeform 20">
              <a:extLst>
                <a:ext uri="{FF2B5EF4-FFF2-40B4-BE49-F238E27FC236}">
                  <a16:creationId xmlns:a16="http://schemas.microsoft.com/office/drawing/2014/main" id="{467632C7-8852-41C3-9601-65DE4CA8A741}"/>
                </a:ext>
              </a:extLst>
            </p:cNvPr>
            <p:cNvSpPr>
              <a:spLocks/>
            </p:cNvSpPr>
            <p:nvPr/>
          </p:nvSpPr>
          <p:spPr bwMode="auto">
            <a:xfrm>
              <a:off x="8533136" y="3635100"/>
              <a:ext cx="425455" cy="185073"/>
            </a:xfrm>
            <a:custGeom>
              <a:avLst/>
              <a:gdLst>
                <a:gd name="T0" fmla="*/ 0 w 400"/>
                <a:gd name="T1" fmla="*/ 0 h 174"/>
                <a:gd name="T2" fmla="*/ 0 w 400"/>
                <a:gd name="T3" fmla="*/ 31 h 174"/>
                <a:gd name="T4" fmla="*/ 0 w 400"/>
                <a:gd name="T5" fmla="*/ 31 h 174"/>
                <a:gd name="T6" fmla="*/ 1 w 400"/>
                <a:gd name="T7" fmla="*/ 45 h 174"/>
                <a:gd name="T8" fmla="*/ 3 w 400"/>
                <a:gd name="T9" fmla="*/ 60 h 174"/>
                <a:gd name="T10" fmla="*/ 6 w 400"/>
                <a:gd name="T11" fmla="*/ 73 h 174"/>
                <a:gd name="T12" fmla="*/ 11 w 400"/>
                <a:gd name="T13" fmla="*/ 86 h 174"/>
                <a:gd name="T14" fmla="*/ 18 w 400"/>
                <a:gd name="T15" fmla="*/ 99 h 174"/>
                <a:gd name="T16" fmla="*/ 24 w 400"/>
                <a:gd name="T17" fmla="*/ 110 h 174"/>
                <a:gd name="T18" fmla="*/ 32 w 400"/>
                <a:gd name="T19" fmla="*/ 122 h 174"/>
                <a:gd name="T20" fmla="*/ 42 w 400"/>
                <a:gd name="T21" fmla="*/ 132 h 174"/>
                <a:gd name="T22" fmla="*/ 52 w 400"/>
                <a:gd name="T23" fmla="*/ 141 h 174"/>
                <a:gd name="T24" fmla="*/ 63 w 400"/>
                <a:gd name="T25" fmla="*/ 149 h 174"/>
                <a:gd name="T26" fmla="*/ 75 w 400"/>
                <a:gd name="T27" fmla="*/ 156 h 174"/>
                <a:gd name="T28" fmla="*/ 88 w 400"/>
                <a:gd name="T29" fmla="*/ 163 h 174"/>
                <a:gd name="T30" fmla="*/ 101 w 400"/>
                <a:gd name="T31" fmla="*/ 167 h 174"/>
                <a:gd name="T32" fmla="*/ 114 w 400"/>
                <a:gd name="T33" fmla="*/ 171 h 174"/>
                <a:gd name="T34" fmla="*/ 128 w 400"/>
                <a:gd name="T35" fmla="*/ 172 h 174"/>
                <a:gd name="T36" fmla="*/ 143 w 400"/>
                <a:gd name="T37" fmla="*/ 174 h 174"/>
                <a:gd name="T38" fmla="*/ 258 w 400"/>
                <a:gd name="T39" fmla="*/ 174 h 174"/>
                <a:gd name="T40" fmla="*/ 258 w 400"/>
                <a:gd name="T41" fmla="*/ 174 h 174"/>
                <a:gd name="T42" fmla="*/ 273 w 400"/>
                <a:gd name="T43" fmla="*/ 172 h 174"/>
                <a:gd name="T44" fmla="*/ 288 w 400"/>
                <a:gd name="T45" fmla="*/ 171 h 174"/>
                <a:gd name="T46" fmla="*/ 301 w 400"/>
                <a:gd name="T47" fmla="*/ 167 h 174"/>
                <a:gd name="T48" fmla="*/ 314 w 400"/>
                <a:gd name="T49" fmla="*/ 163 h 174"/>
                <a:gd name="T50" fmla="*/ 327 w 400"/>
                <a:gd name="T51" fmla="*/ 156 h 174"/>
                <a:gd name="T52" fmla="*/ 338 w 400"/>
                <a:gd name="T53" fmla="*/ 149 h 174"/>
                <a:gd name="T54" fmla="*/ 350 w 400"/>
                <a:gd name="T55" fmla="*/ 141 h 174"/>
                <a:gd name="T56" fmla="*/ 359 w 400"/>
                <a:gd name="T57" fmla="*/ 132 h 174"/>
                <a:gd name="T58" fmla="*/ 367 w 400"/>
                <a:gd name="T59" fmla="*/ 122 h 174"/>
                <a:gd name="T60" fmla="*/ 376 w 400"/>
                <a:gd name="T61" fmla="*/ 110 h 174"/>
                <a:gd name="T62" fmla="*/ 384 w 400"/>
                <a:gd name="T63" fmla="*/ 99 h 174"/>
                <a:gd name="T64" fmla="*/ 390 w 400"/>
                <a:gd name="T65" fmla="*/ 86 h 174"/>
                <a:gd name="T66" fmla="*/ 394 w 400"/>
                <a:gd name="T67" fmla="*/ 73 h 174"/>
                <a:gd name="T68" fmla="*/ 398 w 400"/>
                <a:gd name="T69" fmla="*/ 60 h 174"/>
                <a:gd name="T70" fmla="*/ 400 w 400"/>
                <a:gd name="T71" fmla="*/ 45 h 174"/>
                <a:gd name="T72" fmla="*/ 400 w 400"/>
                <a:gd name="T73" fmla="*/ 31 h 174"/>
                <a:gd name="T74" fmla="*/ 400 w 400"/>
                <a:gd name="T75" fmla="*/ 0 h 174"/>
                <a:gd name="T76" fmla="*/ 0 w 400"/>
                <a:gd name="T7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174">
                  <a:moveTo>
                    <a:pt x="0" y="0"/>
                  </a:moveTo>
                  <a:lnTo>
                    <a:pt x="0" y="31"/>
                  </a:lnTo>
                  <a:lnTo>
                    <a:pt x="0" y="31"/>
                  </a:lnTo>
                  <a:lnTo>
                    <a:pt x="1" y="45"/>
                  </a:lnTo>
                  <a:lnTo>
                    <a:pt x="3" y="60"/>
                  </a:lnTo>
                  <a:lnTo>
                    <a:pt x="6" y="73"/>
                  </a:lnTo>
                  <a:lnTo>
                    <a:pt x="11" y="86"/>
                  </a:lnTo>
                  <a:lnTo>
                    <a:pt x="18" y="99"/>
                  </a:lnTo>
                  <a:lnTo>
                    <a:pt x="24" y="110"/>
                  </a:lnTo>
                  <a:lnTo>
                    <a:pt x="32" y="122"/>
                  </a:lnTo>
                  <a:lnTo>
                    <a:pt x="42" y="132"/>
                  </a:lnTo>
                  <a:lnTo>
                    <a:pt x="52" y="141"/>
                  </a:lnTo>
                  <a:lnTo>
                    <a:pt x="63" y="149"/>
                  </a:lnTo>
                  <a:lnTo>
                    <a:pt x="75" y="156"/>
                  </a:lnTo>
                  <a:lnTo>
                    <a:pt x="88" y="163"/>
                  </a:lnTo>
                  <a:lnTo>
                    <a:pt x="101" y="167"/>
                  </a:lnTo>
                  <a:lnTo>
                    <a:pt x="114" y="171"/>
                  </a:lnTo>
                  <a:lnTo>
                    <a:pt x="128" y="172"/>
                  </a:lnTo>
                  <a:lnTo>
                    <a:pt x="143" y="174"/>
                  </a:lnTo>
                  <a:lnTo>
                    <a:pt x="258" y="174"/>
                  </a:lnTo>
                  <a:lnTo>
                    <a:pt x="258" y="174"/>
                  </a:lnTo>
                  <a:lnTo>
                    <a:pt x="273" y="172"/>
                  </a:lnTo>
                  <a:lnTo>
                    <a:pt x="288" y="171"/>
                  </a:lnTo>
                  <a:lnTo>
                    <a:pt x="301" y="167"/>
                  </a:lnTo>
                  <a:lnTo>
                    <a:pt x="314" y="163"/>
                  </a:lnTo>
                  <a:lnTo>
                    <a:pt x="327" y="156"/>
                  </a:lnTo>
                  <a:lnTo>
                    <a:pt x="338" y="149"/>
                  </a:lnTo>
                  <a:lnTo>
                    <a:pt x="350" y="141"/>
                  </a:lnTo>
                  <a:lnTo>
                    <a:pt x="359" y="132"/>
                  </a:lnTo>
                  <a:lnTo>
                    <a:pt x="367" y="122"/>
                  </a:lnTo>
                  <a:lnTo>
                    <a:pt x="376" y="110"/>
                  </a:lnTo>
                  <a:lnTo>
                    <a:pt x="384" y="99"/>
                  </a:lnTo>
                  <a:lnTo>
                    <a:pt x="390" y="86"/>
                  </a:lnTo>
                  <a:lnTo>
                    <a:pt x="394" y="73"/>
                  </a:lnTo>
                  <a:lnTo>
                    <a:pt x="398" y="60"/>
                  </a:lnTo>
                  <a:lnTo>
                    <a:pt x="400" y="45"/>
                  </a:lnTo>
                  <a:lnTo>
                    <a:pt x="400" y="31"/>
                  </a:lnTo>
                  <a:lnTo>
                    <a:pt x="400" y="0"/>
                  </a:lnTo>
                  <a:lnTo>
                    <a:pt x="0" y="0"/>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4" name="Freeform 21">
              <a:extLst>
                <a:ext uri="{FF2B5EF4-FFF2-40B4-BE49-F238E27FC236}">
                  <a16:creationId xmlns:a16="http://schemas.microsoft.com/office/drawing/2014/main" id="{8C45FFA5-2B7A-445D-A296-2F56E26C6E89}"/>
                </a:ext>
              </a:extLst>
            </p:cNvPr>
            <p:cNvSpPr>
              <a:spLocks/>
            </p:cNvSpPr>
            <p:nvPr/>
          </p:nvSpPr>
          <p:spPr bwMode="auto">
            <a:xfrm>
              <a:off x="9554229" y="2654426"/>
              <a:ext cx="339301" cy="104237"/>
            </a:xfrm>
            <a:custGeom>
              <a:avLst/>
              <a:gdLst>
                <a:gd name="T0" fmla="*/ 270 w 319"/>
                <a:gd name="T1" fmla="*/ 98 h 98"/>
                <a:gd name="T2" fmla="*/ 270 w 319"/>
                <a:gd name="T3" fmla="*/ 98 h 98"/>
                <a:gd name="T4" fmla="*/ 49 w 319"/>
                <a:gd name="T5" fmla="*/ 98 h 98"/>
                <a:gd name="T6" fmla="*/ 49 w 319"/>
                <a:gd name="T7" fmla="*/ 98 h 98"/>
                <a:gd name="T8" fmla="*/ 39 w 319"/>
                <a:gd name="T9" fmla="*/ 96 h 98"/>
                <a:gd name="T10" fmla="*/ 29 w 319"/>
                <a:gd name="T11" fmla="*/ 95 h 98"/>
                <a:gd name="T12" fmla="*/ 21 w 319"/>
                <a:gd name="T13" fmla="*/ 90 h 98"/>
                <a:gd name="T14" fmla="*/ 15 w 319"/>
                <a:gd name="T15" fmla="*/ 83 h 98"/>
                <a:gd name="T16" fmla="*/ 8 w 319"/>
                <a:gd name="T17" fmla="*/ 77 h 98"/>
                <a:gd name="T18" fmla="*/ 5 w 319"/>
                <a:gd name="T19" fmla="*/ 69 h 98"/>
                <a:gd name="T20" fmla="*/ 2 w 319"/>
                <a:gd name="T21" fmla="*/ 59 h 98"/>
                <a:gd name="T22" fmla="*/ 0 w 319"/>
                <a:gd name="T23" fmla="*/ 49 h 98"/>
                <a:gd name="T24" fmla="*/ 0 w 319"/>
                <a:gd name="T25" fmla="*/ 49 h 98"/>
                <a:gd name="T26" fmla="*/ 2 w 319"/>
                <a:gd name="T27" fmla="*/ 40 h 98"/>
                <a:gd name="T28" fmla="*/ 5 w 319"/>
                <a:gd name="T29" fmla="*/ 30 h 98"/>
                <a:gd name="T30" fmla="*/ 8 w 319"/>
                <a:gd name="T31" fmla="*/ 22 h 98"/>
                <a:gd name="T32" fmla="*/ 15 w 319"/>
                <a:gd name="T33" fmla="*/ 15 h 98"/>
                <a:gd name="T34" fmla="*/ 21 w 319"/>
                <a:gd name="T35" fmla="*/ 9 h 98"/>
                <a:gd name="T36" fmla="*/ 31 w 319"/>
                <a:gd name="T37" fmla="*/ 4 h 98"/>
                <a:gd name="T38" fmla="*/ 39 w 319"/>
                <a:gd name="T39" fmla="*/ 2 h 98"/>
                <a:gd name="T40" fmla="*/ 49 w 319"/>
                <a:gd name="T41" fmla="*/ 0 h 98"/>
                <a:gd name="T42" fmla="*/ 49 w 319"/>
                <a:gd name="T43" fmla="*/ 0 h 98"/>
                <a:gd name="T44" fmla="*/ 270 w 319"/>
                <a:gd name="T45" fmla="*/ 0 h 98"/>
                <a:gd name="T46" fmla="*/ 270 w 319"/>
                <a:gd name="T47" fmla="*/ 0 h 98"/>
                <a:gd name="T48" fmla="*/ 280 w 319"/>
                <a:gd name="T49" fmla="*/ 2 h 98"/>
                <a:gd name="T50" fmla="*/ 290 w 319"/>
                <a:gd name="T51" fmla="*/ 5 h 98"/>
                <a:gd name="T52" fmla="*/ 298 w 319"/>
                <a:gd name="T53" fmla="*/ 9 h 98"/>
                <a:gd name="T54" fmla="*/ 304 w 319"/>
                <a:gd name="T55" fmla="*/ 15 h 98"/>
                <a:gd name="T56" fmla="*/ 311 w 319"/>
                <a:gd name="T57" fmla="*/ 23 h 98"/>
                <a:gd name="T58" fmla="*/ 316 w 319"/>
                <a:gd name="T59" fmla="*/ 31 h 98"/>
                <a:gd name="T60" fmla="*/ 317 w 319"/>
                <a:gd name="T61" fmla="*/ 40 h 98"/>
                <a:gd name="T62" fmla="*/ 319 w 319"/>
                <a:gd name="T63" fmla="*/ 49 h 98"/>
                <a:gd name="T64" fmla="*/ 319 w 319"/>
                <a:gd name="T65" fmla="*/ 49 h 98"/>
                <a:gd name="T66" fmla="*/ 317 w 319"/>
                <a:gd name="T67" fmla="*/ 59 h 98"/>
                <a:gd name="T68" fmla="*/ 316 w 319"/>
                <a:gd name="T69" fmla="*/ 69 h 98"/>
                <a:gd name="T70" fmla="*/ 311 w 319"/>
                <a:gd name="T71" fmla="*/ 77 h 98"/>
                <a:gd name="T72" fmla="*/ 304 w 319"/>
                <a:gd name="T73" fmla="*/ 83 h 98"/>
                <a:gd name="T74" fmla="*/ 298 w 319"/>
                <a:gd name="T75" fmla="*/ 90 h 98"/>
                <a:gd name="T76" fmla="*/ 290 w 319"/>
                <a:gd name="T77" fmla="*/ 95 h 98"/>
                <a:gd name="T78" fmla="*/ 280 w 319"/>
                <a:gd name="T79" fmla="*/ 98 h 98"/>
                <a:gd name="T80" fmla="*/ 270 w 319"/>
                <a:gd name="T8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9" h="98">
                  <a:moveTo>
                    <a:pt x="270" y="98"/>
                  </a:moveTo>
                  <a:lnTo>
                    <a:pt x="270" y="98"/>
                  </a:lnTo>
                  <a:lnTo>
                    <a:pt x="49" y="98"/>
                  </a:lnTo>
                  <a:lnTo>
                    <a:pt x="49" y="98"/>
                  </a:lnTo>
                  <a:lnTo>
                    <a:pt x="39" y="96"/>
                  </a:lnTo>
                  <a:lnTo>
                    <a:pt x="29" y="95"/>
                  </a:lnTo>
                  <a:lnTo>
                    <a:pt x="21" y="90"/>
                  </a:lnTo>
                  <a:lnTo>
                    <a:pt x="15" y="83"/>
                  </a:lnTo>
                  <a:lnTo>
                    <a:pt x="8" y="77"/>
                  </a:lnTo>
                  <a:lnTo>
                    <a:pt x="5" y="69"/>
                  </a:lnTo>
                  <a:lnTo>
                    <a:pt x="2" y="59"/>
                  </a:lnTo>
                  <a:lnTo>
                    <a:pt x="0" y="49"/>
                  </a:lnTo>
                  <a:lnTo>
                    <a:pt x="0" y="49"/>
                  </a:lnTo>
                  <a:lnTo>
                    <a:pt x="2" y="40"/>
                  </a:lnTo>
                  <a:lnTo>
                    <a:pt x="5" y="30"/>
                  </a:lnTo>
                  <a:lnTo>
                    <a:pt x="8" y="22"/>
                  </a:lnTo>
                  <a:lnTo>
                    <a:pt x="15" y="15"/>
                  </a:lnTo>
                  <a:lnTo>
                    <a:pt x="21" y="9"/>
                  </a:lnTo>
                  <a:lnTo>
                    <a:pt x="31" y="4"/>
                  </a:lnTo>
                  <a:lnTo>
                    <a:pt x="39" y="2"/>
                  </a:lnTo>
                  <a:lnTo>
                    <a:pt x="49" y="0"/>
                  </a:lnTo>
                  <a:lnTo>
                    <a:pt x="49" y="0"/>
                  </a:lnTo>
                  <a:lnTo>
                    <a:pt x="270" y="0"/>
                  </a:lnTo>
                  <a:lnTo>
                    <a:pt x="270" y="0"/>
                  </a:lnTo>
                  <a:lnTo>
                    <a:pt x="280" y="2"/>
                  </a:lnTo>
                  <a:lnTo>
                    <a:pt x="290" y="5"/>
                  </a:lnTo>
                  <a:lnTo>
                    <a:pt x="298" y="9"/>
                  </a:lnTo>
                  <a:lnTo>
                    <a:pt x="304" y="15"/>
                  </a:lnTo>
                  <a:lnTo>
                    <a:pt x="311" y="23"/>
                  </a:lnTo>
                  <a:lnTo>
                    <a:pt x="316" y="31"/>
                  </a:lnTo>
                  <a:lnTo>
                    <a:pt x="317" y="40"/>
                  </a:lnTo>
                  <a:lnTo>
                    <a:pt x="319" y="49"/>
                  </a:lnTo>
                  <a:lnTo>
                    <a:pt x="319" y="49"/>
                  </a:lnTo>
                  <a:lnTo>
                    <a:pt x="317" y="59"/>
                  </a:lnTo>
                  <a:lnTo>
                    <a:pt x="316" y="69"/>
                  </a:lnTo>
                  <a:lnTo>
                    <a:pt x="311" y="77"/>
                  </a:lnTo>
                  <a:lnTo>
                    <a:pt x="304" y="83"/>
                  </a:lnTo>
                  <a:lnTo>
                    <a:pt x="298" y="90"/>
                  </a:lnTo>
                  <a:lnTo>
                    <a:pt x="290" y="95"/>
                  </a:lnTo>
                  <a:lnTo>
                    <a:pt x="280" y="98"/>
                  </a:lnTo>
                  <a:lnTo>
                    <a:pt x="270" y="98"/>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5" name="Freeform 22">
              <a:extLst>
                <a:ext uri="{FF2B5EF4-FFF2-40B4-BE49-F238E27FC236}">
                  <a16:creationId xmlns:a16="http://schemas.microsoft.com/office/drawing/2014/main" id="{F4B76C0D-4325-4B1D-B5CA-326D100E7382}"/>
                </a:ext>
              </a:extLst>
            </p:cNvPr>
            <p:cNvSpPr>
              <a:spLocks/>
            </p:cNvSpPr>
            <p:nvPr/>
          </p:nvSpPr>
          <p:spPr bwMode="auto">
            <a:xfrm>
              <a:off x="9554229" y="2654426"/>
              <a:ext cx="339301" cy="104237"/>
            </a:xfrm>
            <a:custGeom>
              <a:avLst/>
              <a:gdLst>
                <a:gd name="T0" fmla="*/ 270 w 319"/>
                <a:gd name="T1" fmla="*/ 98 h 98"/>
                <a:gd name="T2" fmla="*/ 270 w 319"/>
                <a:gd name="T3" fmla="*/ 98 h 98"/>
                <a:gd name="T4" fmla="*/ 49 w 319"/>
                <a:gd name="T5" fmla="*/ 98 h 98"/>
                <a:gd name="T6" fmla="*/ 49 w 319"/>
                <a:gd name="T7" fmla="*/ 98 h 98"/>
                <a:gd name="T8" fmla="*/ 39 w 319"/>
                <a:gd name="T9" fmla="*/ 96 h 98"/>
                <a:gd name="T10" fmla="*/ 29 w 319"/>
                <a:gd name="T11" fmla="*/ 95 h 98"/>
                <a:gd name="T12" fmla="*/ 21 w 319"/>
                <a:gd name="T13" fmla="*/ 90 h 98"/>
                <a:gd name="T14" fmla="*/ 15 w 319"/>
                <a:gd name="T15" fmla="*/ 83 h 98"/>
                <a:gd name="T16" fmla="*/ 8 w 319"/>
                <a:gd name="T17" fmla="*/ 77 h 98"/>
                <a:gd name="T18" fmla="*/ 5 w 319"/>
                <a:gd name="T19" fmla="*/ 69 h 98"/>
                <a:gd name="T20" fmla="*/ 2 w 319"/>
                <a:gd name="T21" fmla="*/ 59 h 98"/>
                <a:gd name="T22" fmla="*/ 0 w 319"/>
                <a:gd name="T23" fmla="*/ 49 h 98"/>
                <a:gd name="T24" fmla="*/ 0 w 319"/>
                <a:gd name="T25" fmla="*/ 49 h 98"/>
                <a:gd name="T26" fmla="*/ 2 w 319"/>
                <a:gd name="T27" fmla="*/ 40 h 98"/>
                <a:gd name="T28" fmla="*/ 5 w 319"/>
                <a:gd name="T29" fmla="*/ 30 h 98"/>
                <a:gd name="T30" fmla="*/ 8 w 319"/>
                <a:gd name="T31" fmla="*/ 22 h 98"/>
                <a:gd name="T32" fmla="*/ 15 w 319"/>
                <a:gd name="T33" fmla="*/ 15 h 98"/>
                <a:gd name="T34" fmla="*/ 21 w 319"/>
                <a:gd name="T35" fmla="*/ 9 h 98"/>
                <a:gd name="T36" fmla="*/ 31 w 319"/>
                <a:gd name="T37" fmla="*/ 4 h 98"/>
                <a:gd name="T38" fmla="*/ 39 w 319"/>
                <a:gd name="T39" fmla="*/ 2 h 98"/>
                <a:gd name="T40" fmla="*/ 49 w 319"/>
                <a:gd name="T41" fmla="*/ 0 h 98"/>
                <a:gd name="T42" fmla="*/ 49 w 319"/>
                <a:gd name="T43" fmla="*/ 0 h 98"/>
                <a:gd name="T44" fmla="*/ 270 w 319"/>
                <a:gd name="T45" fmla="*/ 0 h 98"/>
                <a:gd name="T46" fmla="*/ 270 w 319"/>
                <a:gd name="T47" fmla="*/ 0 h 98"/>
                <a:gd name="T48" fmla="*/ 280 w 319"/>
                <a:gd name="T49" fmla="*/ 2 h 98"/>
                <a:gd name="T50" fmla="*/ 290 w 319"/>
                <a:gd name="T51" fmla="*/ 5 h 98"/>
                <a:gd name="T52" fmla="*/ 298 w 319"/>
                <a:gd name="T53" fmla="*/ 9 h 98"/>
                <a:gd name="T54" fmla="*/ 304 w 319"/>
                <a:gd name="T55" fmla="*/ 15 h 98"/>
                <a:gd name="T56" fmla="*/ 311 w 319"/>
                <a:gd name="T57" fmla="*/ 23 h 98"/>
                <a:gd name="T58" fmla="*/ 316 w 319"/>
                <a:gd name="T59" fmla="*/ 31 h 98"/>
                <a:gd name="T60" fmla="*/ 317 w 319"/>
                <a:gd name="T61" fmla="*/ 40 h 98"/>
                <a:gd name="T62" fmla="*/ 319 w 319"/>
                <a:gd name="T63" fmla="*/ 49 h 98"/>
                <a:gd name="T64" fmla="*/ 319 w 319"/>
                <a:gd name="T65" fmla="*/ 49 h 98"/>
                <a:gd name="T66" fmla="*/ 317 w 319"/>
                <a:gd name="T67" fmla="*/ 59 h 98"/>
                <a:gd name="T68" fmla="*/ 316 w 319"/>
                <a:gd name="T69" fmla="*/ 69 h 98"/>
                <a:gd name="T70" fmla="*/ 311 w 319"/>
                <a:gd name="T71" fmla="*/ 77 h 98"/>
                <a:gd name="T72" fmla="*/ 304 w 319"/>
                <a:gd name="T73" fmla="*/ 83 h 98"/>
                <a:gd name="T74" fmla="*/ 298 w 319"/>
                <a:gd name="T75" fmla="*/ 90 h 98"/>
                <a:gd name="T76" fmla="*/ 290 w 319"/>
                <a:gd name="T77" fmla="*/ 95 h 98"/>
                <a:gd name="T78" fmla="*/ 280 w 319"/>
                <a:gd name="T79" fmla="*/ 98 h 98"/>
                <a:gd name="T80" fmla="*/ 270 w 319"/>
                <a:gd name="T8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9" h="98">
                  <a:moveTo>
                    <a:pt x="270" y="98"/>
                  </a:moveTo>
                  <a:lnTo>
                    <a:pt x="270" y="98"/>
                  </a:lnTo>
                  <a:lnTo>
                    <a:pt x="49" y="98"/>
                  </a:lnTo>
                  <a:lnTo>
                    <a:pt x="49" y="98"/>
                  </a:lnTo>
                  <a:lnTo>
                    <a:pt x="39" y="96"/>
                  </a:lnTo>
                  <a:lnTo>
                    <a:pt x="29" y="95"/>
                  </a:lnTo>
                  <a:lnTo>
                    <a:pt x="21" y="90"/>
                  </a:lnTo>
                  <a:lnTo>
                    <a:pt x="15" y="83"/>
                  </a:lnTo>
                  <a:lnTo>
                    <a:pt x="8" y="77"/>
                  </a:lnTo>
                  <a:lnTo>
                    <a:pt x="5" y="69"/>
                  </a:lnTo>
                  <a:lnTo>
                    <a:pt x="2" y="59"/>
                  </a:lnTo>
                  <a:lnTo>
                    <a:pt x="0" y="49"/>
                  </a:lnTo>
                  <a:lnTo>
                    <a:pt x="0" y="49"/>
                  </a:lnTo>
                  <a:lnTo>
                    <a:pt x="2" y="40"/>
                  </a:lnTo>
                  <a:lnTo>
                    <a:pt x="5" y="30"/>
                  </a:lnTo>
                  <a:lnTo>
                    <a:pt x="8" y="22"/>
                  </a:lnTo>
                  <a:lnTo>
                    <a:pt x="15" y="15"/>
                  </a:lnTo>
                  <a:lnTo>
                    <a:pt x="21" y="9"/>
                  </a:lnTo>
                  <a:lnTo>
                    <a:pt x="31" y="4"/>
                  </a:lnTo>
                  <a:lnTo>
                    <a:pt x="39" y="2"/>
                  </a:lnTo>
                  <a:lnTo>
                    <a:pt x="49" y="0"/>
                  </a:lnTo>
                  <a:lnTo>
                    <a:pt x="49" y="0"/>
                  </a:lnTo>
                  <a:lnTo>
                    <a:pt x="270" y="0"/>
                  </a:lnTo>
                  <a:lnTo>
                    <a:pt x="270" y="0"/>
                  </a:lnTo>
                  <a:lnTo>
                    <a:pt x="280" y="2"/>
                  </a:lnTo>
                  <a:lnTo>
                    <a:pt x="290" y="5"/>
                  </a:lnTo>
                  <a:lnTo>
                    <a:pt x="298" y="9"/>
                  </a:lnTo>
                  <a:lnTo>
                    <a:pt x="304" y="15"/>
                  </a:lnTo>
                  <a:lnTo>
                    <a:pt x="311" y="23"/>
                  </a:lnTo>
                  <a:lnTo>
                    <a:pt x="316" y="31"/>
                  </a:lnTo>
                  <a:lnTo>
                    <a:pt x="317" y="40"/>
                  </a:lnTo>
                  <a:lnTo>
                    <a:pt x="319" y="49"/>
                  </a:lnTo>
                  <a:lnTo>
                    <a:pt x="319" y="49"/>
                  </a:lnTo>
                  <a:lnTo>
                    <a:pt x="317" y="59"/>
                  </a:lnTo>
                  <a:lnTo>
                    <a:pt x="316" y="69"/>
                  </a:lnTo>
                  <a:lnTo>
                    <a:pt x="311" y="77"/>
                  </a:lnTo>
                  <a:lnTo>
                    <a:pt x="304" y="83"/>
                  </a:lnTo>
                  <a:lnTo>
                    <a:pt x="298" y="90"/>
                  </a:lnTo>
                  <a:lnTo>
                    <a:pt x="290" y="95"/>
                  </a:lnTo>
                  <a:lnTo>
                    <a:pt x="280" y="98"/>
                  </a:lnTo>
                  <a:lnTo>
                    <a:pt x="270"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6" name="Freeform 23">
              <a:extLst>
                <a:ext uri="{FF2B5EF4-FFF2-40B4-BE49-F238E27FC236}">
                  <a16:creationId xmlns:a16="http://schemas.microsoft.com/office/drawing/2014/main" id="{A67B7228-5472-4E25-AD4F-C3EB8DD654A4}"/>
                </a:ext>
              </a:extLst>
            </p:cNvPr>
            <p:cNvSpPr>
              <a:spLocks/>
            </p:cNvSpPr>
            <p:nvPr/>
          </p:nvSpPr>
          <p:spPr bwMode="auto">
            <a:xfrm>
              <a:off x="7587561" y="2654426"/>
              <a:ext cx="345683" cy="104237"/>
            </a:xfrm>
            <a:custGeom>
              <a:avLst/>
              <a:gdLst>
                <a:gd name="T0" fmla="*/ 277 w 325"/>
                <a:gd name="T1" fmla="*/ 98 h 98"/>
                <a:gd name="T2" fmla="*/ 277 w 325"/>
                <a:gd name="T3" fmla="*/ 98 h 98"/>
                <a:gd name="T4" fmla="*/ 49 w 325"/>
                <a:gd name="T5" fmla="*/ 98 h 98"/>
                <a:gd name="T6" fmla="*/ 49 w 325"/>
                <a:gd name="T7" fmla="*/ 98 h 98"/>
                <a:gd name="T8" fmla="*/ 39 w 325"/>
                <a:gd name="T9" fmla="*/ 98 h 98"/>
                <a:gd name="T10" fmla="*/ 31 w 325"/>
                <a:gd name="T11" fmla="*/ 95 h 98"/>
                <a:gd name="T12" fmla="*/ 23 w 325"/>
                <a:gd name="T13" fmla="*/ 90 h 98"/>
                <a:gd name="T14" fmla="*/ 15 w 325"/>
                <a:gd name="T15" fmla="*/ 83 h 98"/>
                <a:gd name="T16" fmla="*/ 8 w 325"/>
                <a:gd name="T17" fmla="*/ 77 h 98"/>
                <a:gd name="T18" fmla="*/ 5 w 325"/>
                <a:gd name="T19" fmla="*/ 69 h 98"/>
                <a:gd name="T20" fmla="*/ 2 w 325"/>
                <a:gd name="T21" fmla="*/ 59 h 98"/>
                <a:gd name="T22" fmla="*/ 0 w 325"/>
                <a:gd name="T23" fmla="*/ 49 h 98"/>
                <a:gd name="T24" fmla="*/ 0 w 325"/>
                <a:gd name="T25" fmla="*/ 49 h 98"/>
                <a:gd name="T26" fmla="*/ 2 w 325"/>
                <a:gd name="T27" fmla="*/ 40 h 98"/>
                <a:gd name="T28" fmla="*/ 5 w 325"/>
                <a:gd name="T29" fmla="*/ 30 h 98"/>
                <a:gd name="T30" fmla="*/ 8 w 325"/>
                <a:gd name="T31" fmla="*/ 22 h 98"/>
                <a:gd name="T32" fmla="*/ 15 w 325"/>
                <a:gd name="T33" fmla="*/ 15 h 98"/>
                <a:gd name="T34" fmla="*/ 23 w 325"/>
                <a:gd name="T35" fmla="*/ 9 h 98"/>
                <a:gd name="T36" fmla="*/ 31 w 325"/>
                <a:gd name="T37" fmla="*/ 5 h 98"/>
                <a:gd name="T38" fmla="*/ 39 w 325"/>
                <a:gd name="T39" fmla="*/ 2 h 98"/>
                <a:gd name="T40" fmla="*/ 49 w 325"/>
                <a:gd name="T41" fmla="*/ 0 h 98"/>
                <a:gd name="T42" fmla="*/ 49 w 325"/>
                <a:gd name="T43" fmla="*/ 0 h 98"/>
                <a:gd name="T44" fmla="*/ 277 w 325"/>
                <a:gd name="T45" fmla="*/ 0 h 98"/>
                <a:gd name="T46" fmla="*/ 277 w 325"/>
                <a:gd name="T47" fmla="*/ 0 h 98"/>
                <a:gd name="T48" fmla="*/ 286 w 325"/>
                <a:gd name="T49" fmla="*/ 2 h 98"/>
                <a:gd name="T50" fmla="*/ 296 w 325"/>
                <a:gd name="T51" fmla="*/ 5 h 98"/>
                <a:gd name="T52" fmla="*/ 304 w 325"/>
                <a:gd name="T53" fmla="*/ 10 h 98"/>
                <a:gd name="T54" fmla="*/ 311 w 325"/>
                <a:gd name="T55" fmla="*/ 15 h 98"/>
                <a:gd name="T56" fmla="*/ 317 w 325"/>
                <a:gd name="T57" fmla="*/ 23 h 98"/>
                <a:gd name="T58" fmla="*/ 322 w 325"/>
                <a:gd name="T59" fmla="*/ 31 h 98"/>
                <a:gd name="T60" fmla="*/ 324 w 325"/>
                <a:gd name="T61" fmla="*/ 40 h 98"/>
                <a:gd name="T62" fmla="*/ 325 w 325"/>
                <a:gd name="T63" fmla="*/ 49 h 98"/>
                <a:gd name="T64" fmla="*/ 325 w 325"/>
                <a:gd name="T65" fmla="*/ 49 h 98"/>
                <a:gd name="T66" fmla="*/ 324 w 325"/>
                <a:gd name="T67" fmla="*/ 59 h 98"/>
                <a:gd name="T68" fmla="*/ 322 w 325"/>
                <a:gd name="T69" fmla="*/ 69 h 98"/>
                <a:gd name="T70" fmla="*/ 317 w 325"/>
                <a:gd name="T71" fmla="*/ 77 h 98"/>
                <a:gd name="T72" fmla="*/ 311 w 325"/>
                <a:gd name="T73" fmla="*/ 85 h 98"/>
                <a:gd name="T74" fmla="*/ 304 w 325"/>
                <a:gd name="T75" fmla="*/ 90 h 98"/>
                <a:gd name="T76" fmla="*/ 296 w 325"/>
                <a:gd name="T77" fmla="*/ 95 h 98"/>
                <a:gd name="T78" fmla="*/ 286 w 325"/>
                <a:gd name="T79" fmla="*/ 98 h 98"/>
                <a:gd name="T80" fmla="*/ 277 w 325"/>
                <a:gd name="T8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98">
                  <a:moveTo>
                    <a:pt x="277" y="98"/>
                  </a:moveTo>
                  <a:lnTo>
                    <a:pt x="277" y="98"/>
                  </a:lnTo>
                  <a:lnTo>
                    <a:pt x="49" y="98"/>
                  </a:lnTo>
                  <a:lnTo>
                    <a:pt x="49" y="98"/>
                  </a:lnTo>
                  <a:lnTo>
                    <a:pt x="39" y="98"/>
                  </a:lnTo>
                  <a:lnTo>
                    <a:pt x="31" y="95"/>
                  </a:lnTo>
                  <a:lnTo>
                    <a:pt x="23" y="90"/>
                  </a:lnTo>
                  <a:lnTo>
                    <a:pt x="15" y="83"/>
                  </a:lnTo>
                  <a:lnTo>
                    <a:pt x="8" y="77"/>
                  </a:lnTo>
                  <a:lnTo>
                    <a:pt x="5" y="69"/>
                  </a:lnTo>
                  <a:lnTo>
                    <a:pt x="2" y="59"/>
                  </a:lnTo>
                  <a:lnTo>
                    <a:pt x="0" y="49"/>
                  </a:lnTo>
                  <a:lnTo>
                    <a:pt x="0" y="49"/>
                  </a:lnTo>
                  <a:lnTo>
                    <a:pt x="2" y="40"/>
                  </a:lnTo>
                  <a:lnTo>
                    <a:pt x="5" y="30"/>
                  </a:lnTo>
                  <a:lnTo>
                    <a:pt x="8" y="22"/>
                  </a:lnTo>
                  <a:lnTo>
                    <a:pt x="15" y="15"/>
                  </a:lnTo>
                  <a:lnTo>
                    <a:pt x="23" y="9"/>
                  </a:lnTo>
                  <a:lnTo>
                    <a:pt x="31" y="5"/>
                  </a:lnTo>
                  <a:lnTo>
                    <a:pt x="39" y="2"/>
                  </a:lnTo>
                  <a:lnTo>
                    <a:pt x="49" y="0"/>
                  </a:lnTo>
                  <a:lnTo>
                    <a:pt x="49" y="0"/>
                  </a:lnTo>
                  <a:lnTo>
                    <a:pt x="277" y="0"/>
                  </a:lnTo>
                  <a:lnTo>
                    <a:pt x="277" y="0"/>
                  </a:lnTo>
                  <a:lnTo>
                    <a:pt x="286" y="2"/>
                  </a:lnTo>
                  <a:lnTo>
                    <a:pt x="296" y="5"/>
                  </a:lnTo>
                  <a:lnTo>
                    <a:pt x="304" y="10"/>
                  </a:lnTo>
                  <a:lnTo>
                    <a:pt x="311" y="15"/>
                  </a:lnTo>
                  <a:lnTo>
                    <a:pt x="317" y="23"/>
                  </a:lnTo>
                  <a:lnTo>
                    <a:pt x="322" y="31"/>
                  </a:lnTo>
                  <a:lnTo>
                    <a:pt x="324" y="40"/>
                  </a:lnTo>
                  <a:lnTo>
                    <a:pt x="325" y="49"/>
                  </a:lnTo>
                  <a:lnTo>
                    <a:pt x="325" y="49"/>
                  </a:lnTo>
                  <a:lnTo>
                    <a:pt x="324" y="59"/>
                  </a:lnTo>
                  <a:lnTo>
                    <a:pt x="322" y="69"/>
                  </a:lnTo>
                  <a:lnTo>
                    <a:pt x="317" y="77"/>
                  </a:lnTo>
                  <a:lnTo>
                    <a:pt x="311" y="85"/>
                  </a:lnTo>
                  <a:lnTo>
                    <a:pt x="304" y="90"/>
                  </a:lnTo>
                  <a:lnTo>
                    <a:pt x="296" y="95"/>
                  </a:lnTo>
                  <a:lnTo>
                    <a:pt x="286" y="98"/>
                  </a:lnTo>
                  <a:lnTo>
                    <a:pt x="277" y="98"/>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7" name="Freeform 24">
              <a:extLst>
                <a:ext uri="{FF2B5EF4-FFF2-40B4-BE49-F238E27FC236}">
                  <a16:creationId xmlns:a16="http://schemas.microsoft.com/office/drawing/2014/main" id="{C9A13E9D-27EE-42BE-A98C-2CDB8BE37868}"/>
                </a:ext>
              </a:extLst>
            </p:cNvPr>
            <p:cNvSpPr>
              <a:spLocks/>
            </p:cNvSpPr>
            <p:nvPr/>
          </p:nvSpPr>
          <p:spPr bwMode="auto">
            <a:xfrm>
              <a:off x="7587561" y="2654426"/>
              <a:ext cx="345683" cy="104237"/>
            </a:xfrm>
            <a:custGeom>
              <a:avLst/>
              <a:gdLst>
                <a:gd name="T0" fmla="*/ 277 w 325"/>
                <a:gd name="T1" fmla="*/ 98 h 98"/>
                <a:gd name="T2" fmla="*/ 277 w 325"/>
                <a:gd name="T3" fmla="*/ 98 h 98"/>
                <a:gd name="T4" fmla="*/ 49 w 325"/>
                <a:gd name="T5" fmla="*/ 98 h 98"/>
                <a:gd name="T6" fmla="*/ 49 w 325"/>
                <a:gd name="T7" fmla="*/ 98 h 98"/>
                <a:gd name="T8" fmla="*/ 39 w 325"/>
                <a:gd name="T9" fmla="*/ 98 h 98"/>
                <a:gd name="T10" fmla="*/ 31 w 325"/>
                <a:gd name="T11" fmla="*/ 95 h 98"/>
                <a:gd name="T12" fmla="*/ 23 w 325"/>
                <a:gd name="T13" fmla="*/ 90 h 98"/>
                <a:gd name="T14" fmla="*/ 15 w 325"/>
                <a:gd name="T15" fmla="*/ 83 h 98"/>
                <a:gd name="T16" fmla="*/ 8 w 325"/>
                <a:gd name="T17" fmla="*/ 77 h 98"/>
                <a:gd name="T18" fmla="*/ 5 w 325"/>
                <a:gd name="T19" fmla="*/ 69 h 98"/>
                <a:gd name="T20" fmla="*/ 2 w 325"/>
                <a:gd name="T21" fmla="*/ 59 h 98"/>
                <a:gd name="T22" fmla="*/ 0 w 325"/>
                <a:gd name="T23" fmla="*/ 49 h 98"/>
                <a:gd name="T24" fmla="*/ 0 w 325"/>
                <a:gd name="T25" fmla="*/ 49 h 98"/>
                <a:gd name="T26" fmla="*/ 2 w 325"/>
                <a:gd name="T27" fmla="*/ 40 h 98"/>
                <a:gd name="T28" fmla="*/ 5 w 325"/>
                <a:gd name="T29" fmla="*/ 30 h 98"/>
                <a:gd name="T30" fmla="*/ 8 w 325"/>
                <a:gd name="T31" fmla="*/ 22 h 98"/>
                <a:gd name="T32" fmla="*/ 15 w 325"/>
                <a:gd name="T33" fmla="*/ 15 h 98"/>
                <a:gd name="T34" fmla="*/ 23 w 325"/>
                <a:gd name="T35" fmla="*/ 9 h 98"/>
                <a:gd name="T36" fmla="*/ 31 w 325"/>
                <a:gd name="T37" fmla="*/ 5 h 98"/>
                <a:gd name="T38" fmla="*/ 39 w 325"/>
                <a:gd name="T39" fmla="*/ 2 h 98"/>
                <a:gd name="T40" fmla="*/ 49 w 325"/>
                <a:gd name="T41" fmla="*/ 0 h 98"/>
                <a:gd name="T42" fmla="*/ 49 w 325"/>
                <a:gd name="T43" fmla="*/ 0 h 98"/>
                <a:gd name="T44" fmla="*/ 277 w 325"/>
                <a:gd name="T45" fmla="*/ 0 h 98"/>
                <a:gd name="T46" fmla="*/ 277 w 325"/>
                <a:gd name="T47" fmla="*/ 0 h 98"/>
                <a:gd name="T48" fmla="*/ 286 w 325"/>
                <a:gd name="T49" fmla="*/ 2 h 98"/>
                <a:gd name="T50" fmla="*/ 296 w 325"/>
                <a:gd name="T51" fmla="*/ 5 h 98"/>
                <a:gd name="T52" fmla="*/ 304 w 325"/>
                <a:gd name="T53" fmla="*/ 10 h 98"/>
                <a:gd name="T54" fmla="*/ 311 w 325"/>
                <a:gd name="T55" fmla="*/ 15 h 98"/>
                <a:gd name="T56" fmla="*/ 317 w 325"/>
                <a:gd name="T57" fmla="*/ 23 h 98"/>
                <a:gd name="T58" fmla="*/ 322 w 325"/>
                <a:gd name="T59" fmla="*/ 31 h 98"/>
                <a:gd name="T60" fmla="*/ 324 w 325"/>
                <a:gd name="T61" fmla="*/ 40 h 98"/>
                <a:gd name="T62" fmla="*/ 325 w 325"/>
                <a:gd name="T63" fmla="*/ 49 h 98"/>
                <a:gd name="T64" fmla="*/ 325 w 325"/>
                <a:gd name="T65" fmla="*/ 49 h 98"/>
                <a:gd name="T66" fmla="*/ 324 w 325"/>
                <a:gd name="T67" fmla="*/ 59 h 98"/>
                <a:gd name="T68" fmla="*/ 322 w 325"/>
                <a:gd name="T69" fmla="*/ 69 h 98"/>
                <a:gd name="T70" fmla="*/ 317 w 325"/>
                <a:gd name="T71" fmla="*/ 77 h 98"/>
                <a:gd name="T72" fmla="*/ 311 w 325"/>
                <a:gd name="T73" fmla="*/ 85 h 98"/>
                <a:gd name="T74" fmla="*/ 304 w 325"/>
                <a:gd name="T75" fmla="*/ 90 h 98"/>
                <a:gd name="T76" fmla="*/ 296 w 325"/>
                <a:gd name="T77" fmla="*/ 95 h 98"/>
                <a:gd name="T78" fmla="*/ 286 w 325"/>
                <a:gd name="T79" fmla="*/ 98 h 98"/>
                <a:gd name="T80" fmla="*/ 277 w 325"/>
                <a:gd name="T8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98">
                  <a:moveTo>
                    <a:pt x="277" y="98"/>
                  </a:moveTo>
                  <a:lnTo>
                    <a:pt x="277" y="98"/>
                  </a:lnTo>
                  <a:lnTo>
                    <a:pt x="49" y="98"/>
                  </a:lnTo>
                  <a:lnTo>
                    <a:pt x="49" y="98"/>
                  </a:lnTo>
                  <a:lnTo>
                    <a:pt x="39" y="98"/>
                  </a:lnTo>
                  <a:lnTo>
                    <a:pt x="31" y="95"/>
                  </a:lnTo>
                  <a:lnTo>
                    <a:pt x="23" y="90"/>
                  </a:lnTo>
                  <a:lnTo>
                    <a:pt x="15" y="83"/>
                  </a:lnTo>
                  <a:lnTo>
                    <a:pt x="8" y="77"/>
                  </a:lnTo>
                  <a:lnTo>
                    <a:pt x="5" y="69"/>
                  </a:lnTo>
                  <a:lnTo>
                    <a:pt x="2" y="59"/>
                  </a:lnTo>
                  <a:lnTo>
                    <a:pt x="0" y="49"/>
                  </a:lnTo>
                  <a:lnTo>
                    <a:pt x="0" y="49"/>
                  </a:lnTo>
                  <a:lnTo>
                    <a:pt x="2" y="40"/>
                  </a:lnTo>
                  <a:lnTo>
                    <a:pt x="5" y="30"/>
                  </a:lnTo>
                  <a:lnTo>
                    <a:pt x="8" y="22"/>
                  </a:lnTo>
                  <a:lnTo>
                    <a:pt x="15" y="15"/>
                  </a:lnTo>
                  <a:lnTo>
                    <a:pt x="23" y="9"/>
                  </a:lnTo>
                  <a:lnTo>
                    <a:pt x="31" y="5"/>
                  </a:lnTo>
                  <a:lnTo>
                    <a:pt x="39" y="2"/>
                  </a:lnTo>
                  <a:lnTo>
                    <a:pt x="49" y="0"/>
                  </a:lnTo>
                  <a:lnTo>
                    <a:pt x="49" y="0"/>
                  </a:lnTo>
                  <a:lnTo>
                    <a:pt x="277" y="0"/>
                  </a:lnTo>
                  <a:lnTo>
                    <a:pt x="277" y="0"/>
                  </a:lnTo>
                  <a:lnTo>
                    <a:pt x="286" y="2"/>
                  </a:lnTo>
                  <a:lnTo>
                    <a:pt x="296" y="5"/>
                  </a:lnTo>
                  <a:lnTo>
                    <a:pt x="304" y="10"/>
                  </a:lnTo>
                  <a:lnTo>
                    <a:pt x="311" y="15"/>
                  </a:lnTo>
                  <a:lnTo>
                    <a:pt x="317" y="23"/>
                  </a:lnTo>
                  <a:lnTo>
                    <a:pt x="322" y="31"/>
                  </a:lnTo>
                  <a:lnTo>
                    <a:pt x="324" y="40"/>
                  </a:lnTo>
                  <a:lnTo>
                    <a:pt x="325" y="49"/>
                  </a:lnTo>
                  <a:lnTo>
                    <a:pt x="325" y="49"/>
                  </a:lnTo>
                  <a:lnTo>
                    <a:pt x="324" y="59"/>
                  </a:lnTo>
                  <a:lnTo>
                    <a:pt x="322" y="69"/>
                  </a:lnTo>
                  <a:lnTo>
                    <a:pt x="317" y="77"/>
                  </a:lnTo>
                  <a:lnTo>
                    <a:pt x="311" y="85"/>
                  </a:lnTo>
                  <a:lnTo>
                    <a:pt x="304" y="90"/>
                  </a:lnTo>
                  <a:lnTo>
                    <a:pt x="296" y="95"/>
                  </a:lnTo>
                  <a:lnTo>
                    <a:pt x="286" y="98"/>
                  </a:lnTo>
                  <a:lnTo>
                    <a:pt x="277" y="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8" name="Freeform 25">
              <a:extLst>
                <a:ext uri="{FF2B5EF4-FFF2-40B4-BE49-F238E27FC236}">
                  <a16:creationId xmlns:a16="http://schemas.microsoft.com/office/drawing/2014/main" id="{C3D17C9C-AA95-49C0-B021-EA299707D516}"/>
                </a:ext>
              </a:extLst>
            </p:cNvPr>
            <p:cNvSpPr>
              <a:spLocks/>
            </p:cNvSpPr>
            <p:nvPr/>
          </p:nvSpPr>
          <p:spPr bwMode="auto">
            <a:xfrm>
              <a:off x="8693745" y="1503569"/>
              <a:ext cx="104237" cy="325473"/>
            </a:xfrm>
            <a:custGeom>
              <a:avLst/>
              <a:gdLst>
                <a:gd name="T0" fmla="*/ 49 w 98"/>
                <a:gd name="T1" fmla="*/ 306 h 306"/>
                <a:gd name="T2" fmla="*/ 49 w 98"/>
                <a:gd name="T3" fmla="*/ 306 h 306"/>
                <a:gd name="T4" fmla="*/ 49 w 98"/>
                <a:gd name="T5" fmla="*/ 306 h 306"/>
                <a:gd name="T6" fmla="*/ 39 w 98"/>
                <a:gd name="T7" fmla="*/ 304 h 306"/>
                <a:gd name="T8" fmla="*/ 29 w 98"/>
                <a:gd name="T9" fmla="*/ 303 h 306"/>
                <a:gd name="T10" fmla="*/ 21 w 98"/>
                <a:gd name="T11" fmla="*/ 298 h 306"/>
                <a:gd name="T12" fmla="*/ 15 w 98"/>
                <a:gd name="T13" fmla="*/ 291 h 306"/>
                <a:gd name="T14" fmla="*/ 8 w 98"/>
                <a:gd name="T15" fmla="*/ 285 h 306"/>
                <a:gd name="T16" fmla="*/ 5 w 98"/>
                <a:gd name="T17" fmla="*/ 277 h 306"/>
                <a:gd name="T18" fmla="*/ 2 w 98"/>
                <a:gd name="T19" fmla="*/ 267 h 306"/>
                <a:gd name="T20" fmla="*/ 0 w 98"/>
                <a:gd name="T21" fmla="*/ 257 h 306"/>
                <a:gd name="T22" fmla="*/ 0 w 98"/>
                <a:gd name="T23" fmla="*/ 49 h 306"/>
                <a:gd name="T24" fmla="*/ 0 w 98"/>
                <a:gd name="T25" fmla="*/ 49 h 306"/>
                <a:gd name="T26" fmla="*/ 2 w 98"/>
                <a:gd name="T27" fmla="*/ 39 h 306"/>
                <a:gd name="T28" fmla="*/ 5 w 98"/>
                <a:gd name="T29" fmla="*/ 29 h 306"/>
                <a:gd name="T30" fmla="*/ 10 w 98"/>
                <a:gd name="T31" fmla="*/ 21 h 306"/>
                <a:gd name="T32" fmla="*/ 15 w 98"/>
                <a:gd name="T33" fmla="*/ 15 h 306"/>
                <a:gd name="T34" fmla="*/ 23 w 98"/>
                <a:gd name="T35" fmla="*/ 8 h 306"/>
                <a:gd name="T36" fmla="*/ 31 w 98"/>
                <a:gd name="T37" fmla="*/ 3 h 306"/>
                <a:gd name="T38" fmla="*/ 39 w 98"/>
                <a:gd name="T39" fmla="*/ 2 h 306"/>
                <a:gd name="T40" fmla="*/ 49 w 98"/>
                <a:gd name="T41" fmla="*/ 0 h 306"/>
                <a:gd name="T42" fmla="*/ 49 w 98"/>
                <a:gd name="T43" fmla="*/ 0 h 306"/>
                <a:gd name="T44" fmla="*/ 49 w 98"/>
                <a:gd name="T45" fmla="*/ 0 h 306"/>
                <a:gd name="T46" fmla="*/ 59 w 98"/>
                <a:gd name="T47" fmla="*/ 2 h 306"/>
                <a:gd name="T48" fmla="*/ 68 w 98"/>
                <a:gd name="T49" fmla="*/ 3 h 306"/>
                <a:gd name="T50" fmla="*/ 77 w 98"/>
                <a:gd name="T51" fmla="*/ 8 h 306"/>
                <a:gd name="T52" fmla="*/ 85 w 98"/>
                <a:gd name="T53" fmla="*/ 15 h 306"/>
                <a:gd name="T54" fmla="*/ 90 w 98"/>
                <a:gd name="T55" fmla="*/ 21 h 306"/>
                <a:gd name="T56" fmla="*/ 94 w 98"/>
                <a:gd name="T57" fmla="*/ 29 h 306"/>
                <a:gd name="T58" fmla="*/ 98 w 98"/>
                <a:gd name="T59" fmla="*/ 39 h 306"/>
                <a:gd name="T60" fmla="*/ 98 w 98"/>
                <a:gd name="T61" fmla="*/ 49 h 306"/>
                <a:gd name="T62" fmla="*/ 98 w 98"/>
                <a:gd name="T63" fmla="*/ 257 h 306"/>
                <a:gd name="T64" fmla="*/ 98 w 98"/>
                <a:gd name="T65" fmla="*/ 257 h 306"/>
                <a:gd name="T66" fmla="*/ 98 w 98"/>
                <a:gd name="T67" fmla="*/ 267 h 306"/>
                <a:gd name="T68" fmla="*/ 94 w 98"/>
                <a:gd name="T69" fmla="*/ 277 h 306"/>
                <a:gd name="T70" fmla="*/ 90 w 98"/>
                <a:gd name="T71" fmla="*/ 285 h 306"/>
                <a:gd name="T72" fmla="*/ 83 w 98"/>
                <a:gd name="T73" fmla="*/ 291 h 306"/>
                <a:gd name="T74" fmla="*/ 77 w 98"/>
                <a:gd name="T75" fmla="*/ 298 h 306"/>
                <a:gd name="T76" fmla="*/ 68 w 98"/>
                <a:gd name="T77" fmla="*/ 303 h 306"/>
                <a:gd name="T78" fmla="*/ 59 w 98"/>
                <a:gd name="T79" fmla="*/ 304 h 306"/>
                <a:gd name="T80" fmla="*/ 49 w 98"/>
                <a:gd name="T81"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306">
                  <a:moveTo>
                    <a:pt x="49" y="306"/>
                  </a:moveTo>
                  <a:lnTo>
                    <a:pt x="49" y="306"/>
                  </a:lnTo>
                  <a:lnTo>
                    <a:pt x="49" y="306"/>
                  </a:lnTo>
                  <a:lnTo>
                    <a:pt x="39" y="304"/>
                  </a:lnTo>
                  <a:lnTo>
                    <a:pt x="29" y="303"/>
                  </a:lnTo>
                  <a:lnTo>
                    <a:pt x="21" y="298"/>
                  </a:lnTo>
                  <a:lnTo>
                    <a:pt x="15" y="291"/>
                  </a:lnTo>
                  <a:lnTo>
                    <a:pt x="8" y="285"/>
                  </a:lnTo>
                  <a:lnTo>
                    <a:pt x="5" y="277"/>
                  </a:lnTo>
                  <a:lnTo>
                    <a:pt x="2" y="267"/>
                  </a:lnTo>
                  <a:lnTo>
                    <a:pt x="0" y="257"/>
                  </a:lnTo>
                  <a:lnTo>
                    <a:pt x="0" y="49"/>
                  </a:lnTo>
                  <a:lnTo>
                    <a:pt x="0" y="49"/>
                  </a:lnTo>
                  <a:lnTo>
                    <a:pt x="2" y="39"/>
                  </a:lnTo>
                  <a:lnTo>
                    <a:pt x="5" y="29"/>
                  </a:lnTo>
                  <a:lnTo>
                    <a:pt x="10" y="21"/>
                  </a:lnTo>
                  <a:lnTo>
                    <a:pt x="15" y="15"/>
                  </a:lnTo>
                  <a:lnTo>
                    <a:pt x="23" y="8"/>
                  </a:lnTo>
                  <a:lnTo>
                    <a:pt x="31" y="3"/>
                  </a:lnTo>
                  <a:lnTo>
                    <a:pt x="39" y="2"/>
                  </a:lnTo>
                  <a:lnTo>
                    <a:pt x="49" y="0"/>
                  </a:lnTo>
                  <a:lnTo>
                    <a:pt x="49" y="0"/>
                  </a:lnTo>
                  <a:lnTo>
                    <a:pt x="49" y="0"/>
                  </a:lnTo>
                  <a:lnTo>
                    <a:pt x="59" y="2"/>
                  </a:lnTo>
                  <a:lnTo>
                    <a:pt x="68" y="3"/>
                  </a:lnTo>
                  <a:lnTo>
                    <a:pt x="77" y="8"/>
                  </a:lnTo>
                  <a:lnTo>
                    <a:pt x="85" y="15"/>
                  </a:lnTo>
                  <a:lnTo>
                    <a:pt x="90" y="21"/>
                  </a:lnTo>
                  <a:lnTo>
                    <a:pt x="94" y="29"/>
                  </a:lnTo>
                  <a:lnTo>
                    <a:pt x="98" y="39"/>
                  </a:lnTo>
                  <a:lnTo>
                    <a:pt x="98" y="49"/>
                  </a:lnTo>
                  <a:lnTo>
                    <a:pt x="98" y="257"/>
                  </a:lnTo>
                  <a:lnTo>
                    <a:pt x="98" y="257"/>
                  </a:lnTo>
                  <a:lnTo>
                    <a:pt x="98" y="267"/>
                  </a:lnTo>
                  <a:lnTo>
                    <a:pt x="94" y="277"/>
                  </a:lnTo>
                  <a:lnTo>
                    <a:pt x="90" y="285"/>
                  </a:lnTo>
                  <a:lnTo>
                    <a:pt x="83" y="291"/>
                  </a:lnTo>
                  <a:lnTo>
                    <a:pt x="77" y="298"/>
                  </a:lnTo>
                  <a:lnTo>
                    <a:pt x="68" y="303"/>
                  </a:lnTo>
                  <a:lnTo>
                    <a:pt x="59" y="304"/>
                  </a:lnTo>
                  <a:lnTo>
                    <a:pt x="49" y="306"/>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29" name="Freeform 26">
              <a:extLst>
                <a:ext uri="{FF2B5EF4-FFF2-40B4-BE49-F238E27FC236}">
                  <a16:creationId xmlns:a16="http://schemas.microsoft.com/office/drawing/2014/main" id="{C7FE3940-0523-4508-BD96-9B9C4C01B965}"/>
                </a:ext>
              </a:extLst>
            </p:cNvPr>
            <p:cNvSpPr>
              <a:spLocks/>
            </p:cNvSpPr>
            <p:nvPr/>
          </p:nvSpPr>
          <p:spPr bwMode="auto">
            <a:xfrm>
              <a:off x="8693745" y="1503569"/>
              <a:ext cx="104237" cy="325473"/>
            </a:xfrm>
            <a:custGeom>
              <a:avLst/>
              <a:gdLst>
                <a:gd name="T0" fmla="*/ 49 w 98"/>
                <a:gd name="T1" fmla="*/ 306 h 306"/>
                <a:gd name="T2" fmla="*/ 49 w 98"/>
                <a:gd name="T3" fmla="*/ 306 h 306"/>
                <a:gd name="T4" fmla="*/ 49 w 98"/>
                <a:gd name="T5" fmla="*/ 306 h 306"/>
                <a:gd name="T6" fmla="*/ 39 w 98"/>
                <a:gd name="T7" fmla="*/ 304 h 306"/>
                <a:gd name="T8" fmla="*/ 29 w 98"/>
                <a:gd name="T9" fmla="*/ 303 h 306"/>
                <a:gd name="T10" fmla="*/ 21 w 98"/>
                <a:gd name="T11" fmla="*/ 298 h 306"/>
                <a:gd name="T12" fmla="*/ 15 w 98"/>
                <a:gd name="T13" fmla="*/ 291 h 306"/>
                <a:gd name="T14" fmla="*/ 8 w 98"/>
                <a:gd name="T15" fmla="*/ 285 h 306"/>
                <a:gd name="T16" fmla="*/ 5 w 98"/>
                <a:gd name="T17" fmla="*/ 277 h 306"/>
                <a:gd name="T18" fmla="*/ 2 w 98"/>
                <a:gd name="T19" fmla="*/ 267 h 306"/>
                <a:gd name="T20" fmla="*/ 0 w 98"/>
                <a:gd name="T21" fmla="*/ 257 h 306"/>
                <a:gd name="T22" fmla="*/ 0 w 98"/>
                <a:gd name="T23" fmla="*/ 49 h 306"/>
                <a:gd name="T24" fmla="*/ 0 w 98"/>
                <a:gd name="T25" fmla="*/ 49 h 306"/>
                <a:gd name="T26" fmla="*/ 2 w 98"/>
                <a:gd name="T27" fmla="*/ 39 h 306"/>
                <a:gd name="T28" fmla="*/ 5 w 98"/>
                <a:gd name="T29" fmla="*/ 29 h 306"/>
                <a:gd name="T30" fmla="*/ 10 w 98"/>
                <a:gd name="T31" fmla="*/ 21 h 306"/>
                <a:gd name="T32" fmla="*/ 15 w 98"/>
                <a:gd name="T33" fmla="*/ 15 h 306"/>
                <a:gd name="T34" fmla="*/ 23 w 98"/>
                <a:gd name="T35" fmla="*/ 8 h 306"/>
                <a:gd name="T36" fmla="*/ 31 w 98"/>
                <a:gd name="T37" fmla="*/ 3 h 306"/>
                <a:gd name="T38" fmla="*/ 39 w 98"/>
                <a:gd name="T39" fmla="*/ 2 h 306"/>
                <a:gd name="T40" fmla="*/ 49 w 98"/>
                <a:gd name="T41" fmla="*/ 0 h 306"/>
                <a:gd name="T42" fmla="*/ 49 w 98"/>
                <a:gd name="T43" fmla="*/ 0 h 306"/>
                <a:gd name="T44" fmla="*/ 49 w 98"/>
                <a:gd name="T45" fmla="*/ 0 h 306"/>
                <a:gd name="T46" fmla="*/ 59 w 98"/>
                <a:gd name="T47" fmla="*/ 2 h 306"/>
                <a:gd name="T48" fmla="*/ 68 w 98"/>
                <a:gd name="T49" fmla="*/ 3 h 306"/>
                <a:gd name="T50" fmla="*/ 77 w 98"/>
                <a:gd name="T51" fmla="*/ 8 h 306"/>
                <a:gd name="T52" fmla="*/ 85 w 98"/>
                <a:gd name="T53" fmla="*/ 15 h 306"/>
                <a:gd name="T54" fmla="*/ 90 w 98"/>
                <a:gd name="T55" fmla="*/ 21 h 306"/>
                <a:gd name="T56" fmla="*/ 94 w 98"/>
                <a:gd name="T57" fmla="*/ 29 h 306"/>
                <a:gd name="T58" fmla="*/ 98 w 98"/>
                <a:gd name="T59" fmla="*/ 39 h 306"/>
                <a:gd name="T60" fmla="*/ 98 w 98"/>
                <a:gd name="T61" fmla="*/ 49 h 306"/>
                <a:gd name="T62" fmla="*/ 98 w 98"/>
                <a:gd name="T63" fmla="*/ 257 h 306"/>
                <a:gd name="T64" fmla="*/ 98 w 98"/>
                <a:gd name="T65" fmla="*/ 257 h 306"/>
                <a:gd name="T66" fmla="*/ 98 w 98"/>
                <a:gd name="T67" fmla="*/ 267 h 306"/>
                <a:gd name="T68" fmla="*/ 94 w 98"/>
                <a:gd name="T69" fmla="*/ 277 h 306"/>
                <a:gd name="T70" fmla="*/ 90 w 98"/>
                <a:gd name="T71" fmla="*/ 285 h 306"/>
                <a:gd name="T72" fmla="*/ 83 w 98"/>
                <a:gd name="T73" fmla="*/ 291 h 306"/>
                <a:gd name="T74" fmla="*/ 77 w 98"/>
                <a:gd name="T75" fmla="*/ 298 h 306"/>
                <a:gd name="T76" fmla="*/ 68 w 98"/>
                <a:gd name="T77" fmla="*/ 303 h 306"/>
                <a:gd name="T78" fmla="*/ 59 w 98"/>
                <a:gd name="T79" fmla="*/ 304 h 306"/>
                <a:gd name="T80" fmla="*/ 49 w 98"/>
                <a:gd name="T81"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306">
                  <a:moveTo>
                    <a:pt x="49" y="306"/>
                  </a:moveTo>
                  <a:lnTo>
                    <a:pt x="49" y="306"/>
                  </a:lnTo>
                  <a:lnTo>
                    <a:pt x="49" y="306"/>
                  </a:lnTo>
                  <a:lnTo>
                    <a:pt x="39" y="304"/>
                  </a:lnTo>
                  <a:lnTo>
                    <a:pt x="29" y="303"/>
                  </a:lnTo>
                  <a:lnTo>
                    <a:pt x="21" y="298"/>
                  </a:lnTo>
                  <a:lnTo>
                    <a:pt x="15" y="291"/>
                  </a:lnTo>
                  <a:lnTo>
                    <a:pt x="8" y="285"/>
                  </a:lnTo>
                  <a:lnTo>
                    <a:pt x="5" y="277"/>
                  </a:lnTo>
                  <a:lnTo>
                    <a:pt x="2" y="267"/>
                  </a:lnTo>
                  <a:lnTo>
                    <a:pt x="0" y="257"/>
                  </a:lnTo>
                  <a:lnTo>
                    <a:pt x="0" y="49"/>
                  </a:lnTo>
                  <a:lnTo>
                    <a:pt x="0" y="49"/>
                  </a:lnTo>
                  <a:lnTo>
                    <a:pt x="2" y="39"/>
                  </a:lnTo>
                  <a:lnTo>
                    <a:pt x="5" y="29"/>
                  </a:lnTo>
                  <a:lnTo>
                    <a:pt x="10" y="21"/>
                  </a:lnTo>
                  <a:lnTo>
                    <a:pt x="15" y="15"/>
                  </a:lnTo>
                  <a:lnTo>
                    <a:pt x="23" y="8"/>
                  </a:lnTo>
                  <a:lnTo>
                    <a:pt x="31" y="3"/>
                  </a:lnTo>
                  <a:lnTo>
                    <a:pt x="39" y="2"/>
                  </a:lnTo>
                  <a:lnTo>
                    <a:pt x="49" y="0"/>
                  </a:lnTo>
                  <a:lnTo>
                    <a:pt x="49" y="0"/>
                  </a:lnTo>
                  <a:lnTo>
                    <a:pt x="49" y="0"/>
                  </a:lnTo>
                  <a:lnTo>
                    <a:pt x="59" y="2"/>
                  </a:lnTo>
                  <a:lnTo>
                    <a:pt x="68" y="3"/>
                  </a:lnTo>
                  <a:lnTo>
                    <a:pt x="77" y="8"/>
                  </a:lnTo>
                  <a:lnTo>
                    <a:pt x="85" y="15"/>
                  </a:lnTo>
                  <a:lnTo>
                    <a:pt x="90" y="21"/>
                  </a:lnTo>
                  <a:lnTo>
                    <a:pt x="94" y="29"/>
                  </a:lnTo>
                  <a:lnTo>
                    <a:pt x="98" y="39"/>
                  </a:lnTo>
                  <a:lnTo>
                    <a:pt x="98" y="49"/>
                  </a:lnTo>
                  <a:lnTo>
                    <a:pt x="98" y="257"/>
                  </a:lnTo>
                  <a:lnTo>
                    <a:pt x="98" y="257"/>
                  </a:lnTo>
                  <a:lnTo>
                    <a:pt x="98" y="267"/>
                  </a:lnTo>
                  <a:lnTo>
                    <a:pt x="94" y="277"/>
                  </a:lnTo>
                  <a:lnTo>
                    <a:pt x="90" y="285"/>
                  </a:lnTo>
                  <a:lnTo>
                    <a:pt x="83" y="291"/>
                  </a:lnTo>
                  <a:lnTo>
                    <a:pt x="77" y="298"/>
                  </a:lnTo>
                  <a:lnTo>
                    <a:pt x="68" y="303"/>
                  </a:lnTo>
                  <a:lnTo>
                    <a:pt x="59" y="304"/>
                  </a:lnTo>
                  <a:lnTo>
                    <a:pt x="49" y="3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0" name="Freeform 27">
              <a:extLst>
                <a:ext uri="{FF2B5EF4-FFF2-40B4-BE49-F238E27FC236}">
                  <a16:creationId xmlns:a16="http://schemas.microsoft.com/office/drawing/2014/main" id="{351DAC4E-7789-4702-A5AE-535F8D892AB9}"/>
                </a:ext>
              </a:extLst>
            </p:cNvPr>
            <p:cNvSpPr>
              <a:spLocks/>
            </p:cNvSpPr>
            <p:nvPr/>
          </p:nvSpPr>
          <p:spPr bwMode="auto">
            <a:xfrm>
              <a:off x="9334056" y="1851379"/>
              <a:ext cx="251019" cy="251019"/>
            </a:xfrm>
            <a:custGeom>
              <a:avLst/>
              <a:gdLst>
                <a:gd name="T0" fmla="*/ 49 w 236"/>
                <a:gd name="T1" fmla="*/ 236 h 236"/>
                <a:gd name="T2" fmla="*/ 49 w 236"/>
                <a:gd name="T3" fmla="*/ 236 h 236"/>
                <a:gd name="T4" fmla="*/ 39 w 236"/>
                <a:gd name="T5" fmla="*/ 235 h 236"/>
                <a:gd name="T6" fmla="*/ 30 w 236"/>
                <a:gd name="T7" fmla="*/ 233 h 236"/>
                <a:gd name="T8" fmla="*/ 21 w 236"/>
                <a:gd name="T9" fmla="*/ 228 h 236"/>
                <a:gd name="T10" fmla="*/ 13 w 236"/>
                <a:gd name="T11" fmla="*/ 222 h 236"/>
                <a:gd name="T12" fmla="*/ 13 w 236"/>
                <a:gd name="T13" fmla="*/ 222 h 236"/>
                <a:gd name="T14" fmla="*/ 7 w 236"/>
                <a:gd name="T15" fmla="*/ 213 h 236"/>
                <a:gd name="T16" fmla="*/ 4 w 236"/>
                <a:gd name="T17" fmla="*/ 205 h 236"/>
                <a:gd name="T18" fmla="*/ 0 w 236"/>
                <a:gd name="T19" fmla="*/ 197 h 236"/>
                <a:gd name="T20" fmla="*/ 0 w 236"/>
                <a:gd name="T21" fmla="*/ 187 h 236"/>
                <a:gd name="T22" fmla="*/ 0 w 236"/>
                <a:gd name="T23" fmla="*/ 178 h 236"/>
                <a:gd name="T24" fmla="*/ 4 w 236"/>
                <a:gd name="T25" fmla="*/ 169 h 236"/>
                <a:gd name="T26" fmla="*/ 7 w 236"/>
                <a:gd name="T27" fmla="*/ 160 h 236"/>
                <a:gd name="T28" fmla="*/ 13 w 236"/>
                <a:gd name="T29" fmla="*/ 153 h 236"/>
                <a:gd name="T30" fmla="*/ 152 w 236"/>
                <a:gd name="T31" fmla="*/ 15 h 236"/>
                <a:gd name="T32" fmla="*/ 152 w 236"/>
                <a:gd name="T33" fmla="*/ 15 h 236"/>
                <a:gd name="T34" fmla="*/ 160 w 236"/>
                <a:gd name="T35" fmla="*/ 8 h 236"/>
                <a:gd name="T36" fmla="*/ 168 w 236"/>
                <a:gd name="T37" fmla="*/ 3 h 236"/>
                <a:gd name="T38" fmla="*/ 178 w 236"/>
                <a:gd name="T39" fmla="*/ 2 h 236"/>
                <a:gd name="T40" fmla="*/ 187 w 236"/>
                <a:gd name="T41" fmla="*/ 0 h 236"/>
                <a:gd name="T42" fmla="*/ 196 w 236"/>
                <a:gd name="T43" fmla="*/ 2 h 236"/>
                <a:gd name="T44" fmla="*/ 205 w 236"/>
                <a:gd name="T45" fmla="*/ 3 h 236"/>
                <a:gd name="T46" fmla="*/ 213 w 236"/>
                <a:gd name="T47" fmla="*/ 8 h 236"/>
                <a:gd name="T48" fmla="*/ 222 w 236"/>
                <a:gd name="T49" fmla="*/ 15 h 236"/>
                <a:gd name="T50" fmla="*/ 222 w 236"/>
                <a:gd name="T51" fmla="*/ 15 h 236"/>
                <a:gd name="T52" fmla="*/ 228 w 236"/>
                <a:gd name="T53" fmla="*/ 23 h 236"/>
                <a:gd name="T54" fmla="*/ 231 w 236"/>
                <a:gd name="T55" fmla="*/ 31 h 236"/>
                <a:gd name="T56" fmla="*/ 235 w 236"/>
                <a:gd name="T57" fmla="*/ 39 h 236"/>
                <a:gd name="T58" fmla="*/ 236 w 236"/>
                <a:gd name="T59" fmla="*/ 49 h 236"/>
                <a:gd name="T60" fmla="*/ 235 w 236"/>
                <a:gd name="T61" fmla="*/ 59 h 236"/>
                <a:gd name="T62" fmla="*/ 231 w 236"/>
                <a:gd name="T63" fmla="*/ 67 h 236"/>
                <a:gd name="T64" fmla="*/ 228 w 236"/>
                <a:gd name="T65" fmla="*/ 77 h 236"/>
                <a:gd name="T66" fmla="*/ 222 w 236"/>
                <a:gd name="T67" fmla="*/ 83 h 236"/>
                <a:gd name="T68" fmla="*/ 83 w 236"/>
                <a:gd name="T69" fmla="*/ 222 h 236"/>
                <a:gd name="T70" fmla="*/ 83 w 236"/>
                <a:gd name="T71" fmla="*/ 222 h 236"/>
                <a:gd name="T72" fmla="*/ 75 w 236"/>
                <a:gd name="T73" fmla="*/ 228 h 236"/>
                <a:gd name="T74" fmla="*/ 67 w 236"/>
                <a:gd name="T75" fmla="*/ 233 h 236"/>
                <a:gd name="T76" fmla="*/ 57 w 236"/>
                <a:gd name="T77" fmla="*/ 235 h 236"/>
                <a:gd name="T78" fmla="*/ 49 w 236"/>
                <a:gd name="T7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236">
                  <a:moveTo>
                    <a:pt x="49" y="236"/>
                  </a:moveTo>
                  <a:lnTo>
                    <a:pt x="49" y="236"/>
                  </a:lnTo>
                  <a:lnTo>
                    <a:pt x="39" y="235"/>
                  </a:lnTo>
                  <a:lnTo>
                    <a:pt x="30" y="233"/>
                  </a:lnTo>
                  <a:lnTo>
                    <a:pt x="21" y="228"/>
                  </a:lnTo>
                  <a:lnTo>
                    <a:pt x="13" y="222"/>
                  </a:lnTo>
                  <a:lnTo>
                    <a:pt x="13" y="222"/>
                  </a:lnTo>
                  <a:lnTo>
                    <a:pt x="7" y="213"/>
                  </a:lnTo>
                  <a:lnTo>
                    <a:pt x="4" y="205"/>
                  </a:lnTo>
                  <a:lnTo>
                    <a:pt x="0" y="197"/>
                  </a:lnTo>
                  <a:lnTo>
                    <a:pt x="0" y="187"/>
                  </a:lnTo>
                  <a:lnTo>
                    <a:pt x="0" y="178"/>
                  </a:lnTo>
                  <a:lnTo>
                    <a:pt x="4" y="169"/>
                  </a:lnTo>
                  <a:lnTo>
                    <a:pt x="7" y="160"/>
                  </a:lnTo>
                  <a:lnTo>
                    <a:pt x="13" y="153"/>
                  </a:lnTo>
                  <a:lnTo>
                    <a:pt x="152" y="15"/>
                  </a:lnTo>
                  <a:lnTo>
                    <a:pt x="152" y="15"/>
                  </a:lnTo>
                  <a:lnTo>
                    <a:pt x="160" y="8"/>
                  </a:lnTo>
                  <a:lnTo>
                    <a:pt x="168" y="3"/>
                  </a:lnTo>
                  <a:lnTo>
                    <a:pt x="178" y="2"/>
                  </a:lnTo>
                  <a:lnTo>
                    <a:pt x="187" y="0"/>
                  </a:lnTo>
                  <a:lnTo>
                    <a:pt x="196" y="2"/>
                  </a:lnTo>
                  <a:lnTo>
                    <a:pt x="205" y="3"/>
                  </a:lnTo>
                  <a:lnTo>
                    <a:pt x="213" y="8"/>
                  </a:lnTo>
                  <a:lnTo>
                    <a:pt x="222" y="15"/>
                  </a:lnTo>
                  <a:lnTo>
                    <a:pt x="222" y="15"/>
                  </a:lnTo>
                  <a:lnTo>
                    <a:pt x="228" y="23"/>
                  </a:lnTo>
                  <a:lnTo>
                    <a:pt x="231" y="31"/>
                  </a:lnTo>
                  <a:lnTo>
                    <a:pt x="235" y="39"/>
                  </a:lnTo>
                  <a:lnTo>
                    <a:pt x="236" y="49"/>
                  </a:lnTo>
                  <a:lnTo>
                    <a:pt x="235" y="59"/>
                  </a:lnTo>
                  <a:lnTo>
                    <a:pt x="231" y="67"/>
                  </a:lnTo>
                  <a:lnTo>
                    <a:pt x="228" y="77"/>
                  </a:lnTo>
                  <a:lnTo>
                    <a:pt x="222" y="83"/>
                  </a:lnTo>
                  <a:lnTo>
                    <a:pt x="83" y="222"/>
                  </a:lnTo>
                  <a:lnTo>
                    <a:pt x="83" y="222"/>
                  </a:lnTo>
                  <a:lnTo>
                    <a:pt x="75" y="228"/>
                  </a:lnTo>
                  <a:lnTo>
                    <a:pt x="67" y="233"/>
                  </a:lnTo>
                  <a:lnTo>
                    <a:pt x="57" y="235"/>
                  </a:lnTo>
                  <a:lnTo>
                    <a:pt x="49" y="236"/>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1" name="Freeform 28">
              <a:extLst>
                <a:ext uri="{FF2B5EF4-FFF2-40B4-BE49-F238E27FC236}">
                  <a16:creationId xmlns:a16="http://schemas.microsoft.com/office/drawing/2014/main" id="{2285A825-0178-4565-82C8-9783B785D9BD}"/>
                </a:ext>
              </a:extLst>
            </p:cNvPr>
            <p:cNvSpPr>
              <a:spLocks/>
            </p:cNvSpPr>
            <p:nvPr/>
          </p:nvSpPr>
          <p:spPr bwMode="auto">
            <a:xfrm>
              <a:off x="9334056" y="1851379"/>
              <a:ext cx="251019" cy="251019"/>
            </a:xfrm>
            <a:custGeom>
              <a:avLst/>
              <a:gdLst>
                <a:gd name="T0" fmla="*/ 49 w 236"/>
                <a:gd name="T1" fmla="*/ 236 h 236"/>
                <a:gd name="T2" fmla="*/ 49 w 236"/>
                <a:gd name="T3" fmla="*/ 236 h 236"/>
                <a:gd name="T4" fmla="*/ 39 w 236"/>
                <a:gd name="T5" fmla="*/ 235 h 236"/>
                <a:gd name="T6" fmla="*/ 30 w 236"/>
                <a:gd name="T7" fmla="*/ 233 h 236"/>
                <a:gd name="T8" fmla="*/ 21 w 236"/>
                <a:gd name="T9" fmla="*/ 228 h 236"/>
                <a:gd name="T10" fmla="*/ 13 w 236"/>
                <a:gd name="T11" fmla="*/ 222 h 236"/>
                <a:gd name="T12" fmla="*/ 13 w 236"/>
                <a:gd name="T13" fmla="*/ 222 h 236"/>
                <a:gd name="T14" fmla="*/ 7 w 236"/>
                <a:gd name="T15" fmla="*/ 213 h 236"/>
                <a:gd name="T16" fmla="*/ 4 w 236"/>
                <a:gd name="T17" fmla="*/ 205 h 236"/>
                <a:gd name="T18" fmla="*/ 0 w 236"/>
                <a:gd name="T19" fmla="*/ 197 h 236"/>
                <a:gd name="T20" fmla="*/ 0 w 236"/>
                <a:gd name="T21" fmla="*/ 187 h 236"/>
                <a:gd name="T22" fmla="*/ 0 w 236"/>
                <a:gd name="T23" fmla="*/ 178 h 236"/>
                <a:gd name="T24" fmla="*/ 4 w 236"/>
                <a:gd name="T25" fmla="*/ 169 h 236"/>
                <a:gd name="T26" fmla="*/ 7 w 236"/>
                <a:gd name="T27" fmla="*/ 160 h 236"/>
                <a:gd name="T28" fmla="*/ 13 w 236"/>
                <a:gd name="T29" fmla="*/ 153 h 236"/>
                <a:gd name="T30" fmla="*/ 152 w 236"/>
                <a:gd name="T31" fmla="*/ 15 h 236"/>
                <a:gd name="T32" fmla="*/ 152 w 236"/>
                <a:gd name="T33" fmla="*/ 15 h 236"/>
                <a:gd name="T34" fmla="*/ 160 w 236"/>
                <a:gd name="T35" fmla="*/ 8 h 236"/>
                <a:gd name="T36" fmla="*/ 168 w 236"/>
                <a:gd name="T37" fmla="*/ 3 h 236"/>
                <a:gd name="T38" fmla="*/ 178 w 236"/>
                <a:gd name="T39" fmla="*/ 2 h 236"/>
                <a:gd name="T40" fmla="*/ 187 w 236"/>
                <a:gd name="T41" fmla="*/ 0 h 236"/>
                <a:gd name="T42" fmla="*/ 196 w 236"/>
                <a:gd name="T43" fmla="*/ 2 h 236"/>
                <a:gd name="T44" fmla="*/ 205 w 236"/>
                <a:gd name="T45" fmla="*/ 3 h 236"/>
                <a:gd name="T46" fmla="*/ 213 w 236"/>
                <a:gd name="T47" fmla="*/ 8 h 236"/>
                <a:gd name="T48" fmla="*/ 222 w 236"/>
                <a:gd name="T49" fmla="*/ 15 h 236"/>
                <a:gd name="T50" fmla="*/ 222 w 236"/>
                <a:gd name="T51" fmla="*/ 15 h 236"/>
                <a:gd name="T52" fmla="*/ 228 w 236"/>
                <a:gd name="T53" fmla="*/ 23 h 236"/>
                <a:gd name="T54" fmla="*/ 231 w 236"/>
                <a:gd name="T55" fmla="*/ 31 h 236"/>
                <a:gd name="T56" fmla="*/ 235 w 236"/>
                <a:gd name="T57" fmla="*/ 39 h 236"/>
                <a:gd name="T58" fmla="*/ 236 w 236"/>
                <a:gd name="T59" fmla="*/ 49 h 236"/>
                <a:gd name="T60" fmla="*/ 235 w 236"/>
                <a:gd name="T61" fmla="*/ 59 h 236"/>
                <a:gd name="T62" fmla="*/ 231 w 236"/>
                <a:gd name="T63" fmla="*/ 67 h 236"/>
                <a:gd name="T64" fmla="*/ 228 w 236"/>
                <a:gd name="T65" fmla="*/ 77 h 236"/>
                <a:gd name="T66" fmla="*/ 222 w 236"/>
                <a:gd name="T67" fmla="*/ 83 h 236"/>
                <a:gd name="T68" fmla="*/ 83 w 236"/>
                <a:gd name="T69" fmla="*/ 222 h 236"/>
                <a:gd name="T70" fmla="*/ 83 w 236"/>
                <a:gd name="T71" fmla="*/ 222 h 236"/>
                <a:gd name="T72" fmla="*/ 75 w 236"/>
                <a:gd name="T73" fmla="*/ 228 h 236"/>
                <a:gd name="T74" fmla="*/ 67 w 236"/>
                <a:gd name="T75" fmla="*/ 233 h 236"/>
                <a:gd name="T76" fmla="*/ 57 w 236"/>
                <a:gd name="T77" fmla="*/ 235 h 236"/>
                <a:gd name="T78" fmla="*/ 49 w 236"/>
                <a:gd name="T7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236">
                  <a:moveTo>
                    <a:pt x="49" y="236"/>
                  </a:moveTo>
                  <a:lnTo>
                    <a:pt x="49" y="236"/>
                  </a:lnTo>
                  <a:lnTo>
                    <a:pt x="39" y="235"/>
                  </a:lnTo>
                  <a:lnTo>
                    <a:pt x="30" y="233"/>
                  </a:lnTo>
                  <a:lnTo>
                    <a:pt x="21" y="228"/>
                  </a:lnTo>
                  <a:lnTo>
                    <a:pt x="13" y="222"/>
                  </a:lnTo>
                  <a:lnTo>
                    <a:pt x="13" y="222"/>
                  </a:lnTo>
                  <a:lnTo>
                    <a:pt x="7" y="213"/>
                  </a:lnTo>
                  <a:lnTo>
                    <a:pt x="4" y="205"/>
                  </a:lnTo>
                  <a:lnTo>
                    <a:pt x="0" y="197"/>
                  </a:lnTo>
                  <a:lnTo>
                    <a:pt x="0" y="187"/>
                  </a:lnTo>
                  <a:lnTo>
                    <a:pt x="0" y="178"/>
                  </a:lnTo>
                  <a:lnTo>
                    <a:pt x="4" y="169"/>
                  </a:lnTo>
                  <a:lnTo>
                    <a:pt x="7" y="160"/>
                  </a:lnTo>
                  <a:lnTo>
                    <a:pt x="13" y="153"/>
                  </a:lnTo>
                  <a:lnTo>
                    <a:pt x="152" y="15"/>
                  </a:lnTo>
                  <a:lnTo>
                    <a:pt x="152" y="15"/>
                  </a:lnTo>
                  <a:lnTo>
                    <a:pt x="160" y="8"/>
                  </a:lnTo>
                  <a:lnTo>
                    <a:pt x="168" y="3"/>
                  </a:lnTo>
                  <a:lnTo>
                    <a:pt x="178" y="2"/>
                  </a:lnTo>
                  <a:lnTo>
                    <a:pt x="187" y="0"/>
                  </a:lnTo>
                  <a:lnTo>
                    <a:pt x="196" y="2"/>
                  </a:lnTo>
                  <a:lnTo>
                    <a:pt x="205" y="3"/>
                  </a:lnTo>
                  <a:lnTo>
                    <a:pt x="213" y="8"/>
                  </a:lnTo>
                  <a:lnTo>
                    <a:pt x="222" y="15"/>
                  </a:lnTo>
                  <a:lnTo>
                    <a:pt x="222" y="15"/>
                  </a:lnTo>
                  <a:lnTo>
                    <a:pt x="228" y="23"/>
                  </a:lnTo>
                  <a:lnTo>
                    <a:pt x="231" y="31"/>
                  </a:lnTo>
                  <a:lnTo>
                    <a:pt x="235" y="39"/>
                  </a:lnTo>
                  <a:lnTo>
                    <a:pt x="236" y="49"/>
                  </a:lnTo>
                  <a:lnTo>
                    <a:pt x="235" y="59"/>
                  </a:lnTo>
                  <a:lnTo>
                    <a:pt x="231" y="67"/>
                  </a:lnTo>
                  <a:lnTo>
                    <a:pt x="228" y="77"/>
                  </a:lnTo>
                  <a:lnTo>
                    <a:pt x="222" y="83"/>
                  </a:lnTo>
                  <a:lnTo>
                    <a:pt x="83" y="222"/>
                  </a:lnTo>
                  <a:lnTo>
                    <a:pt x="83" y="222"/>
                  </a:lnTo>
                  <a:lnTo>
                    <a:pt x="75" y="228"/>
                  </a:lnTo>
                  <a:lnTo>
                    <a:pt x="67" y="233"/>
                  </a:lnTo>
                  <a:lnTo>
                    <a:pt x="57" y="235"/>
                  </a:lnTo>
                  <a:lnTo>
                    <a:pt x="49" y="2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2" name="Freeform 29">
              <a:extLst>
                <a:ext uri="{FF2B5EF4-FFF2-40B4-BE49-F238E27FC236}">
                  <a16:creationId xmlns:a16="http://schemas.microsoft.com/office/drawing/2014/main" id="{FAFC1C6E-7236-4157-913E-3F4F0023D766}"/>
                </a:ext>
              </a:extLst>
            </p:cNvPr>
            <p:cNvSpPr>
              <a:spLocks/>
            </p:cNvSpPr>
            <p:nvPr/>
          </p:nvSpPr>
          <p:spPr bwMode="auto">
            <a:xfrm>
              <a:off x="7891762" y="1919452"/>
              <a:ext cx="251019" cy="248891"/>
            </a:xfrm>
            <a:custGeom>
              <a:avLst/>
              <a:gdLst>
                <a:gd name="T0" fmla="*/ 188 w 236"/>
                <a:gd name="T1" fmla="*/ 234 h 234"/>
                <a:gd name="T2" fmla="*/ 188 w 236"/>
                <a:gd name="T3" fmla="*/ 234 h 234"/>
                <a:gd name="T4" fmla="*/ 178 w 236"/>
                <a:gd name="T5" fmla="*/ 234 h 234"/>
                <a:gd name="T6" fmla="*/ 170 w 236"/>
                <a:gd name="T7" fmla="*/ 231 h 234"/>
                <a:gd name="T8" fmla="*/ 160 w 236"/>
                <a:gd name="T9" fmla="*/ 226 h 234"/>
                <a:gd name="T10" fmla="*/ 153 w 236"/>
                <a:gd name="T11" fmla="*/ 219 h 234"/>
                <a:gd name="T12" fmla="*/ 15 w 236"/>
                <a:gd name="T13" fmla="*/ 83 h 234"/>
                <a:gd name="T14" fmla="*/ 15 w 236"/>
                <a:gd name="T15" fmla="*/ 83 h 234"/>
                <a:gd name="T16" fmla="*/ 9 w 236"/>
                <a:gd name="T17" fmla="*/ 75 h 234"/>
                <a:gd name="T18" fmla="*/ 4 w 236"/>
                <a:gd name="T19" fmla="*/ 66 h 234"/>
                <a:gd name="T20" fmla="*/ 2 w 236"/>
                <a:gd name="T21" fmla="*/ 57 h 234"/>
                <a:gd name="T22" fmla="*/ 0 w 236"/>
                <a:gd name="T23" fmla="*/ 48 h 234"/>
                <a:gd name="T24" fmla="*/ 2 w 236"/>
                <a:gd name="T25" fmla="*/ 39 h 234"/>
                <a:gd name="T26" fmla="*/ 4 w 236"/>
                <a:gd name="T27" fmla="*/ 29 h 234"/>
                <a:gd name="T28" fmla="*/ 9 w 236"/>
                <a:gd name="T29" fmla="*/ 21 h 234"/>
                <a:gd name="T30" fmla="*/ 15 w 236"/>
                <a:gd name="T31" fmla="*/ 14 h 234"/>
                <a:gd name="T32" fmla="*/ 15 w 236"/>
                <a:gd name="T33" fmla="*/ 14 h 234"/>
                <a:gd name="T34" fmla="*/ 23 w 236"/>
                <a:gd name="T35" fmla="*/ 8 h 234"/>
                <a:gd name="T36" fmla="*/ 31 w 236"/>
                <a:gd name="T37" fmla="*/ 3 h 234"/>
                <a:gd name="T38" fmla="*/ 39 w 236"/>
                <a:gd name="T39" fmla="*/ 0 h 234"/>
                <a:gd name="T40" fmla="*/ 49 w 236"/>
                <a:gd name="T41" fmla="*/ 0 h 234"/>
                <a:gd name="T42" fmla="*/ 59 w 236"/>
                <a:gd name="T43" fmla="*/ 0 h 234"/>
                <a:gd name="T44" fmla="*/ 67 w 236"/>
                <a:gd name="T45" fmla="*/ 3 h 234"/>
                <a:gd name="T46" fmla="*/ 77 w 236"/>
                <a:gd name="T47" fmla="*/ 8 h 234"/>
                <a:gd name="T48" fmla="*/ 83 w 236"/>
                <a:gd name="T49" fmla="*/ 13 h 234"/>
                <a:gd name="T50" fmla="*/ 222 w 236"/>
                <a:gd name="T51" fmla="*/ 151 h 234"/>
                <a:gd name="T52" fmla="*/ 222 w 236"/>
                <a:gd name="T53" fmla="*/ 151 h 234"/>
                <a:gd name="T54" fmla="*/ 228 w 236"/>
                <a:gd name="T55" fmla="*/ 159 h 234"/>
                <a:gd name="T56" fmla="*/ 233 w 236"/>
                <a:gd name="T57" fmla="*/ 167 h 234"/>
                <a:gd name="T58" fmla="*/ 235 w 236"/>
                <a:gd name="T59" fmla="*/ 175 h 234"/>
                <a:gd name="T60" fmla="*/ 236 w 236"/>
                <a:gd name="T61" fmla="*/ 185 h 234"/>
                <a:gd name="T62" fmla="*/ 235 w 236"/>
                <a:gd name="T63" fmla="*/ 195 h 234"/>
                <a:gd name="T64" fmla="*/ 233 w 236"/>
                <a:gd name="T65" fmla="*/ 203 h 234"/>
                <a:gd name="T66" fmla="*/ 228 w 236"/>
                <a:gd name="T67" fmla="*/ 213 h 234"/>
                <a:gd name="T68" fmla="*/ 222 w 236"/>
                <a:gd name="T69" fmla="*/ 219 h 234"/>
                <a:gd name="T70" fmla="*/ 222 w 236"/>
                <a:gd name="T71" fmla="*/ 219 h 234"/>
                <a:gd name="T72" fmla="*/ 214 w 236"/>
                <a:gd name="T73" fmla="*/ 226 h 234"/>
                <a:gd name="T74" fmla="*/ 205 w 236"/>
                <a:gd name="T75" fmla="*/ 231 h 234"/>
                <a:gd name="T76" fmla="*/ 197 w 236"/>
                <a:gd name="T77" fmla="*/ 234 h 234"/>
                <a:gd name="T78" fmla="*/ 188 w 236"/>
                <a:gd name="T7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234">
                  <a:moveTo>
                    <a:pt x="188" y="234"/>
                  </a:moveTo>
                  <a:lnTo>
                    <a:pt x="188" y="234"/>
                  </a:lnTo>
                  <a:lnTo>
                    <a:pt x="178" y="234"/>
                  </a:lnTo>
                  <a:lnTo>
                    <a:pt x="170" y="231"/>
                  </a:lnTo>
                  <a:lnTo>
                    <a:pt x="160" y="226"/>
                  </a:lnTo>
                  <a:lnTo>
                    <a:pt x="153" y="219"/>
                  </a:lnTo>
                  <a:lnTo>
                    <a:pt x="15" y="83"/>
                  </a:lnTo>
                  <a:lnTo>
                    <a:pt x="15" y="83"/>
                  </a:lnTo>
                  <a:lnTo>
                    <a:pt x="9" y="75"/>
                  </a:lnTo>
                  <a:lnTo>
                    <a:pt x="4" y="66"/>
                  </a:lnTo>
                  <a:lnTo>
                    <a:pt x="2" y="57"/>
                  </a:lnTo>
                  <a:lnTo>
                    <a:pt x="0" y="48"/>
                  </a:lnTo>
                  <a:lnTo>
                    <a:pt x="2" y="39"/>
                  </a:lnTo>
                  <a:lnTo>
                    <a:pt x="4" y="29"/>
                  </a:lnTo>
                  <a:lnTo>
                    <a:pt x="9" y="21"/>
                  </a:lnTo>
                  <a:lnTo>
                    <a:pt x="15" y="14"/>
                  </a:lnTo>
                  <a:lnTo>
                    <a:pt x="15" y="14"/>
                  </a:lnTo>
                  <a:lnTo>
                    <a:pt x="23" y="8"/>
                  </a:lnTo>
                  <a:lnTo>
                    <a:pt x="31" y="3"/>
                  </a:lnTo>
                  <a:lnTo>
                    <a:pt x="39" y="0"/>
                  </a:lnTo>
                  <a:lnTo>
                    <a:pt x="49" y="0"/>
                  </a:lnTo>
                  <a:lnTo>
                    <a:pt x="59" y="0"/>
                  </a:lnTo>
                  <a:lnTo>
                    <a:pt x="67" y="3"/>
                  </a:lnTo>
                  <a:lnTo>
                    <a:pt x="77" y="8"/>
                  </a:lnTo>
                  <a:lnTo>
                    <a:pt x="83" y="13"/>
                  </a:lnTo>
                  <a:lnTo>
                    <a:pt x="222" y="151"/>
                  </a:lnTo>
                  <a:lnTo>
                    <a:pt x="222" y="151"/>
                  </a:lnTo>
                  <a:lnTo>
                    <a:pt x="228" y="159"/>
                  </a:lnTo>
                  <a:lnTo>
                    <a:pt x="233" y="167"/>
                  </a:lnTo>
                  <a:lnTo>
                    <a:pt x="235" y="175"/>
                  </a:lnTo>
                  <a:lnTo>
                    <a:pt x="236" y="185"/>
                  </a:lnTo>
                  <a:lnTo>
                    <a:pt x="235" y="195"/>
                  </a:lnTo>
                  <a:lnTo>
                    <a:pt x="233" y="203"/>
                  </a:lnTo>
                  <a:lnTo>
                    <a:pt x="228" y="213"/>
                  </a:lnTo>
                  <a:lnTo>
                    <a:pt x="222" y="219"/>
                  </a:lnTo>
                  <a:lnTo>
                    <a:pt x="222" y="219"/>
                  </a:lnTo>
                  <a:lnTo>
                    <a:pt x="214" y="226"/>
                  </a:lnTo>
                  <a:lnTo>
                    <a:pt x="205" y="231"/>
                  </a:lnTo>
                  <a:lnTo>
                    <a:pt x="197" y="234"/>
                  </a:lnTo>
                  <a:lnTo>
                    <a:pt x="188" y="234"/>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3" name="Freeform 30">
              <a:extLst>
                <a:ext uri="{FF2B5EF4-FFF2-40B4-BE49-F238E27FC236}">
                  <a16:creationId xmlns:a16="http://schemas.microsoft.com/office/drawing/2014/main" id="{B9CCACA4-0882-4522-8C11-65699C30A4B9}"/>
                </a:ext>
              </a:extLst>
            </p:cNvPr>
            <p:cNvSpPr>
              <a:spLocks/>
            </p:cNvSpPr>
            <p:nvPr/>
          </p:nvSpPr>
          <p:spPr bwMode="auto">
            <a:xfrm>
              <a:off x="7891762" y="1919452"/>
              <a:ext cx="251019" cy="248891"/>
            </a:xfrm>
            <a:custGeom>
              <a:avLst/>
              <a:gdLst>
                <a:gd name="T0" fmla="*/ 188 w 236"/>
                <a:gd name="T1" fmla="*/ 234 h 234"/>
                <a:gd name="T2" fmla="*/ 188 w 236"/>
                <a:gd name="T3" fmla="*/ 234 h 234"/>
                <a:gd name="T4" fmla="*/ 178 w 236"/>
                <a:gd name="T5" fmla="*/ 234 h 234"/>
                <a:gd name="T6" fmla="*/ 170 w 236"/>
                <a:gd name="T7" fmla="*/ 231 h 234"/>
                <a:gd name="T8" fmla="*/ 160 w 236"/>
                <a:gd name="T9" fmla="*/ 226 h 234"/>
                <a:gd name="T10" fmla="*/ 153 w 236"/>
                <a:gd name="T11" fmla="*/ 219 h 234"/>
                <a:gd name="T12" fmla="*/ 15 w 236"/>
                <a:gd name="T13" fmla="*/ 83 h 234"/>
                <a:gd name="T14" fmla="*/ 15 w 236"/>
                <a:gd name="T15" fmla="*/ 83 h 234"/>
                <a:gd name="T16" fmla="*/ 9 w 236"/>
                <a:gd name="T17" fmla="*/ 75 h 234"/>
                <a:gd name="T18" fmla="*/ 4 w 236"/>
                <a:gd name="T19" fmla="*/ 66 h 234"/>
                <a:gd name="T20" fmla="*/ 2 w 236"/>
                <a:gd name="T21" fmla="*/ 57 h 234"/>
                <a:gd name="T22" fmla="*/ 0 w 236"/>
                <a:gd name="T23" fmla="*/ 48 h 234"/>
                <a:gd name="T24" fmla="*/ 2 w 236"/>
                <a:gd name="T25" fmla="*/ 39 h 234"/>
                <a:gd name="T26" fmla="*/ 4 w 236"/>
                <a:gd name="T27" fmla="*/ 29 h 234"/>
                <a:gd name="T28" fmla="*/ 9 w 236"/>
                <a:gd name="T29" fmla="*/ 21 h 234"/>
                <a:gd name="T30" fmla="*/ 15 w 236"/>
                <a:gd name="T31" fmla="*/ 14 h 234"/>
                <a:gd name="T32" fmla="*/ 15 w 236"/>
                <a:gd name="T33" fmla="*/ 14 h 234"/>
                <a:gd name="T34" fmla="*/ 23 w 236"/>
                <a:gd name="T35" fmla="*/ 8 h 234"/>
                <a:gd name="T36" fmla="*/ 31 w 236"/>
                <a:gd name="T37" fmla="*/ 3 h 234"/>
                <a:gd name="T38" fmla="*/ 39 w 236"/>
                <a:gd name="T39" fmla="*/ 0 h 234"/>
                <a:gd name="T40" fmla="*/ 49 w 236"/>
                <a:gd name="T41" fmla="*/ 0 h 234"/>
                <a:gd name="T42" fmla="*/ 59 w 236"/>
                <a:gd name="T43" fmla="*/ 0 h 234"/>
                <a:gd name="T44" fmla="*/ 67 w 236"/>
                <a:gd name="T45" fmla="*/ 3 h 234"/>
                <a:gd name="T46" fmla="*/ 77 w 236"/>
                <a:gd name="T47" fmla="*/ 8 h 234"/>
                <a:gd name="T48" fmla="*/ 83 w 236"/>
                <a:gd name="T49" fmla="*/ 13 h 234"/>
                <a:gd name="T50" fmla="*/ 222 w 236"/>
                <a:gd name="T51" fmla="*/ 151 h 234"/>
                <a:gd name="T52" fmla="*/ 222 w 236"/>
                <a:gd name="T53" fmla="*/ 151 h 234"/>
                <a:gd name="T54" fmla="*/ 228 w 236"/>
                <a:gd name="T55" fmla="*/ 159 h 234"/>
                <a:gd name="T56" fmla="*/ 233 w 236"/>
                <a:gd name="T57" fmla="*/ 167 h 234"/>
                <a:gd name="T58" fmla="*/ 235 w 236"/>
                <a:gd name="T59" fmla="*/ 175 h 234"/>
                <a:gd name="T60" fmla="*/ 236 w 236"/>
                <a:gd name="T61" fmla="*/ 185 h 234"/>
                <a:gd name="T62" fmla="*/ 235 w 236"/>
                <a:gd name="T63" fmla="*/ 195 h 234"/>
                <a:gd name="T64" fmla="*/ 233 w 236"/>
                <a:gd name="T65" fmla="*/ 203 h 234"/>
                <a:gd name="T66" fmla="*/ 228 w 236"/>
                <a:gd name="T67" fmla="*/ 213 h 234"/>
                <a:gd name="T68" fmla="*/ 222 w 236"/>
                <a:gd name="T69" fmla="*/ 219 h 234"/>
                <a:gd name="T70" fmla="*/ 222 w 236"/>
                <a:gd name="T71" fmla="*/ 219 h 234"/>
                <a:gd name="T72" fmla="*/ 214 w 236"/>
                <a:gd name="T73" fmla="*/ 226 h 234"/>
                <a:gd name="T74" fmla="*/ 205 w 236"/>
                <a:gd name="T75" fmla="*/ 231 h 234"/>
                <a:gd name="T76" fmla="*/ 197 w 236"/>
                <a:gd name="T77" fmla="*/ 234 h 234"/>
                <a:gd name="T78" fmla="*/ 188 w 236"/>
                <a:gd name="T7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234">
                  <a:moveTo>
                    <a:pt x="188" y="234"/>
                  </a:moveTo>
                  <a:lnTo>
                    <a:pt x="188" y="234"/>
                  </a:lnTo>
                  <a:lnTo>
                    <a:pt x="178" y="234"/>
                  </a:lnTo>
                  <a:lnTo>
                    <a:pt x="170" y="231"/>
                  </a:lnTo>
                  <a:lnTo>
                    <a:pt x="160" y="226"/>
                  </a:lnTo>
                  <a:lnTo>
                    <a:pt x="153" y="219"/>
                  </a:lnTo>
                  <a:lnTo>
                    <a:pt x="15" y="83"/>
                  </a:lnTo>
                  <a:lnTo>
                    <a:pt x="15" y="83"/>
                  </a:lnTo>
                  <a:lnTo>
                    <a:pt x="9" y="75"/>
                  </a:lnTo>
                  <a:lnTo>
                    <a:pt x="4" y="66"/>
                  </a:lnTo>
                  <a:lnTo>
                    <a:pt x="2" y="57"/>
                  </a:lnTo>
                  <a:lnTo>
                    <a:pt x="0" y="48"/>
                  </a:lnTo>
                  <a:lnTo>
                    <a:pt x="2" y="39"/>
                  </a:lnTo>
                  <a:lnTo>
                    <a:pt x="4" y="29"/>
                  </a:lnTo>
                  <a:lnTo>
                    <a:pt x="9" y="21"/>
                  </a:lnTo>
                  <a:lnTo>
                    <a:pt x="15" y="14"/>
                  </a:lnTo>
                  <a:lnTo>
                    <a:pt x="15" y="14"/>
                  </a:lnTo>
                  <a:lnTo>
                    <a:pt x="23" y="8"/>
                  </a:lnTo>
                  <a:lnTo>
                    <a:pt x="31" y="3"/>
                  </a:lnTo>
                  <a:lnTo>
                    <a:pt x="39" y="0"/>
                  </a:lnTo>
                  <a:lnTo>
                    <a:pt x="49" y="0"/>
                  </a:lnTo>
                  <a:lnTo>
                    <a:pt x="59" y="0"/>
                  </a:lnTo>
                  <a:lnTo>
                    <a:pt x="67" y="3"/>
                  </a:lnTo>
                  <a:lnTo>
                    <a:pt x="77" y="8"/>
                  </a:lnTo>
                  <a:lnTo>
                    <a:pt x="83" y="13"/>
                  </a:lnTo>
                  <a:lnTo>
                    <a:pt x="222" y="151"/>
                  </a:lnTo>
                  <a:lnTo>
                    <a:pt x="222" y="151"/>
                  </a:lnTo>
                  <a:lnTo>
                    <a:pt x="228" y="159"/>
                  </a:lnTo>
                  <a:lnTo>
                    <a:pt x="233" y="167"/>
                  </a:lnTo>
                  <a:lnTo>
                    <a:pt x="235" y="175"/>
                  </a:lnTo>
                  <a:lnTo>
                    <a:pt x="236" y="185"/>
                  </a:lnTo>
                  <a:lnTo>
                    <a:pt x="235" y="195"/>
                  </a:lnTo>
                  <a:lnTo>
                    <a:pt x="233" y="203"/>
                  </a:lnTo>
                  <a:lnTo>
                    <a:pt x="228" y="213"/>
                  </a:lnTo>
                  <a:lnTo>
                    <a:pt x="222" y="219"/>
                  </a:lnTo>
                  <a:lnTo>
                    <a:pt x="222" y="219"/>
                  </a:lnTo>
                  <a:lnTo>
                    <a:pt x="214" y="226"/>
                  </a:lnTo>
                  <a:lnTo>
                    <a:pt x="205" y="231"/>
                  </a:lnTo>
                  <a:lnTo>
                    <a:pt x="197" y="234"/>
                  </a:lnTo>
                  <a:lnTo>
                    <a:pt x="188" y="2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4" name="Freeform 32">
              <a:extLst>
                <a:ext uri="{FF2B5EF4-FFF2-40B4-BE49-F238E27FC236}">
                  <a16:creationId xmlns:a16="http://schemas.microsoft.com/office/drawing/2014/main" id="{F8F225E6-4D1A-47D8-B06B-B33B72201360}"/>
                </a:ext>
              </a:extLst>
            </p:cNvPr>
            <p:cNvSpPr>
              <a:spLocks/>
            </p:cNvSpPr>
            <p:nvPr/>
          </p:nvSpPr>
          <p:spPr bwMode="auto">
            <a:xfrm>
              <a:off x="5384766" y="3250063"/>
              <a:ext cx="2158123" cy="1819886"/>
            </a:xfrm>
            <a:custGeom>
              <a:avLst/>
              <a:gdLst>
                <a:gd name="T0" fmla="*/ 1200 w 2029"/>
                <a:gd name="T1" fmla="*/ 1709 h 1711"/>
                <a:gd name="T2" fmla="*/ 1122 w 2029"/>
                <a:gd name="T3" fmla="*/ 1692 h 1711"/>
                <a:gd name="T4" fmla="*/ 995 w 2029"/>
                <a:gd name="T5" fmla="*/ 1620 h 1711"/>
                <a:gd name="T6" fmla="*/ 922 w 2029"/>
                <a:gd name="T7" fmla="*/ 1535 h 1711"/>
                <a:gd name="T8" fmla="*/ 873 w 2029"/>
                <a:gd name="T9" fmla="*/ 1426 h 1711"/>
                <a:gd name="T10" fmla="*/ 862 w 2029"/>
                <a:gd name="T11" fmla="*/ 1307 h 1711"/>
                <a:gd name="T12" fmla="*/ 792 w 2029"/>
                <a:gd name="T13" fmla="*/ 1320 h 1711"/>
                <a:gd name="T14" fmla="*/ 697 w 2029"/>
                <a:gd name="T15" fmla="*/ 1319 h 1711"/>
                <a:gd name="T16" fmla="*/ 635 w 2029"/>
                <a:gd name="T17" fmla="*/ 1304 h 1711"/>
                <a:gd name="T18" fmla="*/ 505 w 2029"/>
                <a:gd name="T19" fmla="*/ 1229 h 1711"/>
                <a:gd name="T20" fmla="*/ 432 w 2029"/>
                <a:gd name="T21" fmla="*/ 1141 h 1711"/>
                <a:gd name="T22" fmla="*/ 298 w 2029"/>
                <a:gd name="T23" fmla="*/ 1137 h 1711"/>
                <a:gd name="T24" fmla="*/ 194 w 2029"/>
                <a:gd name="T25" fmla="*/ 1097 h 1711"/>
                <a:gd name="T26" fmla="*/ 82 w 2029"/>
                <a:gd name="T27" fmla="*/ 1001 h 1711"/>
                <a:gd name="T28" fmla="*/ 27 w 2029"/>
                <a:gd name="T29" fmla="*/ 904 h 1711"/>
                <a:gd name="T30" fmla="*/ 0 w 2029"/>
                <a:gd name="T31" fmla="*/ 759 h 1711"/>
                <a:gd name="T32" fmla="*/ 17 w 2029"/>
                <a:gd name="T33" fmla="*/ 660 h 1711"/>
                <a:gd name="T34" fmla="*/ 57 w 2029"/>
                <a:gd name="T35" fmla="*/ 567 h 1711"/>
                <a:gd name="T36" fmla="*/ 121 w 2029"/>
                <a:gd name="T37" fmla="*/ 489 h 1711"/>
                <a:gd name="T38" fmla="*/ 202 w 2029"/>
                <a:gd name="T39" fmla="*/ 432 h 1711"/>
                <a:gd name="T40" fmla="*/ 274 w 2029"/>
                <a:gd name="T41" fmla="*/ 402 h 1711"/>
                <a:gd name="T42" fmla="*/ 289 w 2029"/>
                <a:gd name="T43" fmla="*/ 326 h 1711"/>
                <a:gd name="T44" fmla="*/ 347 w 2029"/>
                <a:gd name="T45" fmla="*/ 212 h 1711"/>
                <a:gd name="T46" fmla="*/ 438 w 2029"/>
                <a:gd name="T47" fmla="*/ 124 h 1711"/>
                <a:gd name="T48" fmla="*/ 554 w 2029"/>
                <a:gd name="T49" fmla="*/ 72 h 1711"/>
                <a:gd name="T50" fmla="*/ 650 w 2029"/>
                <a:gd name="T51" fmla="*/ 59 h 1711"/>
                <a:gd name="T52" fmla="*/ 731 w 2029"/>
                <a:gd name="T53" fmla="*/ 69 h 1711"/>
                <a:gd name="T54" fmla="*/ 785 w 2029"/>
                <a:gd name="T55" fmla="*/ 59 h 1711"/>
                <a:gd name="T56" fmla="*/ 896 w 2029"/>
                <a:gd name="T57" fmla="*/ 12 h 1711"/>
                <a:gd name="T58" fmla="*/ 985 w 2029"/>
                <a:gd name="T59" fmla="*/ 0 h 1711"/>
                <a:gd name="T60" fmla="*/ 1067 w 2029"/>
                <a:gd name="T61" fmla="*/ 10 h 1711"/>
                <a:gd name="T62" fmla="*/ 1148 w 2029"/>
                <a:gd name="T63" fmla="*/ 36 h 1711"/>
                <a:gd name="T64" fmla="*/ 1241 w 2029"/>
                <a:gd name="T65" fmla="*/ 100 h 1711"/>
                <a:gd name="T66" fmla="*/ 1314 w 2029"/>
                <a:gd name="T67" fmla="*/ 103 h 1711"/>
                <a:gd name="T68" fmla="*/ 1426 w 2029"/>
                <a:gd name="T69" fmla="*/ 93 h 1711"/>
                <a:gd name="T70" fmla="*/ 1514 w 2029"/>
                <a:gd name="T71" fmla="*/ 109 h 1711"/>
                <a:gd name="T72" fmla="*/ 1623 w 2029"/>
                <a:gd name="T73" fmla="*/ 165 h 1711"/>
                <a:gd name="T74" fmla="*/ 1708 w 2029"/>
                <a:gd name="T75" fmla="*/ 249 h 1711"/>
                <a:gd name="T76" fmla="*/ 1763 w 2029"/>
                <a:gd name="T77" fmla="*/ 357 h 1711"/>
                <a:gd name="T78" fmla="*/ 1780 w 2029"/>
                <a:gd name="T79" fmla="*/ 448 h 1711"/>
                <a:gd name="T80" fmla="*/ 1897 w 2029"/>
                <a:gd name="T81" fmla="*/ 516 h 1711"/>
                <a:gd name="T82" fmla="*/ 1981 w 2029"/>
                <a:gd name="T83" fmla="*/ 621 h 1711"/>
                <a:gd name="T84" fmla="*/ 2024 w 2029"/>
                <a:gd name="T85" fmla="*/ 746 h 1711"/>
                <a:gd name="T86" fmla="*/ 2019 w 2029"/>
                <a:gd name="T87" fmla="*/ 884 h 1711"/>
                <a:gd name="T88" fmla="*/ 1998 w 2029"/>
                <a:gd name="T89" fmla="*/ 951 h 1711"/>
                <a:gd name="T90" fmla="*/ 1952 w 2029"/>
                <a:gd name="T91" fmla="*/ 1031 h 1711"/>
                <a:gd name="T92" fmla="*/ 1967 w 2029"/>
                <a:gd name="T93" fmla="*/ 1112 h 1711"/>
                <a:gd name="T94" fmla="*/ 1990 w 2029"/>
                <a:gd name="T95" fmla="*/ 1250 h 1711"/>
                <a:gd name="T96" fmla="*/ 1972 w 2029"/>
                <a:gd name="T97" fmla="*/ 1353 h 1711"/>
                <a:gd name="T98" fmla="*/ 1913 w 2029"/>
                <a:gd name="T99" fmla="*/ 1467 h 1711"/>
                <a:gd name="T100" fmla="*/ 1822 w 2029"/>
                <a:gd name="T101" fmla="*/ 1553 h 1711"/>
                <a:gd name="T102" fmla="*/ 1708 w 2029"/>
                <a:gd name="T103" fmla="*/ 1605 h 1711"/>
                <a:gd name="T104" fmla="*/ 1610 w 2029"/>
                <a:gd name="T105" fmla="*/ 1618 h 1711"/>
                <a:gd name="T106" fmla="*/ 1550 w 2029"/>
                <a:gd name="T107" fmla="*/ 1613 h 1711"/>
                <a:gd name="T108" fmla="*/ 1504 w 2029"/>
                <a:gd name="T109" fmla="*/ 1604 h 1711"/>
                <a:gd name="T110" fmla="*/ 1384 w 2029"/>
                <a:gd name="T111" fmla="*/ 1683 h 1711"/>
                <a:gd name="T112" fmla="*/ 1241 w 2029"/>
                <a:gd name="T113" fmla="*/ 1711 h 1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9" h="1711">
                  <a:moveTo>
                    <a:pt x="1241" y="1711"/>
                  </a:moveTo>
                  <a:lnTo>
                    <a:pt x="1241" y="1711"/>
                  </a:lnTo>
                  <a:lnTo>
                    <a:pt x="1220" y="1711"/>
                  </a:lnTo>
                  <a:lnTo>
                    <a:pt x="1200" y="1709"/>
                  </a:lnTo>
                  <a:lnTo>
                    <a:pt x="1179" y="1706"/>
                  </a:lnTo>
                  <a:lnTo>
                    <a:pt x="1159" y="1701"/>
                  </a:lnTo>
                  <a:lnTo>
                    <a:pt x="1159" y="1701"/>
                  </a:lnTo>
                  <a:lnTo>
                    <a:pt x="1122" y="1692"/>
                  </a:lnTo>
                  <a:lnTo>
                    <a:pt x="1088" y="1679"/>
                  </a:lnTo>
                  <a:lnTo>
                    <a:pt x="1055" y="1662"/>
                  </a:lnTo>
                  <a:lnTo>
                    <a:pt x="1023" y="1643"/>
                  </a:lnTo>
                  <a:lnTo>
                    <a:pt x="995" y="1620"/>
                  </a:lnTo>
                  <a:lnTo>
                    <a:pt x="967" y="1596"/>
                  </a:lnTo>
                  <a:lnTo>
                    <a:pt x="943" y="1566"/>
                  </a:lnTo>
                  <a:lnTo>
                    <a:pt x="922" y="1535"/>
                  </a:lnTo>
                  <a:lnTo>
                    <a:pt x="922" y="1535"/>
                  </a:lnTo>
                  <a:lnTo>
                    <a:pt x="905" y="1509"/>
                  </a:lnTo>
                  <a:lnTo>
                    <a:pt x="892" y="1483"/>
                  </a:lnTo>
                  <a:lnTo>
                    <a:pt x="881" y="1454"/>
                  </a:lnTo>
                  <a:lnTo>
                    <a:pt x="873" y="1426"/>
                  </a:lnTo>
                  <a:lnTo>
                    <a:pt x="866" y="1397"/>
                  </a:lnTo>
                  <a:lnTo>
                    <a:pt x="863" y="1368"/>
                  </a:lnTo>
                  <a:lnTo>
                    <a:pt x="862" y="1337"/>
                  </a:lnTo>
                  <a:lnTo>
                    <a:pt x="862" y="1307"/>
                  </a:lnTo>
                  <a:lnTo>
                    <a:pt x="862" y="1307"/>
                  </a:lnTo>
                  <a:lnTo>
                    <a:pt x="839" y="1314"/>
                  </a:lnTo>
                  <a:lnTo>
                    <a:pt x="816" y="1317"/>
                  </a:lnTo>
                  <a:lnTo>
                    <a:pt x="792" y="1320"/>
                  </a:lnTo>
                  <a:lnTo>
                    <a:pt x="769" y="1322"/>
                  </a:lnTo>
                  <a:lnTo>
                    <a:pt x="744" y="1322"/>
                  </a:lnTo>
                  <a:lnTo>
                    <a:pt x="720" y="1322"/>
                  </a:lnTo>
                  <a:lnTo>
                    <a:pt x="697" y="1319"/>
                  </a:lnTo>
                  <a:lnTo>
                    <a:pt x="673" y="1314"/>
                  </a:lnTo>
                  <a:lnTo>
                    <a:pt x="673" y="1314"/>
                  </a:lnTo>
                  <a:lnTo>
                    <a:pt x="653" y="1309"/>
                  </a:lnTo>
                  <a:lnTo>
                    <a:pt x="635" y="1304"/>
                  </a:lnTo>
                  <a:lnTo>
                    <a:pt x="599" y="1290"/>
                  </a:lnTo>
                  <a:lnTo>
                    <a:pt x="565" y="1273"/>
                  </a:lnTo>
                  <a:lnTo>
                    <a:pt x="534" y="1252"/>
                  </a:lnTo>
                  <a:lnTo>
                    <a:pt x="505" y="1229"/>
                  </a:lnTo>
                  <a:lnTo>
                    <a:pt x="477" y="1203"/>
                  </a:lnTo>
                  <a:lnTo>
                    <a:pt x="453" y="1174"/>
                  </a:lnTo>
                  <a:lnTo>
                    <a:pt x="432" y="1141"/>
                  </a:lnTo>
                  <a:lnTo>
                    <a:pt x="432" y="1141"/>
                  </a:lnTo>
                  <a:lnTo>
                    <a:pt x="398" y="1145"/>
                  </a:lnTo>
                  <a:lnTo>
                    <a:pt x="365" y="1145"/>
                  </a:lnTo>
                  <a:lnTo>
                    <a:pt x="331" y="1141"/>
                  </a:lnTo>
                  <a:lnTo>
                    <a:pt x="298" y="1137"/>
                  </a:lnTo>
                  <a:lnTo>
                    <a:pt x="298" y="1137"/>
                  </a:lnTo>
                  <a:lnTo>
                    <a:pt x="261" y="1127"/>
                  </a:lnTo>
                  <a:lnTo>
                    <a:pt x="227" y="1114"/>
                  </a:lnTo>
                  <a:lnTo>
                    <a:pt x="194" y="1097"/>
                  </a:lnTo>
                  <a:lnTo>
                    <a:pt x="163" y="1078"/>
                  </a:lnTo>
                  <a:lnTo>
                    <a:pt x="134" y="1055"/>
                  </a:lnTo>
                  <a:lnTo>
                    <a:pt x="106" y="1029"/>
                  </a:lnTo>
                  <a:lnTo>
                    <a:pt x="82" y="1001"/>
                  </a:lnTo>
                  <a:lnTo>
                    <a:pt x="61" y="971"/>
                  </a:lnTo>
                  <a:lnTo>
                    <a:pt x="61" y="971"/>
                  </a:lnTo>
                  <a:lnTo>
                    <a:pt x="41" y="938"/>
                  </a:lnTo>
                  <a:lnTo>
                    <a:pt x="27" y="904"/>
                  </a:lnTo>
                  <a:lnTo>
                    <a:pt x="15" y="868"/>
                  </a:lnTo>
                  <a:lnTo>
                    <a:pt x="7" y="832"/>
                  </a:lnTo>
                  <a:lnTo>
                    <a:pt x="2" y="796"/>
                  </a:lnTo>
                  <a:lnTo>
                    <a:pt x="0" y="759"/>
                  </a:lnTo>
                  <a:lnTo>
                    <a:pt x="4" y="721"/>
                  </a:lnTo>
                  <a:lnTo>
                    <a:pt x="10" y="686"/>
                  </a:lnTo>
                  <a:lnTo>
                    <a:pt x="10" y="686"/>
                  </a:lnTo>
                  <a:lnTo>
                    <a:pt x="17" y="660"/>
                  </a:lnTo>
                  <a:lnTo>
                    <a:pt x="23" y="635"/>
                  </a:lnTo>
                  <a:lnTo>
                    <a:pt x="33" y="611"/>
                  </a:lnTo>
                  <a:lnTo>
                    <a:pt x="44" y="588"/>
                  </a:lnTo>
                  <a:lnTo>
                    <a:pt x="57" y="567"/>
                  </a:lnTo>
                  <a:lnTo>
                    <a:pt x="72" y="546"/>
                  </a:lnTo>
                  <a:lnTo>
                    <a:pt x="87" y="526"/>
                  </a:lnTo>
                  <a:lnTo>
                    <a:pt x="103" y="507"/>
                  </a:lnTo>
                  <a:lnTo>
                    <a:pt x="121" y="489"/>
                  </a:lnTo>
                  <a:lnTo>
                    <a:pt x="140" y="472"/>
                  </a:lnTo>
                  <a:lnTo>
                    <a:pt x="160" y="458"/>
                  </a:lnTo>
                  <a:lnTo>
                    <a:pt x="181" y="443"/>
                  </a:lnTo>
                  <a:lnTo>
                    <a:pt x="202" y="432"/>
                  </a:lnTo>
                  <a:lnTo>
                    <a:pt x="225" y="420"/>
                  </a:lnTo>
                  <a:lnTo>
                    <a:pt x="250" y="411"/>
                  </a:lnTo>
                  <a:lnTo>
                    <a:pt x="274" y="402"/>
                  </a:lnTo>
                  <a:lnTo>
                    <a:pt x="274" y="402"/>
                  </a:lnTo>
                  <a:lnTo>
                    <a:pt x="276" y="380"/>
                  </a:lnTo>
                  <a:lnTo>
                    <a:pt x="280" y="357"/>
                  </a:lnTo>
                  <a:lnTo>
                    <a:pt x="280" y="357"/>
                  </a:lnTo>
                  <a:lnTo>
                    <a:pt x="289" y="326"/>
                  </a:lnTo>
                  <a:lnTo>
                    <a:pt x="300" y="295"/>
                  </a:lnTo>
                  <a:lnTo>
                    <a:pt x="313" y="266"/>
                  </a:lnTo>
                  <a:lnTo>
                    <a:pt x="329" y="238"/>
                  </a:lnTo>
                  <a:lnTo>
                    <a:pt x="347" y="212"/>
                  </a:lnTo>
                  <a:lnTo>
                    <a:pt x="368" y="188"/>
                  </a:lnTo>
                  <a:lnTo>
                    <a:pt x="390" y="165"/>
                  </a:lnTo>
                  <a:lnTo>
                    <a:pt x="414" y="144"/>
                  </a:lnTo>
                  <a:lnTo>
                    <a:pt x="438" y="124"/>
                  </a:lnTo>
                  <a:lnTo>
                    <a:pt x="466" y="108"/>
                  </a:lnTo>
                  <a:lnTo>
                    <a:pt x="494" y="93"/>
                  </a:lnTo>
                  <a:lnTo>
                    <a:pt x="523" y="82"/>
                  </a:lnTo>
                  <a:lnTo>
                    <a:pt x="554" y="72"/>
                  </a:lnTo>
                  <a:lnTo>
                    <a:pt x="585" y="65"/>
                  </a:lnTo>
                  <a:lnTo>
                    <a:pt x="617" y="61"/>
                  </a:lnTo>
                  <a:lnTo>
                    <a:pt x="650" y="59"/>
                  </a:lnTo>
                  <a:lnTo>
                    <a:pt x="650" y="59"/>
                  </a:lnTo>
                  <a:lnTo>
                    <a:pt x="671" y="61"/>
                  </a:lnTo>
                  <a:lnTo>
                    <a:pt x="691" y="62"/>
                  </a:lnTo>
                  <a:lnTo>
                    <a:pt x="712" y="64"/>
                  </a:lnTo>
                  <a:lnTo>
                    <a:pt x="731" y="69"/>
                  </a:lnTo>
                  <a:lnTo>
                    <a:pt x="731" y="69"/>
                  </a:lnTo>
                  <a:lnTo>
                    <a:pt x="759" y="75"/>
                  </a:lnTo>
                  <a:lnTo>
                    <a:pt x="759" y="75"/>
                  </a:lnTo>
                  <a:lnTo>
                    <a:pt x="785" y="59"/>
                  </a:lnTo>
                  <a:lnTo>
                    <a:pt x="811" y="43"/>
                  </a:lnTo>
                  <a:lnTo>
                    <a:pt x="839" y="31"/>
                  </a:lnTo>
                  <a:lnTo>
                    <a:pt x="866" y="20"/>
                  </a:lnTo>
                  <a:lnTo>
                    <a:pt x="896" y="12"/>
                  </a:lnTo>
                  <a:lnTo>
                    <a:pt x="925" y="5"/>
                  </a:lnTo>
                  <a:lnTo>
                    <a:pt x="954" y="2"/>
                  </a:lnTo>
                  <a:lnTo>
                    <a:pt x="985" y="0"/>
                  </a:lnTo>
                  <a:lnTo>
                    <a:pt x="985" y="0"/>
                  </a:lnTo>
                  <a:lnTo>
                    <a:pt x="1006" y="0"/>
                  </a:lnTo>
                  <a:lnTo>
                    <a:pt x="1026" y="4"/>
                  </a:lnTo>
                  <a:lnTo>
                    <a:pt x="1047" y="5"/>
                  </a:lnTo>
                  <a:lnTo>
                    <a:pt x="1067" y="10"/>
                  </a:lnTo>
                  <a:lnTo>
                    <a:pt x="1067" y="10"/>
                  </a:lnTo>
                  <a:lnTo>
                    <a:pt x="1094" y="17"/>
                  </a:lnTo>
                  <a:lnTo>
                    <a:pt x="1122" y="26"/>
                  </a:lnTo>
                  <a:lnTo>
                    <a:pt x="1148" y="36"/>
                  </a:lnTo>
                  <a:lnTo>
                    <a:pt x="1172" y="49"/>
                  </a:lnTo>
                  <a:lnTo>
                    <a:pt x="1197" y="65"/>
                  </a:lnTo>
                  <a:lnTo>
                    <a:pt x="1220" y="82"/>
                  </a:lnTo>
                  <a:lnTo>
                    <a:pt x="1241" y="100"/>
                  </a:lnTo>
                  <a:lnTo>
                    <a:pt x="1260" y="119"/>
                  </a:lnTo>
                  <a:lnTo>
                    <a:pt x="1260" y="119"/>
                  </a:lnTo>
                  <a:lnTo>
                    <a:pt x="1288" y="109"/>
                  </a:lnTo>
                  <a:lnTo>
                    <a:pt x="1314" y="103"/>
                  </a:lnTo>
                  <a:lnTo>
                    <a:pt x="1342" y="96"/>
                  </a:lnTo>
                  <a:lnTo>
                    <a:pt x="1371" y="93"/>
                  </a:lnTo>
                  <a:lnTo>
                    <a:pt x="1399" y="92"/>
                  </a:lnTo>
                  <a:lnTo>
                    <a:pt x="1426" y="93"/>
                  </a:lnTo>
                  <a:lnTo>
                    <a:pt x="1456" y="96"/>
                  </a:lnTo>
                  <a:lnTo>
                    <a:pt x="1483" y="101"/>
                  </a:lnTo>
                  <a:lnTo>
                    <a:pt x="1483" y="101"/>
                  </a:lnTo>
                  <a:lnTo>
                    <a:pt x="1514" y="109"/>
                  </a:lnTo>
                  <a:lnTo>
                    <a:pt x="1544" y="119"/>
                  </a:lnTo>
                  <a:lnTo>
                    <a:pt x="1571" y="132"/>
                  </a:lnTo>
                  <a:lnTo>
                    <a:pt x="1599" y="147"/>
                  </a:lnTo>
                  <a:lnTo>
                    <a:pt x="1623" y="165"/>
                  </a:lnTo>
                  <a:lnTo>
                    <a:pt x="1648" y="183"/>
                  </a:lnTo>
                  <a:lnTo>
                    <a:pt x="1669" y="204"/>
                  </a:lnTo>
                  <a:lnTo>
                    <a:pt x="1690" y="225"/>
                  </a:lnTo>
                  <a:lnTo>
                    <a:pt x="1708" y="249"/>
                  </a:lnTo>
                  <a:lnTo>
                    <a:pt x="1726" y="274"/>
                  </a:lnTo>
                  <a:lnTo>
                    <a:pt x="1740" y="300"/>
                  </a:lnTo>
                  <a:lnTo>
                    <a:pt x="1752" y="328"/>
                  </a:lnTo>
                  <a:lnTo>
                    <a:pt x="1763" y="357"/>
                  </a:lnTo>
                  <a:lnTo>
                    <a:pt x="1771" y="386"/>
                  </a:lnTo>
                  <a:lnTo>
                    <a:pt x="1776" y="417"/>
                  </a:lnTo>
                  <a:lnTo>
                    <a:pt x="1780" y="448"/>
                  </a:lnTo>
                  <a:lnTo>
                    <a:pt x="1780" y="448"/>
                  </a:lnTo>
                  <a:lnTo>
                    <a:pt x="1812" y="461"/>
                  </a:lnTo>
                  <a:lnTo>
                    <a:pt x="1843" y="477"/>
                  </a:lnTo>
                  <a:lnTo>
                    <a:pt x="1871" y="495"/>
                  </a:lnTo>
                  <a:lnTo>
                    <a:pt x="1897" y="516"/>
                  </a:lnTo>
                  <a:lnTo>
                    <a:pt x="1921" y="539"/>
                  </a:lnTo>
                  <a:lnTo>
                    <a:pt x="1944" y="565"/>
                  </a:lnTo>
                  <a:lnTo>
                    <a:pt x="1963" y="591"/>
                  </a:lnTo>
                  <a:lnTo>
                    <a:pt x="1981" y="621"/>
                  </a:lnTo>
                  <a:lnTo>
                    <a:pt x="1996" y="650"/>
                  </a:lnTo>
                  <a:lnTo>
                    <a:pt x="2009" y="681"/>
                  </a:lnTo>
                  <a:lnTo>
                    <a:pt x="2017" y="713"/>
                  </a:lnTo>
                  <a:lnTo>
                    <a:pt x="2024" y="746"/>
                  </a:lnTo>
                  <a:lnTo>
                    <a:pt x="2027" y="780"/>
                  </a:lnTo>
                  <a:lnTo>
                    <a:pt x="2029" y="814"/>
                  </a:lnTo>
                  <a:lnTo>
                    <a:pt x="2025" y="850"/>
                  </a:lnTo>
                  <a:lnTo>
                    <a:pt x="2019" y="884"/>
                  </a:lnTo>
                  <a:lnTo>
                    <a:pt x="2019" y="884"/>
                  </a:lnTo>
                  <a:lnTo>
                    <a:pt x="2014" y="907"/>
                  </a:lnTo>
                  <a:lnTo>
                    <a:pt x="2006" y="930"/>
                  </a:lnTo>
                  <a:lnTo>
                    <a:pt x="1998" y="951"/>
                  </a:lnTo>
                  <a:lnTo>
                    <a:pt x="1988" y="972"/>
                  </a:lnTo>
                  <a:lnTo>
                    <a:pt x="1978" y="992"/>
                  </a:lnTo>
                  <a:lnTo>
                    <a:pt x="1965" y="1011"/>
                  </a:lnTo>
                  <a:lnTo>
                    <a:pt x="1952" y="1031"/>
                  </a:lnTo>
                  <a:lnTo>
                    <a:pt x="1937" y="1049"/>
                  </a:lnTo>
                  <a:lnTo>
                    <a:pt x="1937" y="1049"/>
                  </a:lnTo>
                  <a:lnTo>
                    <a:pt x="1954" y="1080"/>
                  </a:lnTo>
                  <a:lnTo>
                    <a:pt x="1967" y="1112"/>
                  </a:lnTo>
                  <a:lnTo>
                    <a:pt x="1978" y="1146"/>
                  </a:lnTo>
                  <a:lnTo>
                    <a:pt x="1985" y="1180"/>
                  </a:lnTo>
                  <a:lnTo>
                    <a:pt x="1988" y="1216"/>
                  </a:lnTo>
                  <a:lnTo>
                    <a:pt x="1990" y="1250"/>
                  </a:lnTo>
                  <a:lnTo>
                    <a:pt x="1986" y="1286"/>
                  </a:lnTo>
                  <a:lnTo>
                    <a:pt x="1981" y="1320"/>
                  </a:lnTo>
                  <a:lnTo>
                    <a:pt x="1981" y="1320"/>
                  </a:lnTo>
                  <a:lnTo>
                    <a:pt x="1972" y="1353"/>
                  </a:lnTo>
                  <a:lnTo>
                    <a:pt x="1960" y="1384"/>
                  </a:lnTo>
                  <a:lnTo>
                    <a:pt x="1947" y="1413"/>
                  </a:lnTo>
                  <a:lnTo>
                    <a:pt x="1931" y="1441"/>
                  </a:lnTo>
                  <a:lnTo>
                    <a:pt x="1913" y="1467"/>
                  </a:lnTo>
                  <a:lnTo>
                    <a:pt x="1893" y="1491"/>
                  </a:lnTo>
                  <a:lnTo>
                    <a:pt x="1871" y="1514"/>
                  </a:lnTo>
                  <a:lnTo>
                    <a:pt x="1848" y="1534"/>
                  </a:lnTo>
                  <a:lnTo>
                    <a:pt x="1822" y="1553"/>
                  </a:lnTo>
                  <a:lnTo>
                    <a:pt x="1796" y="1570"/>
                  </a:lnTo>
                  <a:lnTo>
                    <a:pt x="1767" y="1584"/>
                  </a:lnTo>
                  <a:lnTo>
                    <a:pt x="1737" y="1596"/>
                  </a:lnTo>
                  <a:lnTo>
                    <a:pt x="1708" y="1605"/>
                  </a:lnTo>
                  <a:lnTo>
                    <a:pt x="1675" y="1613"/>
                  </a:lnTo>
                  <a:lnTo>
                    <a:pt x="1644" y="1617"/>
                  </a:lnTo>
                  <a:lnTo>
                    <a:pt x="1610" y="1618"/>
                  </a:lnTo>
                  <a:lnTo>
                    <a:pt x="1610" y="1618"/>
                  </a:lnTo>
                  <a:lnTo>
                    <a:pt x="1610" y="1618"/>
                  </a:lnTo>
                  <a:lnTo>
                    <a:pt x="1591" y="1618"/>
                  </a:lnTo>
                  <a:lnTo>
                    <a:pt x="1570" y="1617"/>
                  </a:lnTo>
                  <a:lnTo>
                    <a:pt x="1550" y="1613"/>
                  </a:lnTo>
                  <a:lnTo>
                    <a:pt x="1529" y="1610"/>
                  </a:lnTo>
                  <a:lnTo>
                    <a:pt x="1529" y="1610"/>
                  </a:lnTo>
                  <a:lnTo>
                    <a:pt x="1504" y="1604"/>
                  </a:lnTo>
                  <a:lnTo>
                    <a:pt x="1504" y="1604"/>
                  </a:lnTo>
                  <a:lnTo>
                    <a:pt x="1477" y="1628"/>
                  </a:lnTo>
                  <a:lnTo>
                    <a:pt x="1448" y="1649"/>
                  </a:lnTo>
                  <a:lnTo>
                    <a:pt x="1417" y="1667"/>
                  </a:lnTo>
                  <a:lnTo>
                    <a:pt x="1384" y="1683"/>
                  </a:lnTo>
                  <a:lnTo>
                    <a:pt x="1350" y="1695"/>
                  </a:lnTo>
                  <a:lnTo>
                    <a:pt x="1314" y="1705"/>
                  </a:lnTo>
                  <a:lnTo>
                    <a:pt x="1278" y="1709"/>
                  </a:lnTo>
                  <a:lnTo>
                    <a:pt x="1241" y="17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5" name="Freeform 33">
              <a:extLst>
                <a:ext uri="{FF2B5EF4-FFF2-40B4-BE49-F238E27FC236}">
                  <a16:creationId xmlns:a16="http://schemas.microsoft.com/office/drawing/2014/main" id="{ECB7A67C-FB1D-4A98-BA30-AC4249549775}"/>
                </a:ext>
              </a:extLst>
            </p:cNvPr>
            <p:cNvSpPr>
              <a:spLocks/>
            </p:cNvSpPr>
            <p:nvPr/>
          </p:nvSpPr>
          <p:spPr bwMode="auto">
            <a:xfrm>
              <a:off x="5489003" y="3354300"/>
              <a:ext cx="1949650" cy="1611413"/>
            </a:xfrm>
            <a:custGeom>
              <a:avLst/>
              <a:gdLst>
                <a:gd name="T0" fmla="*/ 855 w 1833"/>
                <a:gd name="T1" fmla="*/ 1084 h 1515"/>
                <a:gd name="T2" fmla="*/ 874 w 1833"/>
                <a:gd name="T3" fmla="*/ 1105 h 1515"/>
                <a:gd name="T4" fmla="*/ 877 w 1833"/>
                <a:gd name="T5" fmla="*/ 1143 h 1515"/>
                <a:gd name="T6" fmla="*/ 861 w 1833"/>
                <a:gd name="T7" fmla="*/ 1229 h 1515"/>
                <a:gd name="T8" fmla="*/ 892 w 1833"/>
                <a:gd name="T9" fmla="*/ 1361 h 1515"/>
                <a:gd name="T10" fmla="*/ 959 w 1833"/>
                <a:gd name="T11" fmla="*/ 1449 h 1515"/>
                <a:gd name="T12" fmla="*/ 1083 w 1833"/>
                <a:gd name="T13" fmla="*/ 1509 h 1515"/>
                <a:gd name="T14" fmla="*/ 1174 w 1833"/>
                <a:gd name="T15" fmla="*/ 1514 h 1515"/>
                <a:gd name="T16" fmla="*/ 1312 w 1833"/>
                <a:gd name="T17" fmla="*/ 1458 h 1515"/>
                <a:gd name="T18" fmla="*/ 1367 w 1833"/>
                <a:gd name="T19" fmla="*/ 1408 h 1515"/>
                <a:gd name="T20" fmla="*/ 1403 w 1833"/>
                <a:gd name="T21" fmla="*/ 1402 h 1515"/>
                <a:gd name="T22" fmla="*/ 1452 w 1833"/>
                <a:gd name="T23" fmla="*/ 1416 h 1515"/>
                <a:gd name="T24" fmla="*/ 1561 w 1833"/>
                <a:gd name="T25" fmla="*/ 1419 h 1515"/>
                <a:gd name="T26" fmla="*/ 1670 w 1833"/>
                <a:gd name="T27" fmla="*/ 1374 h 1515"/>
                <a:gd name="T28" fmla="*/ 1752 w 1833"/>
                <a:gd name="T29" fmla="*/ 1291 h 1515"/>
                <a:gd name="T30" fmla="*/ 1787 w 1833"/>
                <a:gd name="T31" fmla="*/ 1201 h 1515"/>
                <a:gd name="T32" fmla="*/ 1779 w 1833"/>
                <a:gd name="T33" fmla="*/ 1055 h 1515"/>
                <a:gd name="T34" fmla="*/ 1734 w 1833"/>
                <a:gd name="T35" fmla="*/ 967 h 1515"/>
                <a:gd name="T36" fmla="*/ 1734 w 1833"/>
                <a:gd name="T37" fmla="*/ 925 h 1515"/>
                <a:gd name="T38" fmla="*/ 1773 w 1833"/>
                <a:gd name="T39" fmla="*/ 879 h 1515"/>
                <a:gd name="T40" fmla="*/ 1820 w 1833"/>
                <a:gd name="T41" fmla="*/ 786 h 1515"/>
                <a:gd name="T42" fmla="*/ 1831 w 1833"/>
                <a:gd name="T43" fmla="*/ 684 h 1515"/>
                <a:gd name="T44" fmla="*/ 1791 w 1833"/>
                <a:gd name="T45" fmla="*/ 558 h 1515"/>
                <a:gd name="T46" fmla="*/ 1698 w 1833"/>
                <a:gd name="T47" fmla="*/ 466 h 1515"/>
                <a:gd name="T48" fmla="*/ 1613 w 1833"/>
                <a:gd name="T49" fmla="*/ 430 h 1515"/>
                <a:gd name="T50" fmla="*/ 1587 w 1833"/>
                <a:gd name="T51" fmla="*/ 400 h 1515"/>
                <a:gd name="T52" fmla="*/ 1582 w 1833"/>
                <a:gd name="T53" fmla="*/ 334 h 1515"/>
                <a:gd name="T54" fmla="*/ 1540 w 1833"/>
                <a:gd name="T55" fmla="*/ 221 h 1515"/>
                <a:gd name="T56" fmla="*/ 1455 w 1833"/>
                <a:gd name="T57" fmla="*/ 137 h 1515"/>
                <a:gd name="T58" fmla="*/ 1364 w 1833"/>
                <a:gd name="T59" fmla="*/ 98 h 1515"/>
                <a:gd name="T60" fmla="*/ 1242 w 1833"/>
                <a:gd name="T61" fmla="*/ 99 h 1515"/>
                <a:gd name="T62" fmla="*/ 1164 w 1833"/>
                <a:gd name="T63" fmla="*/ 127 h 1515"/>
                <a:gd name="T64" fmla="*/ 1123 w 1833"/>
                <a:gd name="T65" fmla="*/ 122 h 1515"/>
                <a:gd name="T66" fmla="*/ 1078 w 1833"/>
                <a:gd name="T67" fmla="*/ 75 h 1515"/>
                <a:gd name="T68" fmla="*/ 972 w 1833"/>
                <a:gd name="T69" fmla="*/ 13 h 1515"/>
                <a:gd name="T70" fmla="*/ 887 w 1833"/>
                <a:gd name="T71" fmla="*/ 0 h 1515"/>
                <a:gd name="T72" fmla="*/ 767 w 1833"/>
                <a:gd name="T73" fmla="*/ 28 h 1515"/>
                <a:gd name="T74" fmla="*/ 692 w 1833"/>
                <a:gd name="T75" fmla="*/ 77 h 1515"/>
                <a:gd name="T76" fmla="*/ 633 w 1833"/>
                <a:gd name="T77" fmla="*/ 72 h 1515"/>
                <a:gd name="T78" fmla="*/ 552 w 1833"/>
                <a:gd name="T79" fmla="*/ 59 h 1515"/>
                <a:gd name="T80" fmla="*/ 436 w 1833"/>
                <a:gd name="T81" fmla="*/ 85 h 1515"/>
                <a:gd name="T82" fmla="*/ 342 w 1833"/>
                <a:gd name="T83" fmla="*/ 153 h 1515"/>
                <a:gd name="T84" fmla="*/ 283 w 1833"/>
                <a:gd name="T85" fmla="*/ 256 h 1515"/>
                <a:gd name="T86" fmla="*/ 272 w 1833"/>
                <a:gd name="T87" fmla="*/ 343 h 1515"/>
                <a:gd name="T88" fmla="*/ 254 w 1833"/>
                <a:gd name="T89" fmla="*/ 381 h 1515"/>
                <a:gd name="T90" fmla="*/ 210 w 1833"/>
                <a:gd name="T91" fmla="*/ 396 h 1515"/>
                <a:gd name="T92" fmla="*/ 117 w 1833"/>
                <a:gd name="T93" fmla="*/ 440 h 1515"/>
                <a:gd name="T94" fmla="*/ 47 w 1833"/>
                <a:gd name="T95" fmla="*/ 513 h 1515"/>
                <a:gd name="T96" fmla="*/ 7 w 1833"/>
                <a:gd name="T97" fmla="*/ 607 h 1515"/>
                <a:gd name="T98" fmla="*/ 5 w 1833"/>
                <a:gd name="T99" fmla="*/ 718 h 1515"/>
                <a:gd name="T100" fmla="*/ 44 w 1833"/>
                <a:gd name="T101" fmla="*/ 820 h 1515"/>
                <a:gd name="T102" fmla="*/ 143 w 1833"/>
                <a:gd name="T103" fmla="*/ 913 h 1515"/>
                <a:gd name="T104" fmla="*/ 252 w 1833"/>
                <a:gd name="T105" fmla="*/ 947 h 1515"/>
                <a:gd name="T106" fmla="*/ 357 w 1833"/>
                <a:gd name="T107" fmla="*/ 941 h 1515"/>
                <a:gd name="T108" fmla="*/ 394 w 1833"/>
                <a:gd name="T109" fmla="*/ 954 h 1515"/>
                <a:gd name="T110" fmla="*/ 438 w 1833"/>
                <a:gd name="T111" fmla="*/ 1022 h 1515"/>
                <a:gd name="T112" fmla="*/ 565 w 1833"/>
                <a:gd name="T113" fmla="*/ 1112 h 1515"/>
                <a:gd name="T114" fmla="*/ 656 w 1833"/>
                <a:gd name="T115" fmla="*/ 1128 h 1515"/>
                <a:gd name="T116" fmla="*/ 752 w 1833"/>
                <a:gd name="T117" fmla="*/ 1110 h 1515"/>
                <a:gd name="T118" fmla="*/ 811 w 1833"/>
                <a:gd name="T119" fmla="*/ 1081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3" h="1515">
                  <a:moveTo>
                    <a:pt x="830" y="1078"/>
                  </a:moveTo>
                  <a:lnTo>
                    <a:pt x="830" y="1078"/>
                  </a:lnTo>
                  <a:lnTo>
                    <a:pt x="838" y="1078"/>
                  </a:lnTo>
                  <a:lnTo>
                    <a:pt x="847" y="1081"/>
                  </a:lnTo>
                  <a:lnTo>
                    <a:pt x="855" y="1084"/>
                  </a:lnTo>
                  <a:lnTo>
                    <a:pt x="861" y="1087"/>
                  </a:lnTo>
                  <a:lnTo>
                    <a:pt x="861" y="1087"/>
                  </a:lnTo>
                  <a:lnTo>
                    <a:pt x="866" y="1094"/>
                  </a:lnTo>
                  <a:lnTo>
                    <a:pt x="871" y="1099"/>
                  </a:lnTo>
                  <a:lnTo>
                    <a:pt x="874" y="1105"/>
                  </a:lnTo>
                  <a:lnTo>
                    <a:pt x="877" y="1113"/>
                  </a:lnTo>
                  <a:lnTo>
                    <a:pt x="879" y="1120"/>
                  </a:lnTo>
                  <a:lnTo>
                    <a:pt x="879" y="1128"/>
                  </a:lnTo>
                  <a:lnTo>
                    <a:pt x="879" y="1135"/>
                  </a:lnTo>
                  <a:lnTo>
                    <a:pt x="877" y="1143"/>
                  </a:lnTo>
                  <a:lnTo>
                    <a:pt x="877" y="1143"/>
                  </a:lnTo>
                  <a:lnTo>
                    <a:pt x="868" y="1174"/>
                  </a:lnTo>
                  <a:lnTo>
                    <a:pt x="868" y="1174"/>
                  </a:lnTo>
                  <a:lnTo>
                    <a:pt x="863" y="1201"/>
                  </a:lnTo>
                  <a:lnTo>
                    <a:pt x="861" y="1229"/>
                  </a:lnTo>
                  <a:lnTo>
                    <a:pt x="861" y="1257"/>
                  </a:lnTo>
                  <a:lnTo>
                    <a:pt x="866" y="1283"/>
                  </a:lnTo>
                  <a:lnTo>
                    <a:pt x="871" y="1310"/>
                  </a:lnTo>
                  <a:lnTo>
                    <a:pt x="881" y="1336"/>
                  </a:lnTo>
                  <a:lnTo>
                    <a:pt x="892" y="1361"/>
                  </a:lnTo>
                  <a:lnTo>
                    <a:pt x="905" y="1385"/>
                  </a:lnTo>
                  <a:lnTo>
                    <a:pt x="905" y="1385"/>
                  </a:lnTo>
                  <a:lnTo>
                    <a:pt x="921" y="1408"/>
                  </a:lnTo>
                  <a:lnTo>
                    <a:pt x="939" y="1429"/>
                  </a:lnTo>
                  <a:lnTo>
                    <a:pt x="959" y="1449"/>
                  </a:lnTo>
                  <a:lnTo>
                    <a:pt x="982" y="1465"/>
                  </a:lnTo>
                  <a:lnTo>
                    <a:pt x="1004" y="1480"/>
                  </a:lnTo>
                  <a:lnTo>
                    <a:pt x="1029" y="1491"/>
                  </a:lnTo>
                  <a:lnTo>
                    <a:pt x="1055" y="1501"/>
                  </a:lnTo>
                  <a:lnTo>
                    <a:pt x="1083" y="1509"/>
                  </a:lnTo>
                  <a:lnTo>
                    <a:pt x="1083" y="1509"/>
                  </a:lnTo>
                  <a:lnTo>
                    <a:pt x="1112" y="1514"/>
                  </a:lnTo>
                  <a:lnTo>
                    <a:pt x="1143" y="1515"/>
                  </a:lnTo>
                  <a:lnTo>
                    <a:pt x="1143" y="1515"/>
                  </a:lnTo>
                  <a:lnTo>
                    <a:pt x="1174" y="1514"/>
                  </a:lnTo>
                  <a:lnTo>
                    <a:pt x="1203" y="1509"/>
                  </a:lnTo>
                  <a:lnTo>
                    <a:pt x="1232" y="1501"/>
                  </a:lnTo>
                  <a:lnTo>
                    <a:pt x="1260" y="1489"/>
                  </a:lnTo>
                  <a:lnTo>
                    <a:pt x="1286" y="1476"/>
                  </a:lnTo>
                  <a:lnTo>
                    <a:pt x="1312" y="1458"/>
                  </a:lnTo>
                  <a:lnTo>
                    <a:pt x="1335" y="1439"/>
                  </a:lnTo>
                  <a:lnTo>
                    <a:pt x="1356" y="1418"/>
                  </a:lnTo>
                  <a:lnTo>
                    <a:pt x="1356" y="1418"/>
                  </a:lnTo>
                  <a:lnTo>
                    <a:pt x="1361" y="1411"/>
                  </a:lnTo>
                  <a:lnTo>
                    <a:pt x="1367" y="1408"/>
                  </a:lnTo>
                  <a:lnTo>
                    <a:pt x="1374" y="1405"/>
                  </a:lnTo>
                  <a:lnTo>
                    <a:pt x="1380" y="1402"/>
                  </a:lnTo>
                  <a:lnTo>
                    <a:pt x="1389" y="1400"/>
                  </a:lnTo>
                  <a:lnTo>
                    <a:pt x="1395" y="1400"/>
                  </a:lnTo>
                  <a:lnTo>
                    <a:pt x="1403" y="1402"/>
                  </a:lnTo>
                  <a:lnTo>
                    <a:pt x="1410" y="1403"/>
                  </a:lnTo>
                  <a:lnTo>
                    <a:pt x="1410" y="1403"/>
                  </a:lnTo>
                  <a:lnTo>
                    <a:pt x="1431" y="1411"/>
                  </a:lnTo>
                  <a:lnTo>
                    <a:pt x="1452" y="1416"/>
                  </a:lnTo>
                  <a:lnTo>
                    <a:pt x="1452" y="1416"/>
                  </a:lnTo>
                  <a:lnTo>
                    <a:pt x="1483" y="1421"/>
                  </a:lnTo>
                  <a:lnTo>
                    <a:pt x="1512" y="1423"/>
                  </a:lnTo>
                  <a:lnTo>
                    <a:pt x="1512" y="1423"/>
                  </a:lnTo>
                  <a:lnTo>
                    <a:pt x="1537" y="1421"/>
                  </a:lnTo>
                  <a:lnTo>
                    <a:pt x="1561" y="1419"/>
                  </a:lnTo>
                  <a:lnTo>
                    <a:pt x="1584" y="1413"/>
                  </a:lnTo>
                  <a:lnTo>
                    <a:pt x="1607" y="1406"/>
                  </a:lnTo>
                  <a:lnTo>
                    <a:pt x="1629" y="1397"/>
                  </a:lnTo>
                  <a:lnTo>
                    <a:pt x="1649" y="1387"/>
                  </a:lnTo>
                  <a:lnTo>
                    <a:pt x="1670" y="1374"/>
                  </a:lnTo>
                  <a:lnTo>
                    <a:pt x="1688" y="1361"/>
                  </a:lnTo>
                  <a:lnTo>
                    <a:pt x="1706" y="1345"/>
                  </a:lnTo>
                  <a:lnTo>
                    <a:pt x="1722" y="1328"/>
                  </a:lnTo>
                  <a:lnTo>
                    <a:pt x="1737" y="1310"/>
                  </a:lnTo>
                  <a:lnTo>
                    <a:pt x="1752" y="1291"/>
                  </a:lnTo>
                  <a:lnTo>
                    <a:pt x="1763" y="1270"/>
                  </a:lnTo>
                  <a:lnTo>
                    <a:pt x="1773" y="1249"/>
                  </a:lnTo>
                  <a:lnTo>
                    <a:pt x="1781" y="1226"/>
                  </a:lnTo>
                  <a:lnTo>
                    <a:pt x="1787" y="1201"/>
                  </a:lnTo>
                  <a:lnTo>
                    <a:pt x="1787" y="1201"/>
                  </a:lnTo>
                  <a:lnTo>
                    <a:pt x="1792" y="1172"/>
                  </a:lnTo>
                  <a:lnTo>
                    <a:pt x="1794" y="1143"/>
                  </a:lnTo>
                  <a:lnTo>
                    <a:pt x="1792" y="1112"/>
                  </a:lnTo>
                  <a:lnTo>
                    <a:pt x="1787" y="1082"/>
                  </a:lnTo>
                  <a:lnTo>
                    <a:pt x="1779" y="1055"/>
                  </a:lnTo>
                  <a:lnTo>
                    <a:pt x="1769" y="1027"/>
                  </a:lnTo>
                  <a:lnTo>
                    <a:pt x="1755" y="999"/>
                  </a:lnTo>
                  <a:lnTo>
                    <a:pt x="1739" y="975"/>
                  </a:lnTo>
                  <a:lnTo>
                    <a:pt x="1739" y="975"/>
                  </a:lnTo>
                  <a:lnTo>
                    <a:pt x="1734" y="967"/>
                  </a:lnTo>
                  <a:lnTo>
                    <a:pt x="1730" y="959"/>
                  </a:lnTo>
                  <a:lnTo>
                    <a:pt x="1729" y="949"/>
                  </a:lnTo>
                  <a:lnTo>
                    <a:pt x="1729" y="941"/>
                  </a:lnTo>
                  <a:lnTo>
                    <a:pt x="1730" y="933"/>
                  </a:lnTo>
                  <a:lnTo>
                    <a:pt x="1734" y="925"/>
                  </a:lnTo>
                  <a:lnTo>
                    <a:pt x="1739" y="916"/>
                  </a:lnTo>
                  <a:lnTo>
                    <a:pt x="1745" y="910"/>
                  </a:lnTo>
                  <a:lnTo>
                    <a:pt x="1745" y="910"/>
                  </a:lnTo>
                  <a:lnTo>
                    <a:pt x="1760" y="895"/>
                  </a:lnTo>
                  <a:lnTo>
                    <a:pt x="1773" y="879"/>
                  </a:lnTo>
                  <a:lnTo>
                    <a:pt x="1786" y="861"/>
                  </a:lnTo>
                  <a:lnTo>
                    <a:pt x="1795" y="843"/>
                  </a:lnTo>
                  <a:lnTo>
                    <a:pt x="1805" y="825"/>
                  </a:lnTo>
                  <a:lnTo>
                    <a:pt x="1813" y="806"/>
                  </a:lnTo>
                  <a:lnTo>
                    <a:pt x="1820" y="786"/>
                  </a:lnTo>
                  <a:lnTo>
                    <a:pt x="1826" y="765"/>
                  </a:lnTo>
                  <a:lnTo>
                    <a:pt x="1826" y="765"/>
                  </a:lnTo>
                  <a:lnTo>
                    <a:pt x="1831" y="737"/>
                  </a:lnTo>
                  <a:lnTo>
                    <a:pt x="1833" y="710"/>
                  </a:lnTo>
                  <a:lnTo>
                    <a:pt x="1831" y="684"/>
                  </a:lnTo>
                  <a:lnTo>
                    <a:pt x="1828" y="656"/>
                  </a:lnTo>
                  <a:lnTo>
                    <a:pt x="1823" y="630"/>
                  </a:lnTo>
                  <a:lnTo>
                    <a:pt x="1815" y="606"/>
                  </a:lnTo>
                  <a:lnTo>
                    <a:pt x="1804" y="581"/>
                  </a:lnTo>
                  <a:lnTo>
                    <a:pt x="1791" y="558"/>
                  </a:lnTo>
                  <a:lnTo>
                    <a:pt x="1776" y="536"/>
                  </a:lnTo>
                  <a:lnTo>
                    <a:pt x="1760" y="516"/>
                  </a:lnTo>
                  <a:lnTo>
                    <a:pt x="1740" y="497"/>
                  </a:lnTo>
                  <a:lnTo>
                    <a:pt x="1721" y="480"/>
                  </a:lnTo>
                  <a:lnTo>
                    <a:pt x="1698" y="466"/>
                  </a:lnTo>
                  <a:lnTo>
                    <a:pt x="1673" y="453"/>
                  </a:lnTo>
                  <a:lnTo>
                    <a:pt x="1647" y="441"/>
                  </a:lnTo>
                  <a:lnTo>
                    <a:pt x="1621" y="433"/>
                  </a:lnTo>
                  <a:lnTo>
                    <a:pt x="1621" y="433"/>
                  </a:lnTo>
                  <a:lnTo>
                    <a:pt x="1613" y="430"/>
                  </a:lnTo>
                  <a:lnTo>
                    <a:pt x="1605" y="427"/>
                  </a:lnTo>
                  <a:lnTo>
                    <a:pt x="1599" y="422"/>
                  </a:lnTo>
                  <a:lnTo>
                    <a:pt x="1594" y="415"/>
                  </a:lnTo>
                  <a:lnTo>
                    <a:pt x="1590" y="409"/>
                  </a:lnTo>
                  <a:lnTo>
                    <a:pt x="1587" y="400"/>
                  </a:lnTo>
                  <a:lnTo>
                    <a:pt x="1584" y="392"/>
                  </a:lnTo>
                  <a:lnTo>
                    <a:pt x="1584" y="384"/>
                  </a:lnTo>
                  <a:lnTo>
                    <a:pt x="1584" y="384"/>
                  </a:lnTo>
                  <a:lnTo>
                    <a:pt x="1584" y="358"/>
                  </a:lnTo>
                  <a:lnTo>
                    <a:pt x="1582" y="334"/>
                  </a:lnTo>
                  <a:lnTo>
                    <a:pt x="1577" y="309"/>
                  </a:lnTo>
                  <a:lnTo>
                    <a:pt x="1571" y="287"/>
                  </a:lnTo>
                  <a:lnTo>
                    <a:pt x="1563" y="264"/>
                  </a:lnTo>
                  <a:lnTo>
                    <a:pt x="1551" y="241"/>
                  </a:lnTo>
                  <a:lnTo>
                    <a:pt x="1540" y="221"/>
                  </a:lnTo>
                  <a:lnTo>
                    <a:pt x="1525" y="202"/>
                  </a:lnTo>
                  <a:lnTo>
                    <a:pt x="1511" y="182"/>
                  </a:lnTo>
                  <a:lnTo>
                    <a:pt x="1493" y="166"/>
                  </a:lnTo>
                  <a:lnTo>
                    <a:pt x="1475" y="150"/>
                  </a:lnTo>
                  <a:lnTo>
                    <a:pt x="1455" y="137"/>
                  </a:lnTo>
                  <a:lnTo>
                    <a:pt x="1434" y="124"/>
                  </a:lnTo>
                  <a:lnTo>
                    <a:pt x="1411" y="114"/>
                  </a:lnTo>
                  <a:lnTo>
                    <a:pt x="1389" y="104"/>
                  </a:lnTo>
                  <a:lnTo>
                    <a:pt x="1364" y="98"/>
                  </a:lnTo>
                  <a:lnTo>
                    <a:pt x="1364" y="98"/>
                  </a:lnTo>
                  <a:lnTo>
                    <a:pt x="1340" y="94"/>
                  </a:lnTo>
                  <a:lnTo>
                    <a:pt x="1315" y="93"/>
                  </a:lnTo>
                  <a:lnTo>
                    <a:pt x="1291" y="93"/>
                  </a:lnTo>
                  <a:lnTo>
                    <a:pt x="1266" y="94"/>
                  </a:lnTo>
                  <a:lnTo>
                    <a:pt x="1242" y="99"/>
                  </a:lnTo>
                  <a:lnTo>
                    <a:pt x="1218" y="106"/>
                  </a:lnTo>
                  <a:lnTo>
                    <a:pt x="1195" y="114"/>
                  </a:lnTo>
                  <a:lnTo>
                    <a:pt x="1172" y="124"/>
                  </a:lnTo>
                  <a:lnTo>
                    <a:pt x="1172" y="124"/>
                  </a:lnTo>
                  <a:lnTo>
                    <a:pt x="1164" y="127"/>
                  </a:lnTo>
                  <a:lnTo>
                    <a:pt x="1156" y="130"/>
                  </a:lnTo>
                  <a:lnTo>
                    <a:pt x="1148" y="130"/>
                  </a:lnTo>
                  <a:lnTo>
                    <a:pt x="1140" y="129"/>
                  </a:lnTo>
                  <a:lnTo>
                    <a:pt x="1131" y="127"/>
                  </a:lnTo>
                  <a:lnTo>
                    <a:pt x="1123" y="122"/>
                  </a:lnTo>
                  <a:lnTo>
                    <a:pt x="1117" y="117"/>
                  </a:lnTo>
                  <a:lnTo>
                    <a:pt x="1110" y="111"/>
                  </a:lnTo>
                  <a:lnTo>
                    <a:pt x="1110" y="111"/>
                  </a:lnTo>
                  <a:lnTo>
                    <a:pt x="1096" y="91"/>
                  </a:lnTo>
                  <a:lnTo>
                    <a:pt x="1078" y="75"/>
                  </a:lnTo>
                  <a:lnTo>
                    <a:pt x="1058" y="59"/>
                  </a:lnTo>
                  <a:lnTo>
                    <a:pt x="1039" y="44"/>
                  </a:lnTo>
                  <a:lnTo>
                    <a:pt x="1017" y="33"/>
                  </a:lnTo>
                  <a:lnTo>
                    <a:pt x="995" y="21"/>
                  </a:lnTo>
                  <a:lnTo>
                    <a:pt x="972" y="13"/>
                  </a:lnTo>
                  <a:lnTo>
                    <a:pt x="949" y="7"/>
                  </a:lnTo>
                  <a:lnTo>
                    <a:pt x="949" y="7"/>
                  </a:lnTo>
                  <a:lnTo>
                    <a:pt x="918" y="2"/>
                  </a:lnTo>
                  <a:lnTo>
                    <a:pt x="887" y="0"/>
                  </a:lnTo>
                  <a:lnTo>
                    <a:pt x="887" y="0"/>
                  </a:lnTo>
                  <a:lnTo>
                    <a:pt x="863" y="2"/>
                  </a:lnTo>
                  <a:lnTo>
                    <a:pt x="837" y="5"/>
                  </a:lnTo>
                  <a:lnTo>
                    <a:pt x="812" y="10"/>
                  </a:lnTo>
                  <a:lnTo>
                    <a:pt x="790" y="18"/>
                  </a:lnTo>
                  <a:lnTo>
                    <a:pt x="767" y="28"/>
                  </a:lnTo>
                  <a:lnTo>
                    <a:pt x="744" y="39"/>
                  </a:lnTo>
                  <a:lnTo>
                    <a:pt x="723" y="54"/>
                  </a:lnTo>
                  <a:lnTo>
                    <a:pt x="703" y="70"/>
                  </a:lnTo>
                  <a:lnTo>
                    <a:pt x="703" y="70"/>
                  </a:lnTo>
                  <a:lnTo>
                    <a:pt x="692" y="77"/>
                  </a:lnTo>
                  <a:lnTo>
                    <a:pt x="679" y="80"/>
                  </a:lnTo>
                  <a:lnTo>
                    <a:pt x="666" y="81"/>
                  </a:lnTo>
                  <a:lnTo>
                    <a:pt x="654" y="78"/>
                  </a:lnTo>
                  <a:lnTo>
                    <a:pt x="654" y="78"/>
                  </a:lnTo>
                  <a:lnTo>
                    <a:pt x="633" y="72"/>
                  </a:lnTo>
                  <a:lnTo>
                    <a:pt x="612" y="65"/>
                  </a:lnTo>
                  <a:lnTo>
                    <a:pt x="612" y="65"/>
                  </a:lnTo>
                  <a:lnTo>
                    <a:pt x="583" y="60"/>
                  </a:lnTo>
                  <a:lnTo>
                    <a:pt x="552" y="59"/>
                  </a:lnTo>
                  <a:lnTo>
                    <a:pt x="552" y="59"/>
                  </a:lnTo>
                  <a:lnTo>
                    <a:pt x="528" y="60"/>
                  </a:lnTo>
                  <a:lnTo>
                    <a:pt x="503" y="64"/>
                  </a:lnTo>
                  <a:lnTo>
                    <a:pt x="480" y="68"/>
                  </a:lnTo>
                  <a:lnTo>
                    <a:pt x="458" y="75"/>
                  </a:lnTo>
                  <a:lnTo>
                    <a:pt x="436" y="85"/>
                  </a:lnTo>
                  <a:lnTo>
                    <a:pt x="415" y="94"/>
                  </a:lnTo>
                  <a:lnTo>
                    <a:pt x="396" y="107"/>
                  </a:lnTo>
                  <a:lnTo>
                    <a:pt x="376" y="122"/>
                  </a:lnTo>
                  <a:lnTo>
                    <a:pt x="358" y="137"/>
                  </a:lnTo>
                  <a:lnTo>
                    <a:pt x="342" y="153"/>
                  </a:lnTo>
                  <a:lnTo>
                    <a:pt x="327" y="173"/>
                  </a:lnTo>
                  <a:lnTo>
                    <a:pt x="314" y="192"/>
                  </a:lnTo>
                  <a:lnTo>
                    <a:pt x="303" y="212"/>
                  </a:lnTo>
                  <a:lnTo>
                    <a:pt x="292" y="234"/>
                  </a:lnTo>
                  <a:lnTo>
                    <a:pt x="283" y="256"/>
                  </a:lnTo>
                  <a:lnTo>
                    <a:pt x="278" y="280"/>
                  </a:lnTo>
                  <a:lnTo>
                    <a:pt x="278" y="280"/>
                  </a:lnTo>
                  <a:lnTo>
                    <a:pt x="272" y="311"/>
                  </a:lnTo>
                  <a:lnTo>
                    <a:pt x="272" y="343"/>
                  </a:lnTo>
                  <a:lnTo>
                    <a:pt x="272" y="343"/>
                  </a:lnTo>
                  <a:lnTo>
                    <a:pt x="270" y="352"/>
                  </a:lnTo>
                  <a:lnTo>
                    <a:pt x="269" y="360"/>
                  </a:lnTo>
                  <a:lnTo>
                    <a:pt x="265" y="368"/>
                  </a:lnTo>
                  <a:lnTo>
                    <a:pt x="261" y="374"/>
                  </a:lnTo>
                  <a:lnTo>
                    <a:pt x="254" y="381"/>
                  </a:lnTo>
                  <a:lnTo>
                    <a:pt x="248" y="386"/>
                  </a:lnTo>
                  <a:lnTo>
                    <a:pt x="239" y="389"/>
                  </a:lnTo>
                  <a:lnTo>
                    <a:pt x="231" y="392"/>
                  </a:lnTo>
                  <a:lnTo>
                    <a:pt x="231" y="392"/>
                  </a:lnTo>
                  <a:lnTo>
                    <a:pt x="210" y="396"/>
                  </a:lnTo>
                  <a:lnTo>
                    <a:pt x="191" y="402"/>
                  </a:lnTo>
                  <a:lnTo>
                    <a:pt x="171" y="410"/>
                  </a:lnTo>
                  <a:lnTo>
                    <a:pt x="153" y="418"/>
                  </a:lnTo>
                  <a:lnTo>
                    <a:pt x="135" y="428"/>
                  </a:lnTo>
                  <a:lnTo>
                    <a:pt x="117" y="440"/>
                  </a:lnTo>
                  <a:lnTo>
                    <a:pt x="101" y="453"/>
                  </a:lnTo>
                  <a:lnTo>
                    <a:pt x="86" y="466"/>
                  </a:lnTo>
                  <a:lnTo>
                    <a:pt x="72" y="480"/>
                  </a:lnTo>
                  <a:lnTo>
                    <a:pt x="59" y="497"/>
                  </a:lnTo>
                  <a:lnTo>
                    <a:pt x="47" y="513"/>
                  </a:lnTo>
                  <a:lnTo>
                    <a:pt x="36" y="531"/>
                  </a:lnTo>
                  <a:lnTo>
                    <a:pt x="28" y="549"/>
                  </a:lnTo>
                  <a:lnTo>
                    <a:pt x="20" y="568"/>
                  </a:lnTo>
                  <a:lnTo>
                    <a:pt x="12" y="588"/>
                  </a:lnTo>
                  <a:lnTo>
                    <a:pt x="7" y="607"/>
                  </a:lnTo>
                  <a:lnTo>
                    <a:pt x="7" y="607"/>
                  </a:lnTo>
                  <a:lnTo>
                    <a:pt x="2" y="635"/>
                  </a:lnTo>
                  <a:lnTo>
                    <a:pt x="0" y="663"/>
                  </a:lnTo>
                  <a:lnTo>
                    <a:pt x="2" y="690"/>
                  </a:lnTo>
                  <a:lnTo>
                    <a:pt x="5" y="718"/>
                  </a:lnTo>
                  <a:lnTo>
                    <a:pt x="10" y="744"/>
                  </a:lnTo>
                  <a:lnTo>
                    <a:pt x="20" y="770"/>
                  </a:lnTo>
                  <a:lnTo>
                    <a:pt x="31" y="796"/>
                  </a:lnTo>
                  <a:lnTo>
                    <a:pt x="44" y="820"/>
                  </a:lnTo>
                  <a:lnTo>
                    <a:pt x="44" y="820"/>
                  </a:lnTo>
                  <a:lnTo>
                    <a:pt x="60" y="843"/>
                  </a:lnTo>
                  <a:lnTo>
                    <a:pt x="78" y="863"/>
                  </a:lnTo>
                  <a:lnTo>
                    <a:pt x="99" y="882"/>
                  </a:lnTo>
                  <a:lnTo>
                    <a:pt x="121" y="899"/>
                  </a:lnTo>
                  <a:lnTo>
                    <a:pt x="143" y="913"/>
                  </a:lnTo>
                  <a:lnTo>
                    <a:pt x="168" y="926"/>
                  </a:lnTo>
                  <a:lnTo>
                    <a:pt x="194" y="936"/>
                  </a:lnTo>
                  <a:lnTo>
                    <a:pt x="222" y="943"/>
                  </a:lnTo>
                  <a:lnTo>
                    <a:pt x="222" y="943"/>
                  </a:lnTo>
                  <a:lnTo>
                    <a:pt x="252" y="947"/>
                  </a:lnTo>
                  <a:lnTo>
                    <a:pt x="285" y="949"/>
                  </a:lnTo>
                  <a:lnTo>
                    <a:pt x="316" y="947"/>
                  </a:lnTo>
                  <a:lnTo>
                    <a:pt x="347" y="943"/>
                  </a:lnTo>
                  <a:lnTo>
                    <a:pt x="347" y="943"/>
                  </a:lnTo>
                  <a:lnTo>
                    <a:pt x="357" y="941"/>
                  </a:lnTo>
                  <a:lnTo>
                    <a:pt x="365" y="941"/>
                  </a:lnTo>
                  <a:lnTo>
                    <a:pt x="373" y="943"/>
                  </a:lnTo>
                  <a:lnTo>
                    <a:pt x="379" y="946"/>
                  </a:lnTo>
                  <a:lnTo>
                    <a:pt x="388" y="949"/>
                  </a:lnTo>
                  <a:lnTo>
                    <a:pt x="394" y="954"/>
                  </a:lnTo>
                  <a:lnTo>
                    <a:pt x="399" y="960"/>
                  </a:lnTo>
                  <a:lnTo>
                    <a:pt x="404" y="969"/>
                  </a:lnTo>
                  <a:lnTo>
                    <a:pt x="404" y="969"/>
                  </a:lnTo>
                  <a:lnTo>
                    <a:pt x="418" y="996"/>
                  </a:lnTo>
                  <a:lnTo>
                    <a:pt x="438" y="1022"/>
                  </a:lnTo>
                  <a:lnTo>
                    <a:pt x="459" y="1045"/>
                  </a:lnTo>
                  <a:lnTo>
                    <a:pt x="482" y="1066"/>
                  </a:lnTo>
                  <a:lnTo>
                    <a:pt x="508" y="1084"/>
                  </a:lnTo>
                  <a:lnTo>
                    <a:pt x="536" y="1100"/>
                  </a:lnTo>
                  <a:lnTo>
                    <a:pt x="565" y="1112"/>
                  </a:lnTo>
                  <a:lnTo>
                    <a:pt x="596" y="1120"/>
                  </a:lnTo>
                  <a:lnTo>
                    <a:pt x="596" y="1120"/>
                  </a:lnTo>
                  <a:lnTo>
                    <a:pt x="627" y="1126"/>
                  </a:lnTo>
                  <a:lnTo>
                    <a:pt x="656" y="1128"/>
                  </a:lnTo>
                  <a:lnTo>
                    <a:pt x="656" y="1128"/>
                  </a:lnTo>
                  <a:lnTo>
                    <a:pt x="676" y="1126"/>
                  </a:lnTo>
                  <a:lnTo>
                    <a:pt x="695" y="1125"/>
                  </a:lnTo>
                  <a:lnTo>
                    <a:pt x="715" y="1122"/>
                  </a:lnTo>
                  <a:lnTo>
                    <a:pt x="734" y="1117"/>
                  </a:lnTo>
                  <a:lnTo>
                    <a:pt x="752" y="1110"/>
                  </a:lnTo>
                  <a:lnTo>
                    <a:pt x="770" y="1104"/>
                  </a:lnTo>
                  <a:lnTo>
                    <a:pt x="788" y="1094"/>
                  </a:lnTo>
                  <a:lnTo>
                    <a:pt x="804" y="1084"/>
                  </a:lnTo>
                  <a:lnTo>
                    <a:pt x="804" y="1084"/>
                  </a:lnTo>
                  <a:lnTo>
                    <a:pt x="811" y="1081"/>
                  </a:lnTo>
                  <a:lnTo>
                    <a:pt x="817" y="1079"/>
                  </a:lnTo>
                  <a:lnTo>
                    <a:pt x="830" y="10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6" name="Freeform 34">
              <a:extLst>
                <a:ext uri="{FF2B5EF4-FFF2-40B4-BE49-F238E27FC236}">
                  <a16:creationId xmlns:a16="http://schemas.microsoft.com/office/drawing/2014/main" id="{82FDE3E9-CEFC-4AF7-9B1A-CB7556AFD9D5}"/>
                </a:ext>
              </a:extLst>
            </p:cNvPr>
            <p:cNvSpPr>
              <a:spLocks/>
            </p:cNvSpPr>
            <p:nvPr/>
          </p:nvSpPr>
          <p:spPr bwMode="auto">
            <a:xfrm>
              <a:off x="5745339" y="2866090"/>
              <a:ext cx="259528" cy="361637"/>
            </a:xfrm>
            <a:custGeom>
              <a:avLst/>
              <a:gdLst>
                <a:gd name="T0" fmla="*/ 195 w 244"/>
                <a:gd name="T1" fmla="*/ 340 h 340"/>
                <a:gd name="T2" fmla="*/ 195 w 244"/>
                <a:gd name="T3" fmla="*/ 340 h 340"/>
                <a:gd name="T4" fmla="*/ 184 w 244"/>
                <a:gd name="T5" fmla="*/ 339 h 340"/>
                <a:gd name="T6" fmla="*/ 173 w 244"/>
                <a:gd name="T7" fmla="*/ 334 h 340"/>
                <a:gd name="T8" fmla="*/ 161 w 244"/>
                <a:gd name="T9" fmla="*/ 326 h 340"/>
                <a:gd name="T10" fmla="*/ 153 w 244"/>
                <a:gd name="T11" fmla="*/ 316 h 340"/>
                <a:gd name="T12" fmla="*/ 7 w 244"/>
                <a:gd name="T13" fmla="*/ 75 h 340"/>
                <a:gd name="T14" fmla="*/ 7 w 244"/>
                <a:gd name="T15" fmla="*/ 75 h 340"/>
                <a:gd name="T16" fmla="*/ 2 w 244"/>
                <a:gd name="T17" fmla="*/ 67 h 340"/>
                <a:gd name="T18" fmla="*/ 0 w 244"/>
                <a:gd name="T19" fmla="*/ 57 h 340"/>
                <a:gd name="T20" fmla="*/ 0 w 244"/>
                <a:gd name="T21" fmla="*/ 47 h 340"/>
                <a:gd name="T22" fmla="*/ 0 w 244"/>
                <a:gd name="T23" fmla="*/ 37 h 340"/>
                <a:gd name="T24" fmla="*/ 3 w 244"/>
                <a:gd name="T25" fmla="*/ 29 h 340"/>
                <a:gd name="T26" fmla="*/ 8 w 244"/>
                <a:gd name="T27" fmla="*/ 21 h 340"/>
                <a:gd name="T28" fmla="*/ 15 w 244"/>
                <a:gd name="T29" fmla="*/ 15 h 340"/>
                <a:gd name="T30" fmla="*/ 23 w 244"/>
                <a:gd name="T31" fmla="*/ 8 h 340"/>
                <a:gd name="T32" fmla="*/ 23 w 244"/>
                <a:gd name="T33" fmla="*/ 8 h 340"/>
                <a:gd name="T34" fmla="*/ 31 w 244"/>
                <a:gd name="T35" fmla="*/ 3 h 340"/>
                <a:gd name="T36" fmla="*/ 41 w 244"/>
                <a:gd name="T37" fmla="*/ 2 h 340"/>
                <a:gd name="T38" fmla="*/ 51 w 244"/>
                <a:gd name="T39" fmla="*/ 0 h 340"/>
                <a:gd name="T40" fmla="*/ 60 w 244"/>
                <a:gd name="T41" fmla="*/ 2 h 340"/>
                <a:gd name="T42" fmla="*/ 68 w 244"/>
                <a:gd name="T43" fmla="*/ 5 h 340"/>
                <a:gd name="T44" fmla="*/ 77 w 244"/>
                <a:gd name="T45" fmla="*/ 10 h 340"/>
                <a:gd name="T46" fmla="*/ 85 w 244"/>
                <a:gd name="T47" fmla="*/ 16 h 340"/>
                <a:gd name="T48" fmla="*/ 90 w 244"/>
                <a:gd name="T49" fmla="*/ 24 h 340"/>
                <a:gd name="T50" fmla="*/ 238 w 244"/>
                <a:gd name="T51" fmla="*/ 265 h 340"/>
                <a:gd name="T52" fmla="*/ 238 w 244"/>
                <a:gd name="T53" fmla="*/ 265 h 340"/>
                <a:gd name="T54" fmla="*/ 241 w 244"/>
                <a:gd name="T55" fmla="*/ 273 h 340"/>
                <a:gd name="T56" fmla="*/ 244 w 244"/>
                <a:gd name="T57" fmla="*/ 283 h 340"/>
                <a:gd name="T58" fmla="*/ 244 w 244"/>
                <a:gd name="T59" fmla="*/ 293 h 340"/>
                <a:gd name="T60" fmla="*/ 243 w 244"/>
                <a:gd name="T61" fmla="*/ 303 h 340"/>
                <a:gd name="T62" fmla="*/ 239 w 244"/>
                <a:gd name="T63" fmla="*/ 311 h 340"/>
                <a:gd name="T64" fmla="*/ 234 w 244"/>
                <a:gd name="T65" fmla="*/ 319 h 340"/>
                <a:gd name="T66" fmla="*/ 230 w 244"/>
                <a:gd name="T67" fmla="*/ 326 h 340"/>
                <a:gd name="T68" fmla="*/ 221 w 244"/>
                <a:gd name="T69" fmla="*/ 332 h 340"/>
                <a:gd name="T70" fmla="*/ 221 w 244"/>
                <a:gd name="T71" fmla="*/ 332 h 340"/>
                <a:gd name="T72" fmla="*/ 208 w 244"/>
                <a:gd name="T73" fmla="*/ 337 h 340"/>
                <a:gd name="T74" fmla="*/ 195 w 244"/>
                <a:gd name="T7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340">
                  <a:moveTo>
                    <a:pt x="195" y="340"/>
                  </a:moveTo>
                  <a:lnTo>
                    <a:pt x="195" y="340"/>
                  </a:lnTo>
                  <a:lnTo>
                    <a:pt x="184" y="339"/>
                  </a:lnTo>
                  <a:lnTo>
                    <a:pt x="173" y="334"/>
                  </a:lnTo>
                  <a:lnTo>
                    <a:pt x="161" y="326"/>
                  </a:lnTo>
                  <a:lnTo>
                    <a:pt x="153" y="316"/>
                  </a:lnTo>
                  <a:lnTo>
                    <a:pt x="7" y="75"/>
                  </a:lnTo>
                  <a:lnTo>
                    <a:pt x="7" y="75"/>
                  </a:lnTo>
                  <a:lnTo>
                    <a:pt x="2" y="67"/>
                  </a:lnTo>
                  <a:lnTo>
                    <a:pt x="0" y="57"/>
                  </a:lnTo>
                  <a:lnTo>
                    <a:pt x="0" y="47"/>
                  </a:lnTo>
                  <a:lnTo>
                    <a:pt x="0" y="37"/>
                  </a:lnTo>
                  <a:lnTo>
                    <a:pt x="3" y="29"/>
                  </a:lnTo>
                  <a:lnTo>
                    <a:pt x="8" y="21"/>
                  </a:lnTo>
                  <a:lnTo>
                    <a:pt x="15" y="15"/>
                  </a:lnTo>
                  <a:lnTo>
                    <a:pt x="23" y="8"/>
                  </a:lnTo>
                  <a:lnTo>
                    <a:pt x="23" y="8"/>
                  </a:lnTo>
                  <a:lnTo>
                    <a:pt x="31" y="3"/>
                  </a:lnTo>
                  <a:lnTo>
                    <a:pt x="41" y="2"/>
                  </a:lnTo>
                  <a:lnTo>
                    <a:pt x="51" y="0"/>
                  </a:lnTo>
                  <a:lnTo>
                    <a:pt x="60" y="2"/>
                  </a:lnTo>
                  <a:lnTo>
                    <a:pt x="68" y="5"/>
                  </a:lnTo>
                  <a:lnTo>
                    <a:pt x="77" y="10"/>
                  </a:lnTo>
                  <a:lnTo>
                    <a:pt x="85" y="16"/>
                  </a:lnTo>
                  <a:lnTo>
                    <a:pt x="90" y="24"/>
                  </a:lnTo>
                  <a:lnTo>
                    <a:pt x="238" y="265"/>
                  </a:lnTo>
                  <a:lnTo>
                    <a:pt x="238" y="265"/>
                  </a:lnTo>
                  <a:lnTo>
                    <a:pt x="241" y="273"/>
                  </a:lnTo>
                  <a:lnTo>
                    <a:pt x="244" y="283"/>
                  </a:lnTo>
                  <a:lnTo>
                    <a:pt x="244" y="293"/>
                  </a:lnTo>
                  <a:lnTo>
                    <a:pt x="243" y="303"/>
                  </a:lnTo>
                  <a:lnTo>
                    <a:pt x="239" y="311"/>
                  </a:lnTo>
                  <a:lnTo>
                    <a:pt x="234" y="319"/>
                  </a:lnTo>
                  <a:lnTo>
                    <a:pt x="230" y="326"/>
                  </a:lnTo>
                  <a:lnTo>
                    <a:pt x="221" y="332"/>
                  </a:lnTo>
                  <a:lnTo>
                    <a:pt x="221" y="332"/>
                  </a:lnTo>
                  <a:lnTo>
                    <a:pt x="208" y="337"/>
                  </a:lnTo>
                  <a:lnTo>
                    <a:pt x="195" y="340"/>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7" name="Freeform 35">
              <a:extLst>
                <a:ext uri="{FF2B5EF4-FFF2-40B4-BE49-F238E27FC236}">
                  <a16:creationId xmlns:a16="http://schemas.microsoft.com/office/drawing/2014/main" id="{71375CDB-4860-4EBD-A4E4-7E26C7568C28}"/>
                </a:ext>
              </a:extLst>
            </p:cNvPr>
            <p:cNvSpPr>
              <a:spLocks/>
            </p:cNvSpPr>
            <p:nvPr/>
          </p:nvSpPr>
          <p:spPr bwMode="auto">
            <a:xfrm>
              <a:off x="5745339" y="2866090"/>
              <a:ext cx="259528" cy="361637"/>
            </a:xfrm>
            <a:custGeom>
              <a:avLst/>
              <a:gdLst>
                <a:gd name="T0" fmla="*/ 195 w 244"/>
                <a:gd name="T1" fmla="*/ 340 h 340"/>
                <a:gd name="T2" fmla="*/ 195 w 244"/>
                <a:gd name="T3" fmla="*/ 340 h 340"/>
                <a:gd name="T4" fmla="*/ 184 w 244"/>
                <a:gd name="T5" fmla="*/ 339 h 340"/>
                <a:gd name="T6" fmla="*/ 173 w 244"/>
                <a:gd name="T7" fmla="*/ 334 h 340"/>
                <a:gd name="T8" fmla="*/ 161 w 244"/>
                <a:gd name="T9" fmla="*/ 326 h 340"/>
                <a:gd name="T10" fmla="*/ 153 w 244"/>
                <a:gd name="T11" fmla="*/ 316 h 340"/>
                <a:gd name="T12" fmla="*/ 7 w 244"/>
                <a:gd name="T13" fmla="*/ 75 h 340"/>
                <a:gd name="T14" fmla="*/ 7 w 244"/>
                <a:gd name="T15" fmla="*/ 75 h 340"/>
                <a:gd name="T16" fmla="*/ 2 w 244"/>
                <a:gd name="T17" fmla="*/ 67 h 340"/>
                <a:gd name="T18" fmla="*/ 0 w 244"/>
                <a:gd name="T19" fmla="*/ 57 h 340"/>
                <a:gd name="T20" fmla="*/ 0 w 244"/>
                <a:gd name="T21" fmla="*/ 47 h 340"/>
                <a:gd name="T22" fmla="*/ 0 w 244"/>
                <a:gd name="T23" fmla="*/ 37 h 340"/>
                <a:gd name="T24" fmla="*/ 3 w 244"/>
                <a:gd name="T25" fmla="*/ 29 h 340"/>
                <a:gd name="T26" fmla="*/ 8 w 244"/>
                <a:gd name="T27" fmla="*/ 21 h 340"/>
                <a:gd name="T28" fmla="*/ 15 w 244"/>
                <a:gd name="T29" fmla="*/ 15 h 340"/>
                <a:gd name="T30" fmla="*/ 23 w 244"/>
                <a:gd name="T31" fmla="*/ 8 h 340"/>
                <a:gd name="T32" fmla="*/ 23 w 244"/>
                <a:gd name="T33" fmla="*/ 8 h 340"/>
                <a:gd name="T34" fmla="*/ 31 w 244"/>
                <a:gd name="T35" fmla="*/ 3 h 340"/>
                <a:gd name="T36" fmla="*/ 41 w 244"/>
                <a:gd name="T37" fmla="*/ 2 h 340"/>
                <a:gd name="T38" fmla="*/ 51 w 244"/>
                <a:gd name="T39" fmla="*/ 0 h 340"/>
                <a:gd name="T40" fmla="*/ 60 w 244"/>
                <a:gd name="T41" fmla="*/ 2 h 340"/>
                <a:gd name="T42" fmla="*/ 68 w 244"/>
                <a:gd name="T43" fmla="*/ 5 h 340"/>
                <a:gd name="T44" fmla="*/ 77 w 244"/>
                <a:gd name="T45" fmla="*/ 10 h 340"/>
                <a:gd name="T46" fmla="*/ 85 w 244"/>
                <a:gd name="T47" fmla="*/ 16 h 340"/>
                <a:gd name="T48" fmla="*/ 90 w 244"/>
                <a:gd name="T49" fmla="*/ 24 h 340"/>
                <a:gd name="T50" fmla="*/ 238 w 244"/>
                <a:gd name="T51" fmla="*/ 265 h 340"/>
                <a:gd name="T52" fmla="*/ 238 w 244"/>
                <a:gd name="T53" fmla="*/ 265 h 340"/>
                <a:gd name="T54" fmla="*/ 241 w 244"/>
                <a:gd name="T55" fmla="*/ 273 h 340"/>
                <a:gd name="T56" fmla="*/ 244 w 244"/>
                <a:gd name="T57" fmla="*/ 283 h 340"/>
                <a:gd name="T58" fmla="*/ 244 w 244"/>
                <a:gd name="T59" fmla="*/ 293 h 340"/>
                <a:gd name="T60" fmla="*/ 243 w 244"/>
                <a:gd name="T61" fmla="*/ 303 h 340"/>
                <a:gd name="T62" fmla="*/ 239 w 244"/>
                <a:gd name="T63" fmla="*/ 311 h 340"/>
                <a:gd name="T64" fmla="*/ 234 w 244"/>
                <a:gd name="T65" fmla="*/ 319 h 340"/>
                <a:gd name="T66" fmla="*/ 230 w 244"/>
                <a:gd name="T67" fmla="*/ 326 h 340"/>
                <a:gd name="T68" fmla="*/ 221 w 244"/>
                <a:gd name="T69" fmla="*/ 332 h 340"/>
                <a:gd name="T70" fmla="*/ 221 w 244"/>
                <a:gd name="T71" fmla="*/ 332 h 340"/>
                <a:gd name="T72" fmla="*/ 208 w 244"/>
                <a:gd name="T73" fmla="*/ 337 h 340"/>
                <a:gd name="T74" fmla="*/ 195 w 244"/>
                <a:gd name="T75"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 h="340">
                  <a:moveTo>
                    <a:pt x="195" y="340"/>
                  </a:moveTo>
                  <a:lnTo>
                    <a:pt x="195" y="340"/>
                  </a:lnTo>
                  <a:lnTo>
                    <a:pt x="184" y="339"/>
                  </a:lnTo>
                  <a:lnTo>
                    <a:pt x="173" y="334"/>
                  </a:lnTo>
                  <a:lnTo>
                    <a:pt x="161" y="326"/>
                  </a:lnTo>
                  <a:lnTo>
                    <a:pt x="153" y="316"/>
                  </a:lnTo>
                  <a:lnTo>
                    <a:pt x="7" y="75"/>
                  </a:lnTo>
                  <a:lnTo>
                    <a:pt x="7" y="75"/>
                  </a:lnTo>
                  <a:lnTo>
                    <a:pt x="2" y="67"/>
                  </a:lnTo>
                  <a:lnTo>
                    <a:pt x="0" y="57"/>
                  </a:lnTo>
                  <a:lnTo>
                    <a:pt x="0" y="47"/>
                  </a:lnTo>
                  <a:lnTo>
                    <a:pt x="0" y="37"/>
                  </a:lnTo>
                  <a:lnTo>
                    <a:pt x="3" y="29"/>
                  </a:lnTo>
                  <a:lnTo>
                    <a:pt x="8" y="21"/>
                  </a:lnTo>
                  <a:lnTo>
                    <a:pt x="15" y="15"/>
                  </a:lnTo>
                  <a:lnTo>
                    <a:pt x="23" y="8"/>
                  </a:lnTo>
                  <a:lnTo>
                    <a:pt x="23" y="8"/>
                  </a:lnTo>
                  <a:lnTo>
                    <a:pt x="31" y="3"/>
                  </a:lnTo>
                  <a:lnTo>
                    <a:pt x="41" y="2"/>
                  </a:lnTo>
                  <a:lnTo>
                    <a:pt x="51" y="0"/>
                  </a:lnTo>
                  <a:lnTo>
                    <a:pt x="60" y="2"/>
                  </a:lnTo>
                  <a:lnTo>
                    <a:pt x="68" y="5"/>
                  </a:lnTo>
                  <a:lnTo>
                    <a:pt x="77" y="10"/>
                  </a:lnTo>
                  <a:lnTo>
                    <a:pt x="85" y="16"/>
                  </a:lnTo>
                  <a:lnTo>
                    <a:pt x="90" y="24"/>
                  </a:lnTo>
                  <a:lnTo>
                    <a:pt x="238" y="265"/>
                  </a:lnTo>
                  <a:lnTo>
                    <a:pt x="238" y="265"/>
                  </a:lnTo>
                  <a:lnTo>
                    <a:pt x="241" y="273"/>
                  </a:lnTo>
                  <a:lnTo>
                    <a:pt x="244" y="283"/>
                  </a:lnTo>
                  <a:lnTo>
                    <a:pt x="244" y="293"/>
                  </a:lnTo>
                  <a:lnTo>
                    <a:pt x="243" y="303"/>
                  </a:lnTo>
                  <a:lnTo>
                    <a:pt x="239" y="311"/>
                  </a:lnTo>
                  <a:lnTo>
                    <a:pt x="234" y="319"/>
                  </a:lnTo>
                  <a:lnTo>
                    <a:pt x="230" y="326"/>
                  </a:lnTo>
                  <a:lnTo>
                    <a:pt x="221" y="332"/>
                  </a:lnTo>
                  <a:lnTo>
                    <a:pt x="221" y="332"/>
                  </a:lnTo>
                  <a:lnTo>
                    <a:pt x="208" y="337"/>
                  </a:lnTo>
                  <a:lnTo>
                    <a:pt x="195" y="3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8" name="Freeform 36">
              <a:extLst>
                <a:ext uri="{FF2B5EF4-FFF2-40B4-BE49-F238E27FC236}">
                  <a16:creationId xmlns:a16="http://schemas.microsoft.com/office/drawing/2014/main" id="{26A4D751-2E45-4185-90E1-AEC4F8EA9499}"/>
                </a:ext>
              </a:extLst>
            </p:cNvPr>
            <p:cNvSpPr>
              <a:spLocks/>
            </p:cNvSpPr>
            <p:nvPr/>
          </p:nvSpPr>
          <p:spPr bwMode="auto">
            <a:xfrm>
              <a:off x="6655814" y="2777808"/>
              <a:ext cx="156355" cy="403119"/>
            </a:xfrm>
            <a:custGeom>
              <a:avLst/>
              <a:gdLst>
                <a:gd name="T0" fmla="*/ 49 w 147"/>
                <a:gd name="T1" fmla="*/ 379 h 379"/>
                <a:gd name="T2" fmla="*/ 49 w 147"/>
                <a:gd name="T3" fmla="*/ 379 h 379"/>
                <a:gd name="T4" fmla="*/ 41 w 147"/>
                <a:gd name="T5" fmla="*/ 378 h 379"/>
                <a:gd name="T6" fmla="*/ 41 w 147"/>
                <a:gd name="T7" fmla="*/ 378 h 379"/>
                <a:gd name="T8" fmla="*/ 31 w 147"/>
                <a:gd name="T9" fmla="*/ 374 h 379"/>
                <a:gd name="T10" fmla="*/ 23 w 147"/>
                <a:gd name="T11" fmla="*/ 371 h 379"/>
                <a:gd name="T12" fmla="*/ 15 w 147"/>
                <a:gd name="T13" fmla="*/ 365 h 379"/>
                <a:gd name="T14" fmla="*/ 8 w 147"/>
                <a:gd name="T15" fmla="*/ 358 h 379"/>
                <a:gd name="T16" fmla="*/ 5 w 147"/>
                <a:gd name="T17" fmla="*/ 350 h 379"/>
                <a:gd name="T18" fmla="*/ 2 w 147"/>
                <a:gd name="T19" fmla="*/ 340 h 379"/>
                <a:gd name="T20" fmla="*/ 0 w 147"/>
                <a:gd name="T21" fmla="*/ 330 h 379"/>
                <a:gd name="T22" fmla="*/ 0 w 147"/>
                <a:gd name="T23" fmla="*/ 321 h 379"/>
                <a:gd name="T24" fmla="*/ 51 w 147"/>
                <a:gd name="T25" fmla="*/ 41 h 379"/>
                <a:gd name="T26" fmla="*/ 51 w 147"/>
                <a:gd name="T27" fmla="*/ 41 h 379"/>
                <a:gd name="T28" fmla="*/ 52 w 147"/>
                <a:gd name="T29" fmla="*/ 31 h 379"/>
                <a:gd name="T30" fmla="*/ 57 w 147"/>
                <a:gd name="T31" fmla="*/ 23 h 379"/>
                <a:gd name="T32" fmla="*/ 64 w 147"/>
                <a:gd name="T33" fmla="*/ 16 h 379"/>
                <a:gd name="T34" fmla="*/ 70 w 147"/>
                <a:gd name="T35" fmla="*/ 10 h 379"/>
                <a:gd name="T36" fmla="*/ 78 w 147"/>
                <a:gd name="T37" fmla="*/ 5 h 379"/>
                <a:gd name="T38" fmla="*/ 88 w 147"/>
                <a:gd name="T39" fmla="*/ 2 h 379"/>
                <a:gd name="T40" fmla="*/ 96 w 147"/>
                <a:gd name="T41" fmla="*/ 0 h 379"/>
                <a:gd name="T42" fmla="*/ 106 w 147"/>
                <a:gd name="T43" fmla="*/ 2 h 379"/>
                <a:gd name="T44" fmla="*/ 106 w 147"/>
                <a:gd name="T45" fmla="*/ 2 h 379"/>
                <a:gd name="T46" fmla="*/ 116 w 147"/>
                <a:gd name="T47" fmla="*/ 3 h 379"/>
                <a:gd name="T48" fmla="*/ 126 w 147"/>
                <a:gd name="T49" fmla="*/ 8 h 379"/>
                <a:gd name="T50" fmla="*/ 132 w 147"/>
                <a:gd name="T51" fmla="*/ 15 h 379"/>
                <a:gd name="T52" fmla="*/ 139 w 147"/>
                <a:gd name="T53" fmla="*/ 21 h 379"/>
                <a:gd name="T54" fmla="*/ 143 w 147"/>
                <a:gd name="T55" fmla="*/ 29 h 379"/>
                <a:gd name="T56" fmla="*/ 147 w 147"/>
                <a:gd name="T57" fmla="*/ 39 h 379"/>
                <a:gd name="T58" fmla="*/ 147 w 147"/>
                <a:gd name="T59" fmla="*/ 49 h 379"/>
                <a:gd name="T60" fmla="*/ 147 w 147"/>
                <a:gd name="T61" fmla="*/ 59 h 379"/>
                <a:gd name="T62" fmla="*/ 98 w 147"/>
                <a:gd name="T63" fmla="*/ 339 h 379"/>
                <a:gd name="T64" fmla="*/ 98 w 147"/>
                <a:gd name="T65" fmla="*/ 339 h 379"/>
                <a:gd name="T66" fmla="*/ 95 w 147"/>
                <a:gd name="T67" fmla="*/ 347 h 379"/>
                <a:gd name="T68" fmla="*/ 91 w 147"/>
                <a:gd name="T69" fmla="*/ 355 h 379"/>
                <a:gd name="T70" fmla="*/ 86 w 147"/>
                <a:gd name="T71" fmla="*/ 361 h 379"/>
                <a:gd name="T72" fmla="*/ 80 w 147"/>
                <a:gd name="T73" fmla="*/ 368 h 379"/>
                <a:gd name="T74" fmla="*/ 73 w 147"/>
                <a:gd name="T75" fmla="*/ 373 h 379"/>
                <a:gd name="T76" fmla="*/ 65 w 147"/>
                <a:gd name="T77" fmla="*/ 376 h 379"/>
                <a:gd name="T78" fmla="*/ 57 w 147"/>
                <a:gd name="T79" fmla="*/ 378 h 379"/>
                <a:gd name="T80" fmla="*/ 49 w 147"/>
                <a:gd name="T81"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7" h="379">
                  <a:moveTo>
                    <a:pt x="49" y="379"/>
                  </a:moveTo>
                  <a:lnTo>
                    <a:pt x="49" y="379"/>
                  </a:lnTo>
                  <a:lnTo>
                    <a:pt x="41" y="378"/>
                  </a:lnTo>
                  <a:lnTo>
                    <a:pt x="41" y="378"/>
                  </a:lnTo>
                  <a:lnTo>
                    <a:pt x="31" y="374"/>
                  </a:lnTo>
                  <a:lnTo>
                    <a:pt x="23" y="371"/>
                  </a:lnTo>
                  <a:lnTo>
                    <a:pt x="15" y="365"/>
                  </a:lnTo>
                  <a:lnTo>
                    <a:pt x="8" y="358"/>
                  </a:lnTo>
                  <a:lnTo>
                    <a:pt x="5" y="350"/>
                  </a:lnTo>
                  <a:lnTo>
                    <a:pt x="2" y="340"/>
                  </a:lnTo>
                  <a:lnTo>
                    <a:pt x="0" y="330"/>
                  </a:lnTo>
                  <a:lnTo>
                    <a:pt x="0" y="321"/>
                  </a:lnTo>
                  <a:lnTo>
                    <a:pt x="51" y="41"/>
                  </a:lnTo>
                  <a:lnTo>
                    <a:pt x="51" y="41"/>
                  </a:lnTo>
                  <a:lnTo>
                    <a:pt x="52" y="31"/>
                  </a:lnTo>
                  <a:lnTo>
                    <a:pt x="57" y="23"/>
                  </a:lnTo>
                  <a:lnTo>
                    <a:pt x="64" y="16"/>
                  </a:lnTo>
                  <a:lnTo>
                    <a:pt x="70" y="10"/>
                  </a:lnTo>
                  <a:lnTo>
                    <a:pt x="78" y="5"/>
                  </a:lnTo>
                  <a:lnTo>
                    <a:pt x="88" y="2"/>
                  </a:lnTo>
                  <a:lnTo>
                    <a:pt x="96" y="0"/>
                  </a:lnTo>
                  <a:lnTo>
                    <a:pt x="106" y="2"/>
                  </a:lnTo>
                  <a:lnTo>
                    <a:pt x="106" y="2"/>
                  </a:lnTo>
                  <a:lnTo>
                    <a:pt x="116" y="3"/>
                  </a:lnTo>
                  <a:lnTo>
                    <a:pt x="126" y="8"/>
                  </a:lnTo>
                  <a:lnTo>
                    <a:pt x="132" y="15"/>
                  </a:lnTo>
                  <a:lnTo>
                    <a:pt x="139" y="21"/>
                  </a:lnTo>
                  <a:lnTo>
                    <a:pt x="143" y="29"/>
                  </a:lnTo>
                  <a:lnTo>
                    <a:pt x="147" y="39"/>
                  </a:lnTo>
                  <a:lnTo>
                    <a:pt x="147" y="49"/>
                  </a:lnTo>
                  <a:lnTo>
                    <a:pt x="147" y="59"/>
                  </a:lnTo>
                  <a:lnTo>
                    <a:pt x="98" y="339"/>
                  </a:lnTo>
                  <a:lnTo>
                    <a:pt x="98" y="339"/>
                  </a:lnTo>
                  <a:lnTo>
                    <a:pt x="95" y="347"/>
                  </a:lnTo>
                  <a:lnTo>
                    <a:pt x="91" y="355"/>
                  </a:lnTo>
                  <a:lnTo>
                    <a:pt x="86" y="361"/>
                  </a:lnTo>
                  <a:lnTo>
                    <a:pt x="80" y="368"/>
                  </a:lnTo>
                  <a:lnTo>
                    <a:pt x="73" y="373"/>
                  </a:lnTo>
                  <a:lnTo>
                    <a:pt x="65" y="376"/>
                  </a:lnTo>
                  <a:lnTo>
                    <a:pt x="57" y="378"/>
                  </a:lnTo>
                  <a:lnTo>
                    <a:pt x="49" y="379"/>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39" name="Freeform 37">
              <a:extLst>
                <a:ext uri="{FF2B5EF4-FFF2-40B4-BE49-F238E27FC236}">
                  <a16:creationId xmlns:a16="http://schemas.microsoft.com/office/drawing/2014/main" id="{A550A9AE-345B-4102-B14D-BB5041597A04}"/>
                </a:ext>
              </a:extLst>
            </p:cNvPr>
            <p:cNvSpPr>
              <a:spLocks/>
            </p:cNvSpPr>
            <p:nvPr/>
          </p:nvSpPr>
          <p:spPr bwMode="auto">
            <a:xfrm>
              <a:off x="6655814" y="2777808"/>
              <a:ext cx="156355" cy="403119"/>
            </a:xfrm>
            <a:custGeom>
              <a:avLst/>
              <a:gdLst>
                <a:gd name="T0" fmla="*/ 49 w 147"/>
                <a:gd name="T1" fmla="*/ 379 h 379"/>
                <a:gd name="T2" fmla="*/ 49 w 147"/>
                <a:gd name="T3" fmla="*/ 379 h 379"/>
                <a:gd name="T4" fmla="*/ 41 w 147"/>
                <a:gd name="T5" fmla="*/ 378 h 379"/>
                <a:gd name="T6" fmla="*/ 41 w 147"/>
                <a:gd name="T7" fmla="*/ 378 h 379"/>
                <a:gd name="T8" fmla="*/ 31 w 147"/>
                <a:gd name="T9" fmla="*/ 374 h 379"/>
                <a:gd name="T10" fmla="*/ 23 w 147"/>
                <a:gd name="T11" fmla="*/ 371 h 379"/>
                <a:gd name="T12" fmla="*/ 15 w 147"/>
                <a:gd name="T13" fmla="*/ 365 h 379"/>
                <a:gd name="T14" fmla="*/ 8 w 147"/>
                <a:gd name="T15" fmla="*/ 358 h 379"/>
                <a:gd name="T16" fmla="*/ 5 w 147"/>
                <a:gd name="T17" fmla="*/ 350 h 379"/>
                <a:gd name="T18" fmla="*/ 2 w 147"/>
                <a:gd name="T19" fmla="*/ 340 h 379"/>
                <a:gd name="T20" fmla="*/ 0 w 147"/>
                <a:gd name="T21" fmla="*/ 330 h 379"/>
                <a:gd name="T22" fmla="*/ 0 w 147"/>
                <a:gd name="T23" fmla="*/ 321 h 379"/>
                <a:gd name="T24" fmla="*/ 51 w 147"/>
                <a:gd name="T25" fmla="*/ 41 h 379"/>
                <a:gd name="T26" fmla="*/ 51 w 147"/>
                <a:gd name="T27" fmla="*/ 41 h 379"/>
                <a:gd name="T28" fmla="*/ 52 w 147"/>
                <a:gd name="T29" fmla="*/ 31 h 379"/>
                <a:gd name="T30" fmla="*/ 57 w 147"/>
                <a:gd name="T31" fmla="*/ 23 h 379"/>
                <a:gd name="T32" fmla="*/ 64 w 147"/>
                <a:gd name="T33" fmla="*/ 16 h 379"/>
                <a:gd name="T34" fmla="*/ 70 w 147"/>
                <a:gd name="T35" fmla="*/ 10 h 379"/>
                <a:gd name="T36" fmla="*/ 78 w 147"/>
                <a:gd name="T37" fmla="*/ 5 h 379"/>
                <a:gd name="T38" fmla="*/ 88 w 147"/>
                <a:gd name="T39" fmla="*/ 2 h 379"/>
                <a:gd name="T40" fmla="*/ 96 w 147"/>
                <a:gd name="T41" fmla="*/ 0 h 379"/>
                <a:gd name="T42" fmla="*/ 106 w 147"/>
                <a:gd name="T43" fmla="*/ 2 h 379"/>
                <a:gd name="T44" fmla="*/ 106 w 147"/>
                <a:gd name="T45" fmla="*/ 2 h 379"/>
                <a:gd name="T46" fmla="*/ 116 w 147"/>
                <a:gd name="T47" fmla="*/ 3 h 379"/>
                <a:gd name="T48" fmla="*/ 126 w 147"/>
                <a:gd name="T49" fmla="*/ 8 h 379"/>
                <a:gd name="T50" fmla="*/ 132 w 147"/>
                <a:gd name="T51" fmla="*/ 15 h 379"/>
                <a:gd name="T52" fmla="*/ 139 w 147"/>
                <a:gd name="T53" fmla="*/ 21 h 379"/>
                <a:gd name="T54" fmla="*/ 143 w 147"/>
                <a:gd name="T55" fmla="*/ 29 h 379"/>
                <a:gd name="T56" fmla="*/ 147 w 147"/>
                <a:gd name="T57" fmla="*/ 39 h 379"/>
                <a:gd name="T58" fmla="*/ 147 w 147"/>
                <a:gd name="T59" fmla="*/ 49 h 379"/>
                <a:gd name="T60" fmla="*/ 147 w 147"/>
                <a:gd name="T61" fmla="*/ 59 h 379"/>
                <a:gd name="T62" fmla="*/ 98 w 147"/>
                <a:gd name="T63" fmla="*/ 339 h 379"/>
                <a:gd name="T64" fmla="*/ 98 w 147"/>
                <a:gd name="T65" fmla="*/ 339 h 379"/>
                <a:gd name="T66" fmla="*/ 95 w 147"/>
                <a:gd name="T67" fmla="*/ 347 h 379"/>
                <a:gd name="T68" fmla="*/ 91 w 147"/>
                <a:gd name="T69" fmla="*/ 355 h 379"/>
                <a:gd name="T70" fmla="*/ 86 w 147"/>
                <a:gd name="T71" fmla="*/ 361 h 379"/>
                <a:gd name="T72" fmla="*/ 80 w 147"/>
                <a:gd name="T73" fmla="*/ 368 h 379"/>
                <a:gd name="T74" fmla="*/ 73 w 147"/>
                <a:gd name="T75" fmla="*/ 373 h 379"/>
                <a:gd name="T76" fmla="*/ 65 w 147"/>
                <a:gd name="T77" fmla="*/ 376 h 379"/>
                <a:gd name="T78" fmla="*/ 57 w 147"/>
                <a:gd name="T79" fmla="*/ 378 h 379"/>
                <a:gd name="T80" fmla="*/ 49 w 147"/>
                <a:gd name="T81"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7" h="379">
                  <a:moveTo>
                    <a:pt x="49" y="379"/>
                  </a:moveTo>
                  <a:lnTo>
                    <a:pt x="49" y="379"/>
                  </a:lnTo>
                  <a:lnTo>
                    <a:pt x="41" y="378"/>
                  </a:lnTo>
                  <a:lnTo>
                    <a:pt x="41" y="378"/>
                  </a:lnTo>
                  <a:lnTo>
                    <a:pt x="31" y="374"/>
                  </a:lnTo>
                  <a:lnTo>
                    <a:pt x="23" y="371"/>
                  </a:lnTo>
                  <a:lnTo>
                    <a:pt x="15" y="365"/>
                  </a:lnTo>
                  <a:lnTo>
                    <a:pt x="8" y="358"/>
                  </a:lnTo>
                  <a:lnTo>
                    <a:pt x="5" y="350"/>
                  </a:lnTo>
                  <a:lnTo>
                    <a:pt x="2" y="340"/>
                  </a:lnTo>
                  <a:lnTo>
                    <a:pt x="0" y="330"/>
                  </a:lnTo>
                  <a:lnTo>
                    <a:pt x="0" y="321"/>
                  </a:lnTo>
                  <a:lnTo>
                    <a:pt x="51" y="41"/>
                  </a:lnTo>
                  <a:lnTo>
                    <a:pt x="51" y="41"/>
                  </a:lnTo>
                  <a:lnTo>
                    <a:pt x="52" y="31"/>
                  </a:lnTo>
                  <a:lnTo>
                    <a:pt x="57" y="23"/>
                  </a:lnTo>
                  <a:lnTo>
                    <a:pt x="64" y="16"/>
                  </a:lnTo>
                  <a:lnTo>
                    <a:pt x="70" y="10"/>
                  </a:lnTo>
                  <a:lnTo>
                    <a:pt x="78" y="5"/>
                  </a:lnTo>
                  <a:lnTo>
                    <a:pt x="88" y="2"/>
                  </a:lnTo>
                  <a:lnTo>
                    <a:pt x="96" y="0"/>
                  </a:lnTo>
                  <a:lnTo>
                    <a:pt x="106" y="2"/>
                  </a:lnTo>
                  <a:lnTo>
                    <a:pt x="106" y="2"/>
                  </a:lnTo>
                  <a:lnTo>
                    <a:pt x="116" y="3"/>
                  </a:lnTo>
                  <a:lnTo>
                    <a:pt x="126" y="8"/>
                  </a:lnTo>
                  <a:lnTo>
                    <a:pt x="132" y="15"/>
                  </a:lnTo>
                  <a:lnTo>
                    <a:pt x="139" y="21"/>
                  </a:lnTo>
                  <a:lnTo>
                    <a:pt x="143" y="29"/>
                  </a:lnTo>
                  <a:lnTo>
                    <a:pt x="147" y="39"/>
                  </a:lnTo>
                  <a:lnTo>
                    <a:pt x="147" y="49"/>
                  </a:lnTo>
                  <a:lnTo>
                    <a:pt x="147" y="59"/>
                  </a:lnTo>
                  <a:lnTo>
                    <a:pt x="98" y="339"/>
                  </a:lnTo>
                  <a:lnTo>
                    <a:pt x="98" y="339"/>
                  </a:lnTo>
                  <a:lnTo>
                    <a:pt x="95" y="347"/>
                  </a:lnTo>
                  <a:lnTo>
                    <a:pt x="91" y="355"/>
                  </a:lnTo>
                  <a:lnTo>
                    <a:pt x="86" y="361"/>
                  </a:lnTo>
                  <a:lnTo>
                    <a:pt x="80" y="368"/>
                  </a:lnTo>
                  <a:lnTo>
                    <a:pt x="73" y="373"/>
                  </a:lnTo>
                  <a:lnTo>
                    <a:pt x="65" y="376"/>
                  </a:lnTo>
                  <a:lnTo>
                    <a:pt x="57" y="378"/>
                  </a:lnTo>
                  <a:lnTo>
                    <a:pt x="49" y="37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0" name="Freeform 38">
              <a:extLst>
                <a:ext uri="{FF2B5EF4-FFF2-40B4-BE49-F238E27FC236}">
                  <a16:creationId xmlns:a16="http://schemas.microsoft.com/office/drawing/2014/main" id="{5AA3C237-E2E2-4389-B251-2EF2C4DD2B2F}"/>
                </a:ext>
              </a:extLst>
            </p:cNvPr>
            <p:cNvSpPr>
              <a:spLocks/>
            </p:cNvSpPr>
            <p:nvPr/>
          </p:nvSpPr>
          <p:spPr bwMode="auto">
            <a:xfrm>
              <a:off x="7209970" y="3082008"/>
              <a:ext cx="311646" cy="326537"/>
            </a:xfrm>
            <a:custGeom>
              <a:avLst/>
              <a:gdLst>
                <a:gd name="T0" fmla="*/ 153 w 293"/>
                <a:gd name="T1" fmla="*/ 219 h 307"/>
                <a:gd name="T2" fmla="*/ 85 w 293"/>
                <a:gd name="T3" fmla="*/ 290 h 307"/>
                <a:gd name="T4" fmla="*/ 85 w 293"/>
                <a:gd name="T5" fmla="*/ 290 h 307"/>
                <a:gd name="T6" fmla="*/ 77 w 293"/>
                <a:gd name="T7" fmla="*/ 298 h 307"/>
                <a:gd name="T8" fmla="*/ 68 w 293"/>
                <a:gd name="T9" fmla="*/ 303 h 307"/>
                <a:gd name="T10" fmla="*/ 59 w 293"/>
                <a:gd name="T11" fmla="*/ 305 h 307"/>
                <a:gd name="T12" fmla="*/ 49 w 293"/>
                <a:gd name="T13" fmla="*/ 307 h 307"/>
                <a:gd name="T14" fmla="*/ 49 w 293"/>
                <a:gd name="T15" fmla="*/ 307 h 307"/>
                <a:gd name="T16" fmla="*/ 41 w 293"/>
                <a:gd name="T17" fmla="*/ 305 h 307"/>
                <a:gd name="T18" fmla="*/ 31 w 293"/>
                <a:gd name="T19" fmla="*/ 303 h 307"/>
                <a:gd name="T20" fmla="*/ 23 w 293"/>
                <a:gd name="T21" fmla="*/ 298 h 307"/>
                <a:gd name="T22" fmla="*/ 16 w 293"/>
                <a:gd name="T23" fmla="*/ 293 h 307"/>
                <a:gd name="T24" fmla="*/ 16 w 293"/>
                <a:gd name="T25" fmla="*/ 293 h 307"/>
                <a:gd name="T26" fmla="*/ 10 w 293"/>
                <a:gd name="T27" fmla="*/ 285 h 307"/>
                <a:gd name="T28" fmla="*/ 5 w 293"/>
                <a:gd name="T29" fmla="*/ 277 h 307"/>
                <a:gd name="T30" fmla="*/ 2 w 293"/>
                <a:gd name="T31" fmla="*/ 269 h 307"/>
                <a:gd name="T32" fmla="*/ 0 w 293"/>
                <a:gd name="T33" fmla="*/ 259 h 307"/>
                <a:gd name="T34" fmla="*/ 0 w 293"/>
                <a:gd name="T35" fmla="*/ 250 h 307"/>
                <a:gd name="T36" fmla="*/ 3 w 293"/>
                <a:gd name="T37" fmla="*/ 241 h 307"/>
                <a:gd name="T38" fmla="*/ 8 w 293"/>
                <a:gd name="T39" fmla="*/ 232 h 307"/>
                <a:gd name="T40" fmla="*/ 13 w 293"/>
                <a:gd name="T41" fmla="*/ 223 h 307"/>
                <a:gd name="T42" fmla="*/ 210 w 293"/>
                <a:gd name="T43" fmla="*/ 15 h 307"/>
                <a:gd name="T44" fmla="*/ 210 w 293"/>
                <a:gd name="T45" fmla="*/ 15 h 307"/>
                <a:gd name="T46" fmla="*/ 217 w 293"/>
                <a:gd name="T47" fmla="*/ 9 h 307"/>
                <a:gd name="T48" fmla="*/ 225 w 293"/>
                <a:gd name="T49" fmla="*/ 4 h 307"/>
                <a:gd name="T50" fmla="*/ 234 w 293"/>
                <a:gd name="T51" fmla="*/ 0 h 307"/>
                <a:gd name="T52" fmla="*/ 243 w 293"/>
                <a:gd name="T53" fmla="*/ 0 h 307"/>
                <a:gd name="T54" fmla="*/ 252 w 293"/>
                <a:gd name="T55" fmla="*/ 0 h 307"/>
                <a:gd name="T56" fmla="*/ 262 w 293"/>
                <a:gd name="T57" fmla="*/ 2 h 307"/>
                <a:gd name="T58" fmla="*/ 270 w 293"/>
                <a:gd name="T59" fmla="*/ 7 h 307"/>
                <a:gd name="T60" fmla="*/ 278 w 293"/>
                <a:gd name="T61" fmla="*/ 14 h 307"/>
                <a:gd name="T62" fmla="*/ 278 w 293"/>
                <a:gd name="T63" fmla="*/ 14 h 307"/>
                <a:gd name="T64" fmla="*/ 285 w 293"/>
                <a:gd name="T65" fmla="*/ 20 h 307"/>
                <a:gd name="T66" fmla="*/ 290 w 293"/>
                <a:gd name="T67" fmla="*/ 28 h 307"/>
                <a:gd name="T68" fmla="*/ 293 w 293"/>
                <a:gd name="T69" fmla="*/ 38 h 307"/>
                <a:gd name="T70" fmla="*/ 293 w 293"/>
                <a:gd name="T71" fmla="*/ 48 h 307"/>
                <a:gd name="T72" fmla="*/ 293 w 293"/>
                <a:gd name="T73" fmla="*/ 56 h 307"/>
                <a:gd name="T74" fmla="*/ 291 w 293"/>
                <a:gd name="T75" fmla="*/ 66 h 307"/>
                <a:gd name="T76" fmla="*/ 287 w 293"/>
                <a:gd name="T77" fmla="*/ 74 h 307"/>
                <a:gd name="T78" fmla="*/ 280 w 293"/>
                <a:gd name="T79" fmla="*/ 82 h 307"/>
                <a:gd name="T80" fmla="*/ 153 w 293"/>
                <a:gd name="T81" fmla="*/ 21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3" h="307">
                  <a:moveTo>
                    <a:pt x="153" y="219"/>
                  </a:moveTo>
                  <a:lnTo>
                    <a:pt x="85" y="290"/>
                  </a:lnTo>
                  <a:lnTo>
                    <a:pt x="85" y="290"/>
                  </a:lnTo>
                  <a:lnTo>
                    <a:pt x="77" y="298"/>
                  </a:lnTo>
                  <a:lnTo>
                    <a:pt x="68" y="303"/>
                  </a:lnTo>
                  <a:lnTo>
                    <a:pt x="59" y="305"/>
                  </a:lnTo>
                  <a:lnTo>
                    <a:pt x="49" y="307"/>
                  </a:lnTo>
                  <a:lnTo>
                    <a:pt x="49" y="307"/>
                  </a:lnTo>
                  <a:lnTo>
                    <a:pt x="41" y="305"/>
                  </a:lnTo>
                  <a:lnTo>
                    <a:pt x="31" y="303"/>
                  </a:lnTo>
                  <a:lnTo>
                    <a:pt x="23" y="298"/>
                  </a:lnTo>
                  <a:lnTo>
                    <a:pt x="16" y="293"/>
                  </a:lnTo>
                  <a:lnTo>
                    <a:pt x="16" y="293"/>
                  </a:lnTo>
                  <a:lnTo>
                    <a:pt x="10" y="285"/>
                  </a:lnTo>
                  <a:lnTo>
                    <a:pt x="5" y="277"/>
                  </a:lnTo>
                  <a:lnTo>
                    <a:pt x="2" y="269"/>
                  </a:lnTo>
                  <a:lnTo>
                    <a:pt x="0" y="259"/>
                  </a:lnTo>
                  <a:lnTo>
                    <a:pt x="0" y="250"/>
                  </a:lnTo>
                  <a:lnTo>
                    <a:pt x="3" y="241"/>
                  </a:lnTo>
                  <a:lnTo>
                    <a:pt x="8" y="232"/>
                  </a:lnTo>
                  <a:lnTo>
                    <a:pt x="13" y="223"/>
                  </a:lnTo>
                  <a:lnTo>
                    <a:pt x="210" y="15"/>
                  </a:lnTo>
                  <a:lnTo>
                    <a:pt x="210" y="15"/>
                  </a:lnTo>
                  <a:lnTo>
                    <a:pt x="217" y="9"/>
                  </a:lnTo>
                  <a:lnTo>
                    <a:pt x="225" y="4"/>
                  </a:lnTo>
                  <a:lnTo>
                    <a:pt x="234" y="0"/>
                  </a:lnTo>
                  <a:lnTo>
                    <a:pt x="243" y="0"/>
                  </a:lnTo>
                  <a:lnTo>
                    <a:pt x="252" y="0"/>
                  </a:lnTo>
                  <a:lnTo>
                    <a:pt x="262" y="2"/>
                  </a:lnTo>
                  <a:lnTo>
                    <a:pt x="270" y="7"/>
                  </a:lnTo>
                  <a:lnTo>
                    <a:pt x="278" y="14"/>
                  </a:lnTo>
                  <a:lnTo>
                    <a:pt x="278" y="14"/>
                  </a:lnTo>
                  <a:lnTo>
                    <a:pt x="285" y="20"/>
                  </a:lnTo>
                  <a:lnTo>
                    <a:pt x="290" y="28"/>
                  </a:lnTo>
                  <a:lnTo>
                    <a:pt x="293" y="38"/>
                  </a:lnTo>
                  <a:lnTo>
                    <a:pt x="293" y="48"/>
                  </a:lnTo>
                  <a:lnTo>
                    <a:pt x="293" y="56"/>
                  </a:lnTo>
                  <a:lnTo>
                    <a:pt x="291" y="66"/>
                  </a:lnTo>
                  <a:lnTo>
                    <a:pt x="287" y="74"/>
                  </a:lnTo>
                  <a:lnTo>
                    <a:pt x="280" y="82"/>
                  </a:lnTo>
                  <a:lnTo>
                    <a:pt x="153" y="219"/>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1" name="Freeform 39">
              <a:extLst>
                <a:ext uri="{FF2B5EF4-FFF2-40B4-BE49-F238E27FC236}">
                  <a16:creationId xmlns:a16="http://schemas.microsoft.com/office/drawing/2014/main" id="{798CF9FD-6CAF-4EFD-89BC-D37BD8E788CB}"/>
                </a:ext>
              </a:extLst>
            </p:cNvPr>
            <p:cNvSpPr>
              <a:spLocks/>
            </p:cNvSpPr>
            <p:nvPr/>
          </p:nvSpPr>
          <p:spPr bwMode="auto">
            <a:xfrm>
              <a:off x="7209970" y="3082008"/>
              <a:ext cx="311646" cy="326537"/>
            </a:xfrm>
            <a:custGeom>
              <a:avLst/>
              <a:gdLst>
                <a:gd name="T0" fmla="*/ 153 w 293"/>
                <a:gd name="T1" fmla="*/ 219 h 307"/>
                <a:gd name="T2" fmla="*/ 85 w 293"/>
                <a:gd name="T3" fmla="*/ 290 h 307"/>
                <a:gd name="T4" fmla="*/ 85 w 293"/>
                <a:gd name="T5" fmla="*/ 290 h 307"/>
                <a:gd name="T6" fmla="*/ 77 w 293"/>
                <a:gd name="T7" fmla="*/ 298 h 307"/>
                <a:gd name="T8" fmla="*/ 68 w 293"/>
                <a:gd name="T9" fmla="*/ 303 h 307"/>
                <a:gd name="T10" fmla="*/ 59 w 293"/>
                <a:gd name="T11" fmla="*/ 305 h 307"/>
                <a:gd name="T12" fmla="*/ 49 w 293"/>
                <a:gd name="T13" fmla="*/ 307 h 307"/>
                <a:gd name="T14" fmla="*/ 49 w 293"/>
                <a:gd name="T15" fmla="*/ 307 h 307"/>
                <a:gd name="T16" fmla="*/ 41 w 293"/>
                <a:gd name="T17" fmla="*/ 305 h 307"/>
                <a:gd name="T18" fmla="*/ 31 w 293"/>
                <a:gd name="T19" fmla="*/ 303 h 307"/>
                <a:gd name="T20" fmla="*/ 23 w 293"/>
                <a:gd name="T21" fmla="*/ 298 h 307"/>
                <a:gd name="T22" fmla="*/ 16 w 293"/>
                <a:gd name="T23" fmla="*/ 293 h 307"/>
                <a:gd name="T24" fmla="*/ 16 w 293"/>
                <a:gd name="T25" fmla="*/ 293 h 307"/>
                <a:gd name="T26" fmla="*/ 10 w 293"/>
                <a:gd name="T27" fmla="*/ 285 h 307"/>
                <a:gd name="T28" fmla="*/ 5 w 293"/>
                <a:gd name="T29" fmla="*/ 277 h 307"/>
                <a:gd name="T30" fmla="*/ 2 w 293"/>
                <a:gd name="T31" fmla="*/ 269 h 307"/>
                <a:gd name="T32" fmla="*/ 0 w 293"/>
                <a:gd name="T33" fmla="*/ 259 h 307"/>
                <a:gd name="T34" fmla="*/ 0 w 293"/>
                <a:gd name="T35" fmla="*/ 250 h 307"/>
                <a:gd name="T36" fmla="*/ 3 w 293"/>
                <a:gd name="T37" fmla="*/ 241 h 307"/>
                <a:gd name="T38" fmla="*/ 8 w 293"/>
                <a:gd name="T39" fmla="*/ 232 h 307"/>
                <a:gd name="T40" fmla="*/ 13 w 293"/>
                <a:gd name="T41" fmla="*/ 223 h 307"/>
                <a:gd name="T42" fmla="*/ 210 w 293"/>
                <a:gd name="T43" fmla="*/ 15 h 307"/>
                <a:gd name="T44" fmla="*/ 210 w 293"/>
                <a:gd name="T45" fmla="*/ 15 h 307"/>
                <a:gd name="T46" fmla="*/ 217 w 293"/>
                <a:gd name="T47" fmla="*/ 9 h 307"/>
                <a:gd name="T48" fmla="*/ 225 w 293"/>
                <a:gd name="T49" fmla="*/ 4 h 307"/>
                <a:gd name="T50" fmla="*/ 234 w 293"/>
                <a:gd name="T51" fmla="*/ 0 h 307"/>
                <a:gd name="T52" fmla="*/ 243 w 293"/>
                <a:gd name="T53" fmla="*/ 0 h 307"/>
                <a:gd name="T54" fmla="*/ 252 w 293"/>
                <a:gd name="T55" fmla="*/ 0 h 307"/>
                <a:gd name="T56" fmla="*/ 262 w 293"/>
                <a:gd name="T57" fmla="*/ 2 h 307"/>
                <a:gd name="T58" fmla="*/ 270 w 293"/>
                <a:gd name="T59" fmla="*/ 7 h 307"/>
                <a:gd name="T60" fmla="*/ 278 w 293"/>
                <a:gd name="T61" fmla="*/ 14 h 307"/>
                <a:gd name="T62" fmla="*/ 278 w 293"/>
                <a:gd name="T63" fmla="*/ 14 h 307"/>
                <a:gd name="T64" fmla="*/ 285 w 293"/>
                <a:gd name="T65" fmla="*/ 20 h 307"/>
                <a:gd name="T66" fmla="*/ 290 w 293"/>
                <a:gd name="T67" fmla="*/ 28 h 307"/>
                <a:gd name="T68" fmla="*/ 293 w 293"/>
                <a:gd name="T69" fmla="*/ 38 h 307"/>
                <a:gd name="T70" fmla="*/ 293 w 293"/>
                <a:gd name="T71" fmla="*/ 48 h 307"/>
                <a:gd name="T72" fmla="*/ 293 w 293"/>
                <a:gd name="T73" fmla="*/ 56 h 307"/>
                <a:gd name="T74" fmla="*/ 291 w 293"/>
                <a:gd name="T75" fmla="*/ 66 h 307"/>
                <a:gd name="T76" fmla="*/ 287 w 293"/>
                <a:gd name="T77" fmla="*/ 74 h 307"/>
                <a:gd name="T78" fmla="*/ 280 w 293"/>
                <a:gd name="T79" fmla="*/ 82 h 307"/>
                <a:gd name="T80" fmla="*/ 153 w 293"/>
                <a:gd name="T81" fmla="*/ 21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3" h="307">
                  <a:moveTo>
                    <a:pt x="153" y="219"/>
                  </a:moveTo>
                  <a:lnTo>
                    <a:pt x="85" y="290"/>
                  </a:lnTo>
                  <a:lnTo>
                    <a:pt x="85" y="290"/>
                  </a:lnTo>
                  <a:lnTo>
                    <a:pt x="77" y="298"/>
                  </a:lnTo>
                  <a:lnTo>
                    <a:pt x="68" y="303"/>
                  </a:lnTo>
                  <a:lnTo>
                    <a:pt x="59" y="305"/>
                  </a:lnTo>
                  <a:lnTo>
                    <a:pt x="49" y="307"/>
                  </a:lnTo>
                  <a:lnTo>
                    <a:pt x="49" y="307"/>
                  </a:lnTo>
                  <a:lnTo>
                    <a:pt x="41" y="305"/>
                  </a:lnTo>
                  <a:lnTo>
                    <a:pt x="31" y="303"/>
                  </a:lnTo>
                  <a:lnTo>
                    <a:pt x="23" y="298"/>
                  </a:lnTo>
                  <a:lnTo>
                    <a:pt x="16" y="293"/>
                  </a:lnTo>
                  <a:lnTo>
                    <a:pt x="16" y="293"/>
                  </a:lnTo>
                  <a:lnTo>
                    <a:pt x="10" y="285"/>
                  </a:lnTo>
                  <a:lnTo>
                    <a:pt x="5" y="277"/>
                  </a:lnTo>
                  <a:lnTo>
                    <a:pt x="2" y="269"/>
                  </a:lnTo>
                  <a:lnTo>
                    <a:pt x="0" y="259"/>
                  </a:lnTo>
                  <a:lnTo>
                    <a:pt x="0" y="250"/>
                  </a:lnTo>
                  <a:lnTo>
                    <a:pt x="3" y="241"/>
                  </a:lnTo>
                  <a:lnTo>
                    <a:pt x="8" y="232"/>
                  </a:lnTo>
                  <a:lnTo>
                    <a:pt x="13" y="223"/>
                  </a:lnTo>
                  <a:lnTo>
                    <a:pt x="210" y="15"/>
                  </a:lnTo>
                  <a:lnTo>
                    <a:pt x="210" y="15"/>
                  </a:lnTo>
                  <a:lnTo>
                    <a:pt x="217" y="9"/>
                  </a:lnTo>
                  <a:lnTo>
                    <a:pt x="225" y="4"/>
                  </a:lnTo>
                  <a:lnTo>
                    <a:pt x="234" y="0"/>
                  </a:lnTo>
                  <a:lnTo>
                    <a:pt x="243" y="0"/>
                  </a:lnTo>
                  <a:lnTo>
                    <a:pt x="252" y="0"/>
                  </a:lnTo>
                  <a:lnTo>
                    <a:pt x="262" y="2"/>
                  </a:lnTo>
                  <a:lnTo>
                    <a:pt x="270" y="7"/>
                  </a:lnTo>
                  <a:lnTo>
                    <a:pt x="278" y="14"/>
                  </a:lnTo>
                  <a:lnTo>
                    <a:pt x="278" y="14"/>
                  </a:lnTo>
                  <a:lnTo>
                    <a:pt x="285" y="20"/>
                  </a:lnTo>
                  <a:lnTo>
                    <a:pt x="290" y="28"/>
                  </a:lnTo>
                  <a:lnTo>
                    <a:pt x="293" y="38"/>
                  </a:lnTo>
                  <a:lnTo>
                    <a:pt x="293" y="48"/>
                  </a:lnTo>
                  <a:lnTo>
                    <a:pt x="293" y="56"/>
                  </a:lnTo>
                  <a:lnTo>
                    <a:pt x="291" y="66"/>
                  </a:lnTo>
                  <a:lnTo>
                    <a:pt x="287" y="74"/>
                  </a:lnTo>
                  <a:lnTo>
                    <a:pt x="280" y="82"/>
                  </a:lnTo>
                  <a:lnTo>
                    <a:pt x="153" y="2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2" name="Freeform 40">
              <a:extLst>
                <a:ext uri="{FF2B5EF4-FFF2-40B4-BE49-F238E27FC236}">
                  <a16:creationId xmlns:a16="http://schemas.microsoft.com/office/drawing/2014/main" id="{EA1C0165-4882-48A8-80D7-39D5EC738C97}"/>
                </a:ext>
              </a:extLst>
            </p:cNvPr>
            <p:cNvSpPr>
              <a:spLocks/>
            </p:cNvSpPr>
            <p:nvPr/>
          </p:nvSpPr>
          <p:spPr bwMode="auto">
            <a:xfrm>
              <a:off x="7566288" y="3803155"/>
              <a:ext cx="399928" cy="132955"/>
            </a:xfrm>
            <a:custGeom>
              <a:avLst/>
              <a:gdLst>
                <a:gd name="T0" fmla="*/ 49 w 376"/>
                <a:gd name="T1" fmla="*/ 125 h 125"/>
                <a:gd name="T2" fmla="*/ 49 w 376"/>
                <a:gd name="T3" fmla="*/ 125 h 125"/>
                <a:gd name="T4" fmla="*/ 39 w 376"/>
                <a:gd name="T5" fmla="*/ 123 h 125"/>
                <a:gd name="T6" fmla="*/ 31 w 376"/>
                <a:gd name="T7" fmla="*/ 122 h 125"/>
                <a:gd name="T8" fmla="*/ 23 w 376"/>
                <a:gd name="T9" fmla="*/ 117 h 125"/>
                <a:gd name="T10" fmla="*/ 17 w 376"/>
                <a:gd name="T11" fmla="*/ 112 h 125"/>
                <a:gd name="T12" fmla="*/ 10 w 376"/>
                <a:gd name="T13" fmla="*/ 105 h 125"/>
                <a:gd name="T14" fmla="*/ 5 w 376"/>
                <a:gd name="T15" fmla="*/ 99 h 125"/>
                <a:gd name="T16" fmla="*/ 2 w 376"/>
                <a:gd name="T17" fmla="*/ 89 h 125"/>
                <a:gd name="T18" fmla="*/ 0 w 376"/>
                <a:gd name="T19" fmla="*/ 81 h 125"/>
                <a:gd name="T20" fmla="*/ 0 w 376"/>
                <a:gd name="T21" fmla="*/ 81 h 125"/>
                <a:gd name="T22" fmla="*/ 0 w 376"/>
                <a:gd name="T23" fmla="*/ 71 h 125"/>
                <a:gd name="T24" fmla="*/ 2 w 376"/>
                <a:gd name="T25" fmla="*/ 61 h 125"/>
                <a:gd name="T26" fmla="*/ 7 w 376"/>
                <a:gd name="T27" fmla="*/ 53 h 125"/>
                <a:gd name="T28" fmla="*/ 12 w 376"/>
                <a:gd name="T29" fmla="*/ 45 h 125"/>
                <a:gd name="T30" fmla="*/ 18 w 376"/>
                <a:gd name="T31" fmla="*/ 39 h 125"/>
                <a:gd name="T32" fmla="*/ 26 w 376"/>
                <a:gd name="T33" fmla="*/ 34 h 125"/>
                <a:gd name="T34" fmla="*/ 35 w 376"/>
                <a:gd name="T35" fmla="*/ 29 h 125"/>
                <a:gd name="T36" fmla="*/ 44 w 376"/>
                <a:gd name="T37" fmla="*/ 27 h 125"/>
                <a:gd name="T38" fmla="*/ 323 w 376"/>
                <a:gd name="T39" fmla="*/ 0 h 125"/>
                <a:gd name="T40" fmla="*/ 323 w 376"/>
                <a:gd name="T41" fmla="*/ 0 h 125"/>
                <a:gd name="T42" fmla="*/ 332 w 376"/>
                <a:gd name="T43" fmla="*/ 0 h 125"/>
                <a:gd name="T44" fmla="*/ 342 w 376"/>
                <a:gd name="T45" fmla="*/ 3 h 125"/>
                <a:gd name="T46" fmla="*/ 350 w 376"/>
                <a:gd name="T47" fmla="*/ 6 h 125"/>
                <a:gd name="T48" fmla="*/ 358 w 376"/>
                <a:gd name="T49" fmla="*/ 11 h 125"/>
                <a:gd name="T50" fmla="*/ 365 w 376"/>
                <a:gd name="T51" fmla="*/ 18 h 125"/>
                <a:gd name="T52" fmla="*/ 370 w 376"/>
                <a:gd name="T53" fmla="*/ 26 h 125"/>
                <a:gd name="T54" fmla="*/ 373 w 376"/>
                <a:gd name="T55" fmla="*/ 34 h 125"/>
                <a:gd name="T56" fmla="*/ 376 w 376"/>
                <a:gd name="T57" fmla="*/ 44 h 125"/>
                <a:gd name="T58" fmla="*/ 376 w 376"/>
                <a:gd name="T59" fmla="*/ 44 h 125"/>
                <a:gd name="T60" fmla="*/ 376 w 376"/>
                <a:gd name="T61" fmla="*/ 53 h 125"/>
                <a:gd name="T62" fmla="*/ 373 w 376"/>
                <a:gd name="T63" fmla="*/ 63 h 125"/>
                <a:gd name="T64" fmla="*/ 370 w 376"/>
                <a:gd name="T65" fmla="*/ 71 h 125"/>
                <a:gd name="T66" fmla="*/ 365 w 376"/>
                <a:gd name="T67" fmla="*/ 79 h 125"/>
                <a:gd name="T68" fmla="*/ 358 w 376"/>
                <a:gd name="T69" fmla="*/ 86 h 125"/>
                <a:gd name="T70" fmla="*/ 350 w 376"/>
                <a:gd name="T71" fmla="*/ 92 h 125"/>
                <a:gd name="T72" fmla="*/ 342 w 376"/>
                <a:gd name="T73" fmla="*/ 96 h 125"/>
                <a:gd name="T74" fmla="*/ 332 w 376"/>
                <a:gd name="T75" fmla="*/ 97 h 125"/>
                <a:gd name="T76" fmla="*/ 54 w 376"/>
                <a:gd name="T77" fmla="*/ 125 h 125"/>
                <a:gd name="T78" fmla="*/ 54 w 376"/>
                <a:gd name="T79" fmla="*/ 125 h 125"/>
                <a:gd name="T80" fmla="*/ 49 w 376"/>
                <a:gd name="T8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6" h="125">
                  <a:moveTo>
                    <a:pt x="49" y="125"/>
                  </a:moveTo>
                  <a:lnTo>
                    <a:pt x="49" y="125"/>
                  </a:lnTo>
                  <a:lnTo>
                    <a:pt x="39" y="123"/>
                  </a:lnTo>
                  <a:lnTo>
                    <a:pt x="31" y="122"/>
                  </a:lnTo>
                  <a:lnTo>
                    <a:pt x="23" y="117"/>
                  </a:lnTo>
                  <a:lnTo>
                    <a:pt x="17" y="112"/>
                  </a:lnTo>
                  <a:lnTo>
                    <a:pt x="10" y="105"/>
                  </a:lnTo>
                  <a:lnTo>
                    <a:pt x="5" y="99"/>
                  </a:lnTo>
                  <a:lnTo>
                    <a:pt x="2" y="89"/>
                  </a:lnTo>
                  <a:lnTo>
                    <a:pt x="0" y="81"/>
                  </a:lnTo>
                  <a:lnTo>
                    <a:pt x="0" y="81"/>
                  </a:lnTo>
                  <a:lnTo>
                    <a:pt x="0" y="71"/>
                  </a:lnTo>
                  <a:lnTo>
                    <a:pt x="2" y="61"/>
                  </a:lnTo>
                  <a:lnTo>
                    <a:pt x="7" y="53"/>
                  </a:lnTo>
                  <a:lnTo>
                    <a:pt x="12" y="45"/>
                  </a:lnTo>
                  <a:lnTo>
                    <a:pt x="18" y="39"/>
                  </a:lnTo>
                  <a:lnTo>
                    <a:pt x="26" y="34"/>
                  </a:lnTo>
                  <a:lnTo>
                    <a:pt x="35" y="29"/>
                  </a:lnTo>
                  <a:lnTo>
                    <a:pt x="44" y="27"/>
                  </a:lnTo>
                  <a:lnTo>
                    <a:pt x="323" y="0"/>
                  </a:lnTo>
                  <a:lnTo>
                    <a:pt x="323" y="0"/>
                  </a:lnTo>
                  <a:lnTo>
                    <a:pt x="332" y="0"/>
                  </a:lnTo>
                  <a:lnTo>
                    <a:pt x="342" y="3"/>
                  </a:lnTo>
                  <a:lnTo>
                    <a:pt x="350" y="6"/>
                  </a:lnTo>
                  <a:lnTo>
                    <a:pt x="358" y="11"/>
                  </a:lnTo>
                  <a:lnTo>
                    <a:pt x="365" y="18"/>
                  </a:lnTo>
                  <a:lnTo>
                    <a:pt x="370" y="26"/>
                  </a:lnTo>
                  <a:lnTo>
                    <a:pt x="373" y="34"/>
                  </a:lnTo>
                  <a:lnTo>
                    <a:pt x="376" y="44"/>
                  </a:lnTo>
                  <a:lnTo>
                    <a:pt x="376" y="44"/>
                  </a:lnTo>
                  <a:lnTo>
                    <a:pt x="376" y="53"/>
                  </a:lnTo>
                  <a:lnTo>
                    <a:pt x="373" y="63"/>
                  </a:lnTo>
                  <a:lnTo>
                    <a:pt x="370" y="71"/>
                  </a:lnTo>
                  <a:lnTo>
                    <a:pt x="365" y="79"/>
                  </a:lnTo>
                  <a:lnTo>
                    <a:pt x="358" y="86"/>
                  </a:lnTo>
                  <a:lnTo>
                    <a:pt x="350" y="92"/>
                  </a:lnTo>
                  <a:lnTo>
                    <a:pt x="342" y="96"/>
                  </a:lnTo>
                  <a:lnTo>
                    <a:pt x="332" y="97"/>
                  </a:lnTo>
                  <a:lnTo>
                    <a:pt x="54" y="125"/>
                  </a:lnTo>
                  <a:lnTo>
                    <a:pt x="54" y="125"/>
                  </a:lnTo>
                  <a:lnTo>
                    <a:pt x="49" y="125"/>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3" name="Freeform 41">
              <a:extLst>
                <a:ext uri="{FF2B5EF4-FFF2-40B4-BE49-F238E27FC236}">
                  <a16:creationId xmlns:a16="http://schemas.microsoft.com/office/drawing/2014/main" id="{6674FF74-6F86-4ABE-8D82-07462852A87F}"/>
                </a:ext>
              </a:extLst>
            </p:cNvPr>
            <p:cNvSpPr>
              <a:spLocks/>
            </p:cNvSpPr>
            <p:nvPr/>
          </p:nvSpPr>
          <p:spPr bwMode="auto">
            <a:xfrm>
              <a:off x="7566288" y="3803155"/>
              <a:ext cx="399928" cy="132955"/>
            </a:xfrm>
            <a:custGeom>
              <a:avLst/>
              <a:gdLst>
                <a:gd name="T0" fmla="*/ 49 w 376"/>
                <a:gd name="T1" fmla="*/ 125 h 125"/>
                <a:gd name="T2" fmla="*/ 49 w 376"/>
                <a:gd name="T3" fmla="*/ 125 h 125"/>
                <a:gd name="T4" fmla="*/ 39 w 376"/>
                <a:gd name="T5" fmla="*/ 123 h 125"/>
                <a:gd name="T6" fmla="*/ 31 w 376"/>
                <a:gd name="T7" fmla="*/ 122 h 125"/>
                <a:gd name="T8" fmla="*/ 23 w 376"/>
                <a:gd name="T9" fmla="*/ 117 h 125"/>
                <a:gd name="T10" fmla="*/ 17 w 376"/>
                <a:gd name="T11" fmla="*/ 112 h 125"/>
                <a:gd name="T12" fmla="*/ 10 w 376"/>
                <a:gd name="T13" fmla="*/ 105 h 125"/>
                <a:gd name="T14" fmla="*/ 5 w 376"/>
                <a:gd name="T15" fmla="*/ 99 h 125"/>
                <a:gd name="T16" fmla="*/ 2 w 376"/>
                <a:gd name="T17" fmla="*/ 89 h 125"/>
                <a:gd name="T18" fmla="*/ 0 w 376"/>
                <a:gd name="T19" fmla="*/ 81 h 125"/>
                <a:gd name="T20" fmla="*/ 0 w 376"/>
                <a:gd name="T21" fmla="*/ 81 h 125"/>
                <a:gd name="T22" fmla="*/ 0 w 376"/>
                <a:gd name="T23" fmla="*/ 71 h 125"/>
                <a:gd name="T24" fmla="*/ 2 w 376"/>
                <a:gd name="T25" fmla="*/ 61 h 125"/>
                <a:gd name="T26" fmla="*/ 7 w 376"/>
                <a:gd name="T27" fmla="*/ 53 h 125"/>
                <a:gd name="T28" fmla="*/ 12 w 376"/>
                <a:gd name="T29" fmla="*/ 45 h 125"/>
                <a:gd name="T30" fmla="*/ 18 w 376"/>
                <a:gd name="T31" fmla="*/ 39 h 125"/>
                <a:gd name="T32" fmla="*/ 26 w 376"/>
                <a:gd name="T33" fmla="*/ 34 h 125"/>
                <a:gd name="T34" fmla="*/ 35 w 376"/>
                <a:gd name="T35" fmla="*/ 29 h 125"/>
                <a:gd name="T36" fmla="*/ 44 w 376"/>
                <a:gd name="T37" fmla="*/ 27 h 125"/>
                <a:gd name="T38" fmla="*/ 323 w 376"/>
                <a:gd name="T39" fmla="*/ 0 h 125"/>
                <a:gd name="T40" fmla="*/ 323 w 376"/>
                <a:gd name="T41" fmla="*/ 0 h 125"/>
                <a:gd name="T42" fmla="*/ 332 w 376"/>
                <a:gd name="T43" fmla="*/ 0 h 125"/>
                <a:gd name="T44" fmla="*/ 342 w 376"/>
                <a:gd name="T45" fmla="*/ 3 h 125"/>
                <a:gd name="T46" fmla="*/ 350 w 376"/>
                <a:gd name="T47" fmla="*/ 6 h 125"/>
                <a:gd name="T48" fmla="*/ 358 w 376"/>
                <a:gd name="T49" fmla="*/ 11 h 125"/>
                <a:gd name="T50" fmla="*/ 365 w 376"/>
                <a:gd name="T51" fmla="*/ 18 h 125"/>
                <a:gd name="T52" fmla="*/ 370 w 376"/>
                <a:gd name="T53" fmla="*/ 26 h 125"/>
                <a:gd name="T54" fmla="*/ 373 w 376"/>
                <a:gd name="T55" fmla="*/ 34 h 125"/>
                <a:gd name="T56" fmla="*/ 376 w 376"/>
                <a:gd name="T57" fmla="*/ 44 h 125"/>
                <a:gd name="T58" fmla="*/ 376 w 376"/>
                <a:gd name="T59" fmla="*/ 44 h 125"/>
                <a:gd name="T60" fmla="*/ 376 w 376"/>
                <a:gd name="T61" fmla="*/ 53 h 125"/>
                <a:gd name="T62" fmla="*/ 373 w 376"/>
                <a:gd name="T63" fmla="*/ 63 h 125"/>
                <a:gd name="T64" fmla="*/ 370 w 376"/>
                <a:gd name="T65" fmla="*/ 71 h 125"/>
                <a:gd name="T66" fmla="*/ 365 w 376"/>
                <a:gd name="T67" fmla="*/ 79 h 125"/>
                <a:gd name="T68" fmla="*/ 358 w 376"/>
                <a:gd name="T69" fmla="*/ 86 h 125"/>
                <a:gd name="T70" fmla="*/ 350 w 376"/>
                <a:gd name="T71" fmla="*/ 92 h 125"/>
                <a:gd name="T72" fmla="*/ 342 w 376"/>
                <a:gd name="T73" fmla="*/ 96 h 125"/>
                <a:gd name="T74" fmla="*/ 332 w 376"/>
                <a:gd name="T75" fmla="*/ 97 h 125"/>
                <a:gd name="T76" fmla="*/ 54 w 376"/>
                <a:gd name="T77" fmla="*/ 125 h 125"/>
                <a:gd name="T78" fmla="*/ 54 w 376"/>
                <a:gd name="T79" fmla="*/ 125 h 125"/>
                <a:gd name="T80" fmla="*/ 49 w 376"/>
                <a:gd name="T8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6" h="125">
                  <a:moveTo>
                    <a:pt x="49" y="125"/>
                  </a:moveTo>
                  <a:lnTo>
                    <a:pt x="49" y="125"/>
                  </a:lnTo>
                  <a:lnTo>
                    <a:pt x="39" y="123"/>
                  </a:lnTo>
                  <a:lnTo>
                    <a:pt x="31" y="122"/>
                  </a:lnTo>
                  <a:lnTo>
                    <a:pt x="23" y="117"/>
                  </a:lnTo>
                  <a:lnTo>
                    <a:pt x="17" y="112"/>
                  </a:lnTo>
                  <a:lnTo>
                    <a:pt x="10" y="105"/>
                  </a:lnTo>
                  <a:lnTo>
                    <a:pt x="5" y="99"/>
                  </a:lnTo>
                  <a:lnTo>
                    <a:pt x="2" y="89"/>
                  </a:lnTo>
                  <a:lnTo>
                    <a:pt x="0" y="81"/>
                  </a:lnTo>
                  <a:lnTo>
                    <a:pt x="0" y="81"/>
                  </a:lnTo>
                  <a:lnTo>
                    <a:pt x="0" y="71"/>
                  </a:lnTo>
                  <a:lnTo>
                    <a:pt x="2" y="61"/>
                  </a:lnTo>
                  <a:lnTo>
                    <a:pt x="7" y="53"/>
                  </a:lnTo>
                  <a:lnTo>
                    <a:pt x="12" y="45"/>
                  </a:lnTo>
                  <a:lnTo>
                    <a:pt x="18" y="39"/>
                  </a:lnTo>
                  <a:lnTo>
                    <a:pt x="26" y="34"/>
                  </a:lnTo>
                  <a:lnTo>
                    <a:pt x="35" y="29"/>
                  </a:lnTo>
                  <a:lnTo>
                    <a:pt x="44" y="27"/>
                  </a:lnTo>
                  <a:lnTo>
                    <a:pt x="323" y="0"/>
                  </a:lnTo>
                  <a:lnTo>
                    <a:pt x="323" y="0"/>
                  </a:lnTo>
                  <a:lnTo>
                    <a:pt x="332" y="0"/>
                  </a:lnTo>
                  <a:lnTo>
                    <a:pt x="342" y="3"/>
                  </a:lnTo>
                  <a:lnTo>
                    <a:pt x="350" y="6"/>
                  </a:lnTo>
                  <a:lnTo>
                    <a:pt x="358" y="11"/>
                  </a:lnTo>
                  <a:lnTo>
                    <a:pt x="365" y="18"/>
                  </a:lnTo>
                  <a:lnTo>
                    <a:pt x="370" y="26"/>
                  </a:lnTo>
                  <a:lnTo>
                    <a:pt x="373" y="34"/>
                  </a:lnTo>
                  <a:lnTo>
                    <a:pt x="376" y="44"/>
                  </a:lnTo>
                  <a:lnTo>
                    <a:pt x="376" y="44"/>
                  </a:lnTo>
                  <a:lnTo>
                    <a:pt x="376" y="53"/>
                  </a:lnTo>
                  <a:lnTo>
                    <a:pt x="373" y="63"/>
                  </a:lnTo>
                  <a:lnTo>
                    <a:pt x="370" y="71"/>
                  </a:lnTo>
                  <a:lnTo>
                    <a:pt x="365" y="79"/>
                  </a:lnTo>
                  <a:lnTo>
                    <a:pt x="358" y="86"/>
                  </a:lnTo>
                  <a:lnTo>
                    <a:pt x="350" y="92"/>
                  </a:lnTo>
                  <a:lnTo>
                    <a:pt x="342" y="96"/>
                  </a:lnTo>
                  <a:lnTo>
                    <a:pt x="332" y="97"/>
                  </a:lnTo>
                  <a:lnTo>
                    <a:pt x="54" y="125"/>
                  </a:lnTo>
                  <a:lnTo>
                    <a:pt x="54" y="125"/>
                  </a:lnTo>
                  <a:lnTo>
                    <a:pt x="49" y="1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4" name="Freeform 42">
              <a:extLst>
                <a:ext uri="{FF2B5EF4-FFF2-40B4-BE49-F238E27FC236}">
                  <a16:creationId xmlns:a16="http://schemas.microsoft.com/office/drawing/2014/main" id="{533FC64A-5B27-4E35-A5F9-2FF501CA1E9E}"/>
                </a:ext>
              </a:extLst>
            </p:cNvPr>
            <p:cNvSpPr>
              <a:spLocks/>
            </p:cNvSpPr>
            <p:nvPr/>
          </p:nvSpPr>
          <p:spPr bwMode="auto">
            <a:xfrm>
              <a:off x="5066738" y="3496827"/>
              <a:ext cx="339301" cy="219110"/>
            </a:xfrm>
            <a:custGeom>
              <a:avLst/>
              <a:gdLst>
                <a:gd name="T0" fmla="*/ 270 w 319"/>
                <a:gd name="T1" fmla="*/ 206 h 206"/>
                <a:gd name="T2" fmla="*/ 270 w 319"/>
                <a:gd name="T3" fmla="*/ 206 h 206"/>
                <a:gd name="T4" fmla="*/ 259 w 319"/>
                <a:gd name="T5" fmla="*/ 205 h 206"/>
                <a:gd name="T6" fmla="*/ 249 w 319"/>
                <a:gd name="T7" fmla="*/ 200 h 206"/>
                <a:gd name="T8" fmla="*/ 28 w 319"/>
                <a:gd name="T9" fmla="*/ 91 h 206"/>
                <a:gd name="T10" fmla="*/ 28 w 319"/>
                <a:gd name="T11" fmla="*/ 91 h 206"/>
                <a:gd name="T12" fmla="*/ 20 w 319"/>
                <a:gd name="T13" fmla="*/ 86 h 206"/>
                <a:gd name="T14" fmla="*/ 11 w 319"/>
                <a:gd name="T15" fmla="*/ 79 h 206"/>
                <a:gd name="T16" fmla="*/ 7 w 319"/>
                <a:gd name="T17" fmla="*/ 71 h 206"/>
                <a:gd name="T18" fmla="*/ 3 w 319"/>
                <a:gd name="T19" fmla="*/ 63 h 206"/>
                <a:gd name="T20" fmla="*/ 0 w 319"/>
                <a:gd name="T21" fmla="*/ 55 h 206"/>
                <a:gd name="T22" fmla="*/ 0 w 319"/>
                <a:gd name="T23" fmla="*/ 45 h 206"/>
                <a:gd name="T24" fmla="*/ 2 w 319"/>
                <a:gd name="T25" fmla="*/ 35 h 206"/>
                <a:gd name="T26" fmla="*/ 5 w 319"/>
                <a:gd name="T27" fmla="*/ 26 h 206"/>
                <a:gd name="T28" fmla="*/ 5 w 319"/>
                <a:gd name="T29" fmla="*/ 26 h 206"/>
                <a:gd name="T30" fmla="*/ 10 w 319"/>
                <a:gd name="T31" fmla="*/ 17 h 206"/>
                <a:gd name="T32" fmla="*/ 16 w 319"/>
                <a:gd name="T33" fmla="*/ 11 h 206"/>
                <a:gd name="T34" fmla="*/ 24 w 319"/>
                <a:gd name="T35" fmla="*/ 4 h 206"/>
                <a:gd name="T36" fmla="*/ 33 w 319"/>
                <a:gd name="T37" fmla="*/ 1 h 206"/>
                <a:gd name="T38" fmla="*/ 42 w 319"/>
                <a:gd name="T39" fmla="*/ 0 h 206"/>
                <a:gd name="T40" fmla="*/ 52 w 319"/>
                <a:gd name="T41" fmla="*/ 0 h 206"/>
                <a:gd name="T42" fmla="*/ 62 w 319"/>
                <a:gd name="T43" fmla="*/ 0 h 206"/>
                <a:gd name="T44" fmla="*/ 70 w 319"/>
                <a:gd name="T45" fmla="*/ 4 h 206"/>
                <a:gd name="T46" fmla="*/ 291 w 319"/>
                <a:gd name="T47" fmla="*/ 113 h 206"/>
                <a:gd name="T48" fmla="*/ 291 w 319"/>
                <a:gd name="T49" fmla="*/ 113 h 206"/>
                <a:gd name="T50" fmla="*/ 301 w 319"/>
                <a:gd name="T51" fmla="*/ 118 h 206"/>
                <a:gd name="T52" fmla="*/ 308 w 319"/>
                <a:gd name="T53" fmla="*/ 125 h 206"/>
                <a:gd name="T54" fmla="*/ 313 w 319"/>
                <a:gd name="T55" fmla="*/ 133 h 206"/>
                <a:gd name="T56" fmla="*/ 317 w 319"/>
                <a:gd name="T57" fmla="*/ 141 h 206"/>
                <a:gd name="T58" fmla="*/ 319 w 319"/>
                <a:gd name="T59" fmla="*/ 149 h 206"/>
                <a:gd name="T60" fmla="*/ 319 w 319"/>
                <a:gd name="T61" fmla="*/ 159 h 206"/>
                <a:gd name="T62" fmla="*/ 317 w 319"/>
                <a:gd name="T63" fmla="*/ 169 h 206"/>
                <a:gd name="T64" fmla="*/ 314 w 319"/>
                <a:gd name="T65" fmla="*/ 179 h 206"/>
                <a:gd name="T66" fmla="*/ 314 w 319"/>
                <a:gd name="T67" fmla="*/ 179 h 206"/>
                <a:gd name="T68" fmla="*/ 311 w 319"/>
                <a:gd name="T69" fmla="*/ 185 h 206"/>
                <a:gd name="T70" fmla="*/ 306 w 319"/>
                <a:gd name="T71" fmla="*/ 190 h 206"/>
                <a:gd name="T72" fmla="*/ 296 w 319"/>
                <a:gd name="T73" fmla="*/ 198 h 206"/>
                <a:gd name="T74" fmla="*/ 283 w 319"/>
                <a:gd name="T75" fmla="*/ 203 h 206"/>
                <a:gd name="T76" fmla="*/ 270 w 319"/>
                <a:gd name="T7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9" h="206">
                  <a:moveTo>
                    <a:pt x="270" y="206"/>
                  </a:moveTo>
                  <a:lnTo>
                    <a:pt x="270" y="206"/>
                  </a:lnTo>
                  <a:lnTo>
                    <a:pt x="259" y="205"/>
                  </a:lnTo>
                  <a:lnTo>
                    <a:pt x="249" y="200"/>
                  </a:lnTo>
                  <a:lnTo>
                    <a:pt x="28" y="91"/>
                  </a:lnTo>
                  <a:lnTo>
                    <a:pt x="28" y="91"/>
                  </a:lnTo>
                  <a:lnTo>
                    <a:pt x="20" y="86"/>
                  </a:lnTo>
                  <a:lnTo>
                    <a:pt x="11" y="79"/>
                  </a:lnTo>
                  <a:lnTo>
                    <a:pt x="7" y="71"/>
                  </a:lnTo>
                  <a:lnTo>
                    <a:pt x="3" y="63"/>
                  </a:lnTo>
                  <a:lnTo>
                    <a:pt x="0" y="55"/>
                  </a:lnTo>
                  <a:lnTo>
                    <a:pt x="0" y="45"/>
                  </a:lnTo>
                  <a:lnTo>
                    <a:pt x="2" y="35"/>
                  </a:lnTo>
                  <a:lnTo>
                    <a:pt x="5" y="26"/>
                  </a:lnTo>
                  <a:lnTo>
                    <a:pt x="5" y="26"/>
                  </a:lnTo>
                  <a:lnTo>
                    <a:pt x="10" y="17"/>
                  </a:lnTo>
                  <a:lnTo>
                    <a:pt x="16" y="11"/>
                  </a:lnTo>
                  <a:lnTo>
                    <a:pt x="24" y="4"/>
                  </a:lnTo>
                  <a:lnTo>
                    <a:pt x="33" y="1"/>
                  </a:lnTo>
                  <a:lnTo>
                    <a:pt x="42" y="0"/>
                  </a:lnTo>
                  <a:lnTo>
                    <a:pt x="52" y="0"/>
                  </a:lnTo>
                  <a:lnTo>
                    <a:pt x="62" y="0"/>
                  </a:lnTo>
                  <a:lnTo>
                    <a:pt x="70" y="4"/>
                  </a:lnTo>
                  <a:lnTo>
                    <a:pt x="291" y="113"/>
                  </a:lnTo>
                  <a:lnTo>
                    <a:pt x="291" y="113"/>
                  </a:lnTo>
                  <a:lnTo>
                    <a:pt x="301" y="118"/>
                  </a:lnTo>
                  <a:lnTo>
                    <a:pt x="308" y="125"/>
                  </a:lnTo>
                  <a:lnTo>
                    <a:pt x="313" y="133"/>
                  </a:lnTo>
                  <a:lnTo>
                    <a:pt x="317" y="141"/>
                  </a:lnTo>
                  <a:lnTo>
                    <a:pt x="319" y="149"/>
                  </a:lnTo>
                  <a:lnTo>
                    <a:pt x="319" y="159"/>
                  </a:lnTo>
                  <a:lnTo>
                    <a:pt x="317" y="169"/>
                  </a:lnTo>
                  <a:lnTo>
                    <a:pt x="314" y="179"/>
                  </a:lnTo>
                  <a:lnTo>
                    <a:pt x="314" y="179"/>
                  </a:lnTo>
                  <a:lnTo>
                    <a:pt x="311" y="185"/>
                  </a:lnTo>
                  <a:lnTo>
                    <a:pt x="306" y="190"/>
                  </a:lnTo>
                  <a:lnTo>
                    <a:pt x="296" y="198"/>
                  </a:lnTo>
                  <a:lnTo>
                    <a:pt x="283" y="203"/>
                  </a:lnTo>
                  <a:lnTo>
                    <a:pt x="270" y="206"/>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5" name="Freeform 43">
              <a:extLst>
                <a:ext uri="{FF2B5EF4-FFF2-40B4-BE49-F238E27FC236}">
                  <a16:creationId xmlns:a16="http://schemas.microsoft.com/office/drawing/2014/main" id="{CA5090C7-22AE-40AC-AE9A-1D2700F992C5}"/>
                </a:ext>
              </a:extLst>
            </p:cNvPr>
            <p:cNvSpPr>
              <a:spLocks/>
            </p:cNvSpPr>
            <p:nvPr/>
          </p:nvSpPr>
          <p:spPr bwMode="auto">
            <a:xfrm>
              <a:off x="5066738" y="3496827"/>
              <a:ext cx="339301" cy="219110"/>
            </a:xfrm>
            <a:custGeom>
              <a:avLst/>
              <a:gdLst>
                <a:gd name="T0" fmla="*/ 270 w 319"/>
                <a:gd name="T1" fmla="*/ 206 h 206"/>
                <a:gd name="T2" fmla="*/ 270 w 319"/>
                <a:gd name="T3" fmla="*/ 206 h 206"/>
                <a:gd name="T4" fmla="*/ 259 w 319"/>
                <a:gd name="T5" fmla="*/ 205 h 206"/>
                <a:gd name="T6" fmla="*/ 249 w 319"/>
                <a:gd name="T7" fmla="*/ 200 h 206"/>
                <a:gd name="T8" fmla="*/ 28 w 319"/>
                <a:gd name="T9" fmla="*/ 91 h 206"/>
                <a:gd name="T10" fmla="*/ 28 w 319"/>
                <a:gd name="T11" fmla="*/ 91 h 206"/>
                <a:gd name="T12" fmla="*/ 20 w 319"/>
                <a:gd name="T13" fmla="*/ 86 h 206"/>
                <a:gd name="T14" fmla="*/ 11 w 319"/>
                <a:gd name="T15" fmla="*/ 79 h 206"/>
                <a:gd name="T16" fmla="*/ 7 w 319"/>
                <a:gd name="T17" fmla="*/ 71 h 206"/>
                <a:gd name="T18" fmla="*/ 3 w 319"/>
                <a:gd name="T19" fmla="*/ 63 h 206"/>
                <a:gd name="T20" fmla="*/ 0 w 319"/>
                <a:gd name="T21" fmla="*/ 55 h 206"/>
                <a:gd name="T22" fmla="*/ 0 w 319"/>
                <a:gd name="T23" fmla="*/ 45 h 206"/>
                <a:gd name="T24" fmla="*/ 2 w 319"/>
                <a:gd name="T25" fmla="*/ 35 h 206"/>
                <a:gd name="T26" fmla="*/ 5 w 319"/>
                <a:gd name="T27" fmla="*/ 26 h 206"/>
                <a:gd name="T28" fmla="*/ 5 w 319"/>
                <a:gd name="T29" fmla="*/ 26 h 206"/>
                <a:gd name="T30" fmla="*/ 10 w 319"/>
                <a:gd name="T31" fmla="*/ 17 h 206"/>
                <a:gd name="T32" fmla="*/ 16 w 319"/>
                <a:gd name="T33" fmla="*/ 11 h 206"/>
                <a:gd name="T34" fmla="*/ 24 w 319"/>
                <a:gd name="T35" fmla="*/ 4 h 206"/>
                <a:gd name="T36" fmla="*/ 33 w 319"/>
                <a:gd name="T37" fmla="*/ 1 h 206"/>
                <a:gd name="T38" fmla="*/ 42 w 319"/>
                <a:gd name="T39" fmla="*/ 0 h 206"/>
                <a:gd name="T40" fmla="*/ 52 w 319"/>
                <a:gd name="T41" fmla="*/ 0 h 206"/>
                <a:gd name="T42" fmla="*/ 62 w 319"/>
                <a:gd name="T43" fmla="*/ 0 h 206"/>
                <a:gd name="T44" fmla="*/ 70 w 319"/>
                <a:gd name="T45" fmla="*/ 4 h 206"/>
                <a:gd name="T46" fmla="*/ 291 w 319"/>
                <a:gd name="T47" fmla="*/ 113 h 206"/>
                <a:gd name="T48" fmla="*/ 291 w 319"/>
                <a:gd name="T49" fmla="*/ 113 h 206"/>
                <a:gd name="T50" fmla="*/ 301 w 319"/>
                <a:gd name="T51" fmla="*/ 118 h 206"/>
                <a:gd name="T52" fmla="*/ 308 w 319"/>
                <a:gd name="T53" fmla="*/ 125 h 206"/>
                <a:gd name="T54" fmla="*/ 313 w 319"/>
                <a:gd name="T55" fmla="*/ 133 h 206"/>
                <a:gd name="T56" fmla="*/ 317 w 319"/>
                <a:gd name="T57" fmla="*/ 141 h 206"/>
                <a:gd name="T58" fmla="*/ 319 w 319"/>
                <a:gd name="T59" fmla="*/ 149 h 206"/>
                <a:gd name="T60" fmla="*/ 319 w 319"/>
                <a:gd name="T61" fmla="*/ 159 h 206"/>
                <a:gd name="T62" fmla="*/ 317 w 319"/>
                <a:gd name="T63" fmla="*/ 169 h 206"/>
                <a:gd name="T64" fmla="*/ 314 w 319"/>
                <a:gd name="T65" fmla="*/ 179 h 206"/>
                <a:gd name="T66" fmla="*/ 314 w 319"/>
                <a:gd name="T67" fmla="*/ 179 h 206"/>
                <a:gd name="T68" fmla="*/ 311 w 319"/>
                <a:gd name="T69" fmla="*/ 185 h 206"/>
                <a:gd name="T70" fmla="*/ 306 w 319"/>
                <a:gd name="T71" fmla="*/ 190 h 206"/>
                <a:gd name="T72" fmla="*/ 296 w 319"/>
                <a:gd name="T73" fmla="*/ 198 h 206"/>
                <a:gd name="T74" fmla="*/ 283 w 319"/>
                <a:gd name="T75" fmla="*/ 203 h 206"/>
                <a:gd name="T76" fmla="*/ 270 w 319"/>
                <a:gd name="T77"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9" h="206">
                  <a:moveTo>
                    <a:pt x="270" y="206"/>
                  </a:moveTo>
                  <a:lnTo>
                    <a:pt x="270" y="206"/>
                  </a:lnTo>
                  <a:lnTo>
                    <a:pt x="259" y="205"/>
                  </a:lnTo>
                  <a:lnTo>
                    <a:pt x="249" y="200"/>
                  </a:lnTo>
                  <a:lnTo>
                    <a:pt x="28" y="91"/>
                  </a:lnTo>
                  <a:lnTo>
                    <a:pt x="28" y="91"/>
                  </a:lnTo>
                  <a:lnTo>
                    <a:pt x="20" y="86"/>
                  </a:lnTo>
                  <a:lnTo>
                    <a:pt x="11" y="79"/>
                  </a:lnTo>
                  <a:lnTo>
                    <a:pt x="7" y="71"/>
                  </a:lnTo>
                  <a:lnTo>
                    <a:pt x="3" y="63"/>
                  </a:lnTo>
                  <a:lnTo>
                    <a:pt x="0" y="55"/>
                  </a:lnTo>
                  <a:lnTo>
                    <a:pt x="0" y="45"/>
                  </a:lnTo>
                  <a:lnTo>
                    <a:pt x="2" y="35"/>
                  </a:lnTo>
                  <a:lnTo>
                    <a:pt x="5" y="26"/>
                  </a:lnTo>
                  <a:lnTo>
                    <a:pt x="5" y="26"/>
                  </a:lnTo>
                  <a:lnTo>
                    <a:pt x="10" y="17"/>
                  </a:lnTo>
                  <a:lnTo>
                    <a:pt x="16" y="11"/>
                  </a:lnTo>
                  <a:lnTo>
                    <a:pt x="24" y="4"/>
                  </a:lnTo>
                  <a:lnTo>
                    <a:pt x="33" y="1"/>
                  </a:lnTo>
                  <a:lnTo>
                    <a:pt x="42" y="0"/>
                  </a:lnTo>
                  <a:lnTo>
                    <a:pt x="52" y="0"/>
                  </a:lnTo>
                  <a:lnTo>
                    <a:pt x="62" y="0"/>
                  </a:lnTo>
                  <a:lnTo>
                    <a:pt x="70" y="4"/>
                  </a:lnTo>
                  <a:lnTo>
                    <a:pt x="291" y="113"/>
                  </a:lnTo>
                  <a:lnTo>
                    <a:pt x="291" y="113"/>
                  </a:lnTo>
                  <a:lnTo>
                    <a:pt x="301" y="118"/>
                  </a:lnTo>
                  <a:lnTo>
                    <a:pt x="308" y="125"/>
                  </a:lnTo>
                  <a:lnTo>
                    <a:pt x="313" y="133"/>
                  </a:lnTo>
                  <a:lnTo>
                    <a:pt x="317" y="141"/>
                  </a:lnTo>
                  <a:lnTo>
                    <a:pt x="319" y="149"/>
                  </a:lnTo>
                  <a:lnTo>
                    <a:pt x="319" y="159"/>
                  </a:lnTo>
                  <a:lnTo>
                    <a:pt x="317" y="169"/>
                  </a:lnTo>
                  <a:lnTo>
                    <a:pt x="314" y="179"/>
                  </a:lnTo>
                  <a:lnTo>
                    <a:pt x="314" y="179"/>
                  </a:lnTo>
                  <a:lnTo>
                    <a:pt x="311" y="185"/>
                  </a:lnTo>
                  <a:lnTo>
                    <a:pt x="306" y="190"/>
                  </a:lnTo>
                  <a:lnTo>
                    <a:pt x="296" y="198"/>
                  </a:lnTo>
                  <a:lnTo>
                    <a:pt x="283" y="203"/>
                  </a:lnTo>
                  <a:lnTo>
                    <a:pt x="270"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6" name="Freeform 44">
              <a:extLst>
                <a:ext uri="{FF2B5EF4-FFF2-40B4-BE49-F238E27FC236}">
                  <a16:creationId xmlns:a16="http://schemas.microsoft.com/office/drawing/2014/main" id="{8CA7BB81-446C-48DC-8ED0-8718947BA7B0}"/>
                </a:ext>
              </a:extLst>
            </p:cNvPr>
            <p:cNvSpPr>
              <a:spLocks/>
            </p:cNvSpPr>
            <p:nvPr/>
          </p:nvSpPr>
          <p:spPr bwMode="auto">
            <a:xfrm>
              <a:off x="5096520" y="4451975"/>
              <a:ext cx="345683" cy="207410"/>
            </a:xfrm>
            <a:custGeom>
              <a:avLst/>
              <a:gdLst>
                <a:gd name="T0" fmla="*/ 49 w 325"/>
                <a:gd name="T1" fmla="*/ 195 h 195"/>
                <a:gd name="T2" fmla="*/ 49 w 325"/>
                <a:gd name="T3" fmla="*/ 195 h 195"/>
                <a:gd name="T4" fmla="*/ 42 w 325"/>
                <a:gd name="T5" fmla="*/ 195 h 195"/>
                <a:gd name="T6" fmla="*/ 35 w 325"/>
                <a:gd name="T7" fmla="*/ 194 h 195"/>
                <a:gd name="T8" fmla="*/ 29 w 325"/>
                <a:gd name="T9" fmla="*/ 190 h 195"/>
                <a:gd name="T10" fmla="*/ 22 w 325"/>
                <a:gd name="T11" fmla="*/ 187 h 195"/>
                <a:gd name="T12" fmla="*/ 16 w 325"/>
                <a:gd name="T13" fmla="*/ 184 h 195"/>
                <a:gd name="T14" fmla="*/ 11 w 325"/>
                <a:gd name="T15" fmla="*/ 179 h 195"/>
                <a:gd name="T16" fmla="*/ 8 w 325"/>
                <a:gd name="T17" fmla="*/ 173 h 195"/>
                <a:gd name="T18" fmla="*/ 5 w 325"/>
                <a:gd name="T19" fmla="*/ 166 h 195"/>
                <a:gd name="T20" fmla="*/ 5 w 325"/>
                <a:gd name="T21" fmla="*/ 166 h 195"/>
                <a:gd name="T22" fmla="*/ 1 w 325"/>
                <a:gd name="T23" fmla="*/ 156 h 195"/>
                <a:gd name="T24" fmla="*/ 0 w 325"/>
                <a:gd name="T25" fmla="*/ 147 h 195"/>
                <a:gd name="T26" fmla="*/ 1 w 325"/>
                <a:gd name="T27" fmla="*/ 137 h 195"/>
                <a:gd name="T28" fmla="*/ 3 w 325"/>
                <a:gd name="T29" fmla="*/ 129 h 195"/>
                <a:gd name="T30" fmla="*/ 8 w 325"/>
                <a:gd name="T31" fmla="*/ 120 h 195"/>
                <a:gd name="T32" fmla="*/ 14 w 325"/>
                <a:gd name="T33" fmla="*/ 112 h 195"/>
                <a:gd name="T34" fmla="*/ 21 w 325"/>
                <a:gd name="T35" fmla="*/ 106 h 195"/>
                <a:gd name="T36" fmla="*/ 29 w 325"/>
                <a:gd name="T37" fmla="*/ 103 h 195"/>
                <a:gd name="T38" fmla="*/ 257 w 325"/>
                <a:gd name="T39" fmla="*/ 5 h 195"/>
                <a:gd name="T40" fmla="*/ 257 w 325"/>
                <a:gd name="T41" fmla="*/ 5 h 195"/>
                <a:gd name="T42" fmla="*/ 267 w 325"/>
                <a:gd name="T43" fmla="*/ 2 h 195"/>
                <a:gd name="T44" fmla="*/ 275 w 325"/>
                <a:gd name="T45" fmla="*/ 0 h 195"/>
                <a:gd name="T46" fmla="*/ 285 w 325"/>
                <a:gd name="T47" fmla="*/ 2 h 195"/>
                <a:gd name="T48" fmla="*/ 294 w 325"/>
                <a:gd name="T49" fmla="*/ 3 h 195"/>
                <a:gd name="T50" fmla="*/ 302 w 325"/>
                <a:gd name="T51" fmla="*/ 8 h 195"/>
                <a:gd name="T52" fmla="*/ 309 w 325"/>
                <a:gd name="T53" fmla="*/ 15 h 195"/>
                <a:gd name="T54" fmla="*/ 315 w 325"/>
                <a:gd name="T55" fmla="*/ 21 h 195"/>
                <a:gd name="T56" fmla="*/ 320 w 325"/>
                <a:gd name="T57" fmla="*/ 31 h 195"/>
                <a:gd name="T58" fmla="*/ 320 w 325"/>
                <a:gd name="T59" fmla="*/ 31 h 195"/>
                <a:gd name="T60" fmla="*/ 324 w 325"/>
                <a:gd name="T61" fmla="*/ 39 h 195"/>
                <a:gd name="T62" fmla="*/ 325 w 325"/>
                <a:gd name="T63" fmla="*/ 49 h 195"/>
                <a:gd name="T64" fmla="*/ 324 w 325"/>
                <a:gd name="T65" fmla="*/ 59 h 195"/>
                <a:gd name="T66" fmla="*/ 322 w 325"/>
                <a:gd name="T67" fmla="*/ 67 h 195"/>
                <a:gd name="T68" fmla="*/ 317 w 325"/>
                <a:gd name="T69" fmla="*/ 77 h 195"/>
                <a:gd name="T70" fmla="*/ 311 w 325"/>
                <a:gd name="T71" fmla="*/ 83 h 195"/>
                <a:gd name="T72" fmla="*/ 304 w 325"/>
                <a:gd name="T73" fmla="*/ 90 h 195"/>
                <a:gd name="T74" fmla="*/ 294 w 325"/>
                <a:gd name="T75" fmla="*/ 94 h 195"/>
                <a:gd name="T76" fmla="*/ 68 w 325"/>
                <a:gd name="T77" fmla="*/ 192 h 195"/>
                <a:gd name="T78" fmla="*/ 68 w 325"/>
                <a:gd name="T79" fmla="*/ 192 h 195"/>
                <a:gd name="T80" fmla="*/ 58 w 325"/>
                <a:gd name="T81" fmla="*/ 195 h 195"/>
                <a:gd name="T82" fmla="*/ 49 w 325"/>
                <a:gd name="T83"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5" h="195">
                  <a:moveTo>
                    <a:pt x="49" y="195"/>
                  </a:moveTo>
                  <a:lnTo>
                    <a:pt x="49" y="195"/>
                  </a:lnTo>
                  <a:lnTo>
                    <a:pt x="42" y="195"/>
                  </a:lnTo>
                  <a:lnTo>
                    <a:pt x="35" y="194"/>
                  </a:lnTo>
                  <a:lnTo>
                    <a:pt x="29" y="190"/>
                  </a:lnTo>
                  <a:lnTo>
                    <a:pt x="22" y="187"/>
                  </a:lnTo>
                  <a:lnTo>
                    <a:pt x="16" y="184"/>
                  </a:lnTo>
                  <a:lnTo>
                    <a:pt x="11" y="179"/>
                  </a:lnTo>
                  <a:lnTo>
                    <a:pt x="8" y="173"/>
                  </a:lnTo>
                  <a:lnTo>
                    <a:pt x="5" y="166"/>
                  </a:lnTo>
                  <a:lnTo>
                    <a:pt x="5" y="166"/>
                  </a:lnTo>
                  <a:lnTo>
                    <a:pt x="1" y="156"/>
                  </a:lnTo>
                  <a:lnTo>
                    <a:pt x="0" y="147"/>
                  </a:lnTo>
                  <a:lnTo>
                    <a:pt x="1" y="137"/>
                  </a:lnTo>
                  <a:lnTo>
                    <a:pt x="3" y="129"/>
                  </a:lnTo>
                  <a:lnTo>
                    <a:pt x="8" y="120"/>
                  </a:lnTo>
                  <a:lnTo>
                    <a:pt x="14" y="112"/>
                  </a:lnTo>
                  <a:lnTo>
                    <a:pt x="21" y="106"/>
                  </a:lnTo>
                  <a:lnTo>
                    <a:pt x="29" y="103"/>
                  </a:lnTo>
                  <a:lnTo>
                    <a:pt x="257" y="5"/>
                  </a:lnTo>
                  <a:lnTo>
                    <a:pt x="257" y="5"/>
                  </a:lnTo>
                  <a:lnTo>
                    <a:pt x="267" y="2"/>
                  </a:lnTo>
                  <a:lnTo>
                    <a:pt x="275" y="0"/>
                  </a:lnTo>
                  <a:lnTo>
                    <a:pt x="285" y="2"/>
                  </a:lnTo>
                  <a:lnTo>
                    <a:pt x="294" y="3"/>
                  </a:lnTo>
                  <a:lnTo>
                    <a:pt x="302" y="8"/>
                  </a:lnTo>
                  <a:lnTo>
                    <a:pt x="309" y="15"/>
                  </a:lnTo>
                  <a:lnTo>
                    <a:pt x="315" y="21"/>
                  </a:lnTo>
                  <a:lnTo>
                    <a:pt x="320" y="31"/>
                  </a:lnTo>
                  <a:lnTo>
                    <a:pt x="320" y="31"/>
                  </a:lnTo>
                  <a:lnTo>
                    <a:pt x="324" y="39"/>
                  </a:lnTo>
                  <a:lnTo>
                    <a:pt x="325" y="49"/>
                  </a:lnTo>
                  <a:lnTo>
                    <a:pt x="324" y="59"/>
                  </a:lnTo>
                  <a:lnTo>
                    <a:pt x="322" y="67"/>
                  </a:lnTo>
                  <a:lnTo>
                    <a:pt x="317" y="77"/>
                  </a:lnTo>
                  <a:lnTo>
                    <a:pt x="311" y="83"/>
                  </a:lnTo>
                  <a:lnTo>
                    <a:pt x="304" y="90"/>
                  </a:lnTo>
                  <a:lnTo>
                    <a:pt x="294" y="94"/>
                  </a:lnTo>
                  <a:lnTo>
                    <a:pt x="68" y="192"/>
                  </a:lnTo>
                  <a:lnTo>
                    <a:pt x="68" y="192"/>
                  </a:lnTo>
                  <a:lnTo>
                    <a:pt x="58" y="195"/>
                  </a:lnTo>
                  <a:lnTo>
                    <a:pt x="49" y="195"/>
                  </a:lnTo>
                  <a:close/>
                </a:path>
              </a:pathLst>
            </a:custGeom>
            <a:solidFill>
              <a:srgbClr val="003C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7" name="Freeform 45">
              <a:extLst>
                <a:ext uri="{FF2B5EF4-FFF2-40B4-BE49-F238E27FC236}">
                  <a16:creationId xmlns:a16="http://schemas.microsoft.com/office/drawing/2014/main" id="{9FA780AA-C626-4726-94DF-72A7061390E2}"/>
                </a:ext>
              </a:extLst>
            </p:cNvPr>
            <p:cNvSpPr>
              <a:spLocks/>
            </p:cNvSpPr>
            <p:nvPr/>
          </p:nvSpPr>
          <p:spPr bwMode="auto">
            <a:xfrm>
              <a:off x="5096520" y="4451975"/>
              <a:ext cx="345683" cy="207410"/>
            </a:xfrm>
            <a:custGeom>
              <a:avLst/>
              <a:gdLst>
                <a:gd name="T0" fmla="*/ 49 w 325"/>
                <a:gd name="T1" fmla="*/ 195 h 195"/>
                <a:gd name="T2" fmla="*/ 49 w 325"/>
                <a:gd name="T3" fmla="*/ 195 h 195"/>
                <a:gd name="T4" fmla="*/ 42 w 325"/>
                <a:gd name="T5" fmla="*/ 195 h 195"/>
                <a:gd name="T6" fmla="*/ 35 w 325"/>
                <a:gd name="T7" fmla="*/ 194 h 195"/>
                <a:gd name="T8" fmla="*/ 29 w 325"/>
                <a:gd name="T9" fmla="*/ 190 h 195"/>
                <a:gd name="T10" fmla="*/ 22 w 325"/>
                <a:gd name="T11" fmla="*/ 187 h 195"/>
                <a:gd name="T12" fmla="*/ 16 w 325"/>
                <a:gd name="T13" fmla="*/ 184 h 195"/>
                <a:gd name="T14" fmla="*/ 11 w 325"/>
                <a:gd name="T15" fmla="*/ 179 h 195"/>
                <a:gd name="T16" fmla="*/ 8 w 325"/>
                <a:gd name="T17" fmla="*/ 173 h 195"/>
                <a:gd name="T18" fmla="*/ 5 w 325"/>
                <a:gd name="T19" fmla="*/ 166 h 195"/>
                <a:gd name="T20" fmla="*/ 5 w 325"/>
                <a:gd name="T21" fmla="*/ 166 h 195"/>
                <a:gd name="T22" fmla="*/ 1 w 325"/>
                <a:gd name="T23" fmla="*/ 156 h 195"/>
                <a:gd name="T24" fmla="*/ 0 w 325"/>
                <a:gd name="T25" fmla="*/ 147 h 195"/>
                <a:gd name="T26" fmla="*/ 1 w 325"/>
                <a:gd name="T27" fmla="*/ 137 h 195"/>
                <a:gd name="T28" fmla="*/ 3 w 325"/>
                <a:gd name="T29" fmla="*/ 129 h 195"/>
                <a:gd name="T30" fmla="*/ 8 w 325"/>
                <a:gd name="T31" fmla="*/ 120 h 195"/>
                <a:gd name="T32" fmla="*/ 14 w 325"/>
                <a:gd name="T33" fmla="*/ 112 h 195"/>
                <a:gd name="T34" fmla="*/ 21 w 325"/>
                <a:gd name="T35" fmla="*/ 106 h 195"/>
                <a:gd name="T36" fmla="*/ 29 w 325"/>
                <a:gd name="T37" fmla="*/ 103 h 195"/>
                <a:gd name="T38" fmla="*/ 257 w 325"/>
                <a:gd name="T39" fmla="*/ 5 h 195"/>
                <a:gd name="T40" fmla="*/ 257 w 325"/>
                <a:gd name="T41" fmla="*/ 5 h 195"/>
                <a:gd name="T42" fmla="*/ 267 w 325"/>
                <a:gd name="T43" fmla="*/ 2 h 195"/>
                <a:gd name="T44" fmla="*/ 275 w 325"/>
                <a:gd name="T45" fmla="*/ 0 h 195"/>
                <a:gd name="T46" fmla="*/ 285 w 325"/>
                <a:gd name="T47" fmla="*/ 2 h 195"/>
                <a:gd name="T48" fmla="*/ 294 w 325"/>
                <a:gd name="T49" fmla="*/ 3 h 195"/>
                <a:gd name="T50" fmla="*/ 302 w 325"/>
                <a:gd name="T51" fmla="*/ 8 h 195"/>
                <a:gd name="T52" fmla="*/ 309 w 325"/>
                <a:gd name="T53" fmla="*/ 15 h 195"/>
                <a:gd name="T54" fmla="*/ 315 w 325"/>
                <a:gd name="T55" fmla="*/ 21 h 195"/>
                <a:gd name="T56" fmla="*/ 320 w 325"/>
                <a:gd name="T57" fmla="*/ 31 h 195"/>
                <a:gd name="T58" fmla="*/ 320 w 325"/>
                <a:gd name="T59" fmla="*/ 31 h 195"/>
                <a:gd name="T60" fmla="*/ 324 w 325"/>
                <a:gd name="T61" fmla="*/ 39 h 195"/>
                <a:gd name="T62" fmla="*/ 325 w 325"/>
                <a:gd name="T63" fmla="*/ 49 h 195"/>
                <a:gd name="T64" fmla="*/ 324 w 325"/>
                <a:gd name="T65" fmla="*/ 59 h 195"/>
                <a:gd name="T66" fmla="*/ 322 w 325"/>
                <a:gd name="T67" fmla="*/ 67 h 195"/>
                <a:gd name="T68" fmla="*/ 317 w 325"/>
                <a:gd name="T69" fmla="*/ 77 h 195"/>
                <a:gd name="T70" fmla="*/ 311 w 325"/>
                <a:gd name="T71" fmla="*/ 83 h 195"/>
                <a:gd name="T72" fmla="*/ 304 w 325"/>
                <a:gd name="T73" fmla="*/ 90 h 195"/>
                <a:gd name="T74" fmla="*/ 294 w 325"/>
                <a:gd name="T75" fmla="*/ 94 h 195"/>
                <a:gd name="T76" fmla="*/ 68 w 325"/>
                <a:gd name="T77" fmla="*/ 192 h 195"/>
                <a:gd name="T78" fmla="*/ 68 w 325"/>
                <a:gd name="T79" fmla="*/ 192 h 195"/>
                <a:gd name="T80" fmla="*/ 58 w 325"/>
                <a:gd name="T81" fmla="*/ 195 h 195"/>
                <a:gd name="T82" fmla="*/ 49 w 325"/>
                <a:gd name="T83"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5" h="195">
                  <a:moveTo>
                    <a:pt x="49" y="195"/>
                  </a:moveTo>
                  <a:lnTo>
                    <a:pt x="49" y="195"/>
                  </a:lnTo>
                  <a:lnTo>
                    <a:pt x="42" y="195"/>
                  </a:lnTo>
                  <a:lnTo>
                    <a:pt x="35" y="194"/>
                  </a:lnTo>
                  <a:lnTo>
                    <a:pt x="29" y="190"/>
                  </a:lnTo>
                  <a:lnTo>
                    <a:pt x="22" y="187"/>
                  </a:lnTo>
                  <a:lnTo>
                    <a:pt x="16" y="184"/>
                  </a:lnTo>
                  <a:lnTo>
                    <a:pt x="11" y="179"/>
                  </a:lnTo>
                  <a:lnTo>
                    <a:pt x="8" y="173"/>
                  </a:lnTo>
                  <a:lnTo>
                    <a:pt x="5" y="166"/>
                  </a:lnTo>
                  <a:lnTo>
                    <a:pt x="5" y="166"/>
                  </a:lnTo>
                  <a:lnTo>
                    <a:pt x="1" y="156"/>
                  </a:lnTo>
                  <a:lnTo>
                    <a:pt x="0" y="147"/>
                  </a:lnTo>
                  <a:lnTo>
                    <a:pt x="1" y="137"/>
                  </a:lnTo>
                  <a:lnTo>
                    <a:pt x="3" y="129"/>
                  </a:lnTo>
                  <a:lnTo>
                    <a:pt x="8" y="120"/>
                  </a:lnTo>
                  <a:lnTo>
                    <a:pt x="14" y="112"/>
                  </a:lnTo>
                  <a:lnTo>
                    <a:pt x="21" y="106"/>
                  </a:lnTo>
                  <a:lnTo>
                    <a:pt x="29" y="103"/>
                  </a:lnTo>
                  <a:lnTo>
                    <a:pt x="257" y="5"/>
                  </a:lnTo>
                  <a:lnTo>
                    <a:pt x="257" y="5"/>
                  </a:lnTo>
                  <a:lnTo>
                    <a:pt x="267" y="2"/>
                  </a:lnTo>
                  <a:lnTo>
                    <a:pt x="275" y="0"/>
                  </a:lnTo>
                  <a:lnTo>
                    <a:pt x="285" y="2"/>
                  </a:lnTo>
                  <a:lnTo>
                    <a:pt x="294" y="3"/>
                  </a:lnTo>
                  <a:lnTo>
                    <a:pt x="302" y="8"/>
                  </a:lnTo>
                  <a:lnTo>
                    <a:pt x="309" y="15"/>
                  </a:lnTo>
                  <a:lnTo>
                    <a:pt x="315" y="21"/>
                  </a:lnTo>
                  <a:lnTo>
                    <a:pt x="320" y="31"/>
                  </a:lnTo>
                  <a:lnTo>
                    <a:pt x="320" y="31"/>
                  </a:lnTo>
                  <a:lnTo>
                    <a:pt x="324" y="39"/>
                  </a:lnTo>
                  <a:lnTo>
                    <a:pt x="325" y="49"/>
                  </a:lnTo>
                  <a:lnTo>
                    <a:pt x="324" y="59"/>
                  </a:lnTo>
                  <a:lnTo>
                    <a:pt x="322" y="67"/>
                  </a:lnTo>
                  <a:lnTo>
                    <a:pt x="317" y="77"/>
                  </a:lnTo>
                  <a:lnTo>
                    <a:pt x="311" y="83"/>
                  </a:lnTo>
                  <a:lnTo>
                    <a:pt x="304" y="90"/>
                  </a:lnTo>
                  <a:lnTo>
                    <a:pt x="294" y="94"/>
                  </a:lnTo>
                  <a:lnTo>
                    <a:pt x="68" y="192"/>
                  </a:lnTo>
                  <a:lnTo>
                    <a:pt x="68" y="192"/>
                  </a:lnTo>
                  <a:lnTo>
                    <a:pt x="58" y="195"/>
                  </a:lnTo>
                  <a:lnTo>
                    <a:pt x="49" y="1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latin typeface="Lato Light"/>
              </a:endParaRPr>
            </a:p>
          </p:txBody>
        </p:sp>
        <p:sp>
          <p:nvSpPr>
            <p:cNvPr id="48" name="Freeform 75">
              <a:extLst>
                <a:ext uri="{FF2B5EF4-FFF2-40B4-BE49-F238E27FC236}">
                  <a16:creationId xmlns:a16="http://schemas.microsoft.com/office/drawing/2014/main" id="{D1B7CDED-CB35-490E-811F-072360A44DB8}"/>
                </a:ext>
              </a:extLst>
            </p:cNvPr>
            <p:cNvSpPr>
              <a:spLocks/>
            </p:cNvSpPr>
            <p:nvPr/>
          </p:nvSpPr>
          <p:spPr bwMode="auto">
            <a:xfrm>
              <a:off x="5344723" y="3244746"/>
              <a:ext cx="2238207" cy="1839063"/>
            </a:xfrm>
            <a:custGeom>
              <a:avLst/>
              <a:gdLst>
                <a:gd name="connsiteX0" fmla="*/ 1533525 w 3221037"/>
                <a:gd name="connsiteY0" fmla="*/ 155575 h 2713038"/>
                <a:gd name="connsiteX1" fmla="*/ 1497012 w 3221037"/>
                <a:gd name="connsiteY1" fmla="*/ 160338 h 2713038"/>
                <a:gd name="connsiteX2" fmla="*/ 1460500 w 3221037"/>
                <a:gd name="connsiteY2" fmla="*/ 165100 h 2713038"/>
                <a:gd name="connsiteX3" fmla="*/ 1427162 w 3221037"/>
                <a:gd name="connsiteY3" fmla="*/ 176213 h 2713038"/>
                <a:gd name="connsiteX4" fmla="*/ 1393825 w 3221037"/>
                <a:gd name="connsiteY4" fmla="*/ 188913 h 2713038"/>
                <a:gd name="connsiteX5" fmla="*/ 1362075 w 3221037"/>
                <a:gd name="connsiteY5" fmla="*/ 204788 h 2713038"/>
                <a:gd name="connsiteX6" fmla="*/ 1328737 w 3221037"/>
                <a:gd name="connsiteY6" fmla="*/ 222250 h 2713038"/>
                <a:gd name="connsiteX7" fmla="*/ 1300162 w 3221037"/>
                <a:gd name="connsiteY7" fmla="*/ 239713 h 2713038"/>
                <a:gd name="connsiteX8" fmla="*/ 1271587 w 3221037"/>
                <a:gd name="connsiteY8" fmla="*/ 263525 h 2713038"/>
                <a:gd name="connsiteX9" fmla="*/ 1254125 w 3221037"/>
                <a:gd name="connsiteY9" fmla="*/ 276225 h 2713038"/>
                <a:gd name="connsiteX10" fmla="*/ 1233487 w 3221037"/>
                <a:gd name="connsiteY10" fmla="*/ 280988 h 2713038"/>
                <a:gd name="connsiteX11" fmla="*/ 1212850 w 3221037"/>
                <a:gd name="connsiteY11" fmla="*/ 280988 h 2713038"/>
                <a:gd name="connsiteX12" fmla="*/ 1193800 w 3221037"/>
                <a:gd name="connsiteY12" fmla="*/ 276225 h 2713038"/>
                <a:gd name="connsiteX13" fmla="*/ 1160462 w 3221037"/>
                <a:gd name="connsiteY13" fmla="*/ 266700 h 2713038"/>
                <a:gd name="connsiteX14" fmla="*/ 1127125 w 3221037"/>
                <a:gd name="connsiteY14" fmla="*/ 258763 h 2713038"/>
                <a:gd name="connsiteX15" fmla="*/ 1081087 w 3221037"/>
                <a:gd name="connsiteY15" fmla="*/ 250825 h 2713038"/>
                <a:gd name="connsiteX16" fmla="*/ 1031875 w 3221037"/>
                <a:gd name="connsiteY16" fmla="*/ 247650 h 2713038"/>
                <a:gd name="connsiteX17" fmla="*/ 995362 w 3221037"/>
                <a:gd name="connsiteY17" fmla="*/ 247650 h 2713038"/>
                <a:gd name="connsiteX18" fmla="*/ 957262 w 3221037"/>
                <a:gd name="connsiteY18" fmla="*/ 254000 h 2713038"/>
                <a:gd name="connsiteX19" fmla="*/ 923925 w 3221037"/>
                <a:gd name="connsiteY19" fmla="*/ 260350 h 2713038"/>
                <a:gd name="connsiteX20" fmla="*/ 887413 w 3221037"/>
                <a:gd name="connsiteY20" fmla="*/ 271462 h 2713038"/>
                <a:gd name="connsiteX21" fmla="*/ 887413 w 3221037"/>
                <a:gd name="connsiteY21" fmla="*/ 271463 h 2713038"/>
                <a:gd name="connsiteX22" fmla="*/ 862013 w 3221037"/>
                <a:gd name="connsiteY22" fmla="*/ 280988 h 2713038"/>
                <a:gd name="connsiteX23" fmla="*/ 835026 w 3221037"/>
                <a:gd name="connsiteY23" fmla="*/ 295275 h 2713038"/>
                <a:gd name="connsiteX24" fmla="*/ 809626 w 3221037"/>
                <a:gd name="connsiteY24" fmla="*/ 307975 h 2713038"/>
                <a:gd name="connsiteX25" fmla="*/ 785813 w 3221037"/>
                <a:gd name="connsiteY25" fmla="*/ 322263 h 2713038"/>
                <a:gd name="connsiteX26" fmla="*/ 763588 w 3221037"/>
                <a:gd name="connsiteY26" fmla="*/ 338138 h 2713038"/>
                <a:gd name="connsiteX27" fmla="*/ 742950 w 3221037"/>
                <a:gd name="connsiteY27" fmla="*/ 357188 h 2713038"/>
                <a:gd name="connsiteX28" fmla="*/ 722313 w 3221037"/>
                <a:gd name="connsiteY28" fmla="*/ 374650 h 2713038"/>
                <a:gd name="connsiteX29" fmla="*/ 701675 w 3221037"/>
                <a:gd name="connsiteY29" fmla="*/ 395288 h 2713038"/>
                <a:gd name="connsiteX30" fmla="*/ 682625 w 3221037"/>
                <a:gd name="connsiteY30" fmla="*/ 419100 h 2713038"/>
                <a:gd name="connsiteX31" fmla="*/ 665163 w 3221037"/>
                <a:gd name="connsiteY31" fmla="*/ 439738 h 2713038"/>
                <a:gd name="connsiteX32" fmla="*/ 649288 w 3221037"/>
                <a:gd name="connsiteY32" fmla="*/ 465138 h 2713038"/>
                <a:gd name="connsiteX33" fmla="*/ 636588 w 3221037"/>
                <a:gd name="connsiteY33" fmla="*/ 488950 h 2713038"/>
                <a:gd name="connsiteX34" fmla="*/ 623888 w 3221037"/>
                <a:gd name="connsiteY34" fmla="*/ 514350 h 2713038"/>
                <a:gd name="connsiteX35" fmla="*/ 612775 w 3221037"/>
                <a:gd name="connsiteY35" fmla="*/ 542925 h 2713038"/>
                <a:gd name="connsiteX36" fmla="*/ 603250 w 3221037"/>
                <a:gd name="connsiteY36" fmla="*/ 568325 h 2713038"/>
                <a:gd name="connsiteX37" fmla="*/ 596900 w 3221037"/>
                <a:gd name="connsiteY37" fmla="*/ 596900 h 2713038"/>
                <a:gd name="connsiteX38" fmla="*/ 587375 w 3221037"/>
                <a:gd name="connsiteY38" fmla="*/ 649288 h 2713038"/>
                <a:gd name="connsiteX39" fmla="*/ 587375 w 3221037"/>
                <a:gd name="connsiteY39" fmla="*/ 696913 h 2713038"/>
                <a:gd name="connsiteX40" fmla="*/ 584200 w 3221037"/>
                <a:gd name="connsiteY40" fmla="*/ 712788 h 2713038"/>
                <a:gd name="connsiteX41" fmla="*/ 582613 w 3221037"/>
                <a:gd name="connsiteY41" fmla="*/ 725488 h 2713038"/>
                <a:gd name="connsiteX42" fmla="*/ 576263 w 3221037"/>
                <a:gd name="connsiteY42" fmla="*/ 739775 h 2713038"/>
                <a:gd name="connsiteX43" fmla="*/ 569913 w 3221037"/>
                <a:gd name="connsiteY43" fmla="*/ 749300 h 2713038"/>
                <a:gd name="connsiteX44" fmla="*/ 558800 w 3221037"/>
                <a:gd name="connsiteY44" fmla="*/ 757238 h 2713038"/>
                <a:gd name="connsiteX45" fmla="*/ 549275 w 3221037"/>
                <a:gd name="connsiteY45" fmla="*/ 765175 h 2713038"/>
                <a:gd name="connsiteX46" fmla="*/ 534988 w 3221037"/>
                <a:gd name="connsiteY46" fmla="*/ 773113 h 2713038"/>
                <a:gd name="connsiteX47" fmla="*/ 522288 w 3221037"/>
                <a:gd name="connsiteY47" fmla="*/ 774700 h 2713038"/>
                <a:gd name="connsiteX48" fmla="*/ 488950 w 3221037"/>
                <a:gd name="connsiteY48" fmla="*/ 782638 h 2713038"/>
                <a:gd name="connsiteX49" fmla="*/ 458788 w 3221037"/>
                <a:gd name="connsiteY49" fmla="*/ 793750 h 2713038"/>
                <a:gd name="connsiteX50" fmla="*/ 427038 w 3221037"/>
                <a:gd name="connsiteY50" fmla="*/ 803275 h 2713038"/>
                <a:gd name="connsiteX51" fmla="*/ 398463 w 3221037"/>
                <a:gd name="connsiteY51" fmla="*/ 819150 h 2713038"/>
                <a:gd name="connsiteX52" fmla="*/ 369888 w 3221037"/>
                <a:gd name="connsiteY52" fmla="*/ 835025 h 2713038"/>
                <a:gd name="connsiteX53" fmla="*/ 341313 w 3221037"/>
                <a:gd name="connsiteY53" fmla="*/ 852488 h 2713038"/>
                <a:gd name="connsiteX54" fmla="*/ 315913 w 3221037"/>
                <a:gd name="connsiteY54" fmla="*/ 871538 h 2713038"/>
                <a:gd name="connsiteX55" fmla="*/ 292100 w 3221037"/>
                <a:gd name="connsiteY55" fmla="*/ 893763 h 2713038"/>
                <a:gd name="connsiteX56" fmla="*/ 269875 w 3221037"/>
                <a:gd name="connsiteY56" fmla="*/ 917575 h 2713038"/>
                <a:gd name="connsiteX57" fmla="*/ 249238 w 3221037"/>
                <a:gd name="connsiteY57" fmla="*/ 941388 h 2713038"/>
                <a:gd name="connsiteX58" fmla="*/ 230188 w 3221037"/>
                <a:gd name="connsiteY58" fmla="*/ 968375 h 2713038"/>
                <a:gd name="connsiteX59" fmla="*/ 212725 w 3221037"/>
                <a:gd name="connsiteY59" fmla="*/ 995363 h 2713038"/>
                <a:gd name="connsiteX60" fmla="*/ 200025 w 3221037"/>
                <a:gd name="connsiteY60" fmla="*/ 1025525 h 2713038"/>
                <a:gd name="connsiteX61" fmla="*/ 187325 w 3221037"/>
                <a:gd name="connsiteY61" fmla="*/ 1054100 h 2713038"/>
                <a:gd name="connsiteX62" fmla="*/ 174625 w 3221037"/>
                <a:gd name="connsiteY62" fmla="*/ 1085850 h 2713038"/>
                <a:gd name="connsiteX63" fmla="*/ 166688 w 3221037"/>
                <a:gd name="connsiteY63" fmla="*/ 1119188 h 2713038"/>
                <a:gd name="connsiteX64" fmla="*/ 158750 w 3221037"/>
                <a:gd name="connsiteY64" fmla="*/ 1162050 h 2713038"/>
                <a:gd name="connsiteX65" fmla="*/ 155575 w 3221037"/>
                <a:gd name="connsiteY65" fmla="*/ 1206500 h 2713038"/>
                <a:gd name="connsiteX66" fmla="*/ 158750 w 3221037"/>
                <a:gd name="connsiteY66" fmla="*/ 1250950 h 2713038"/>
                <a:gd name="connsiteX67" fmla="*/ 163513 w 3221037"/>
                <a:gd name="connsiteY67" fmla="*/ 1292225 h 2713038"/>
                <a:gd name="connsiteX68" fmla="*/ 171450 w 3221037"/>
                <a:gd name="connsiteY68" fmla="*/ 1336675 h 2713038"/>
                <a:gd name="connsiteX69" fmla="*/ 187325 w 3221037"/>
                <a:gd name="connsiteY69" fmla="*/ 1377950 h 2713038"/>
                <a:gd name="connsiteX70" fmla="*/ 204788 w 3221037"/>
                <a:gd name="connsiteY70" fmla="*/ 1416050 h 2713038"/>
                <a:gd name="connsiteX71" fmla="*/ 225425 w 3221037"/>
                <a:gd name="connsiteY71" fmla="*/ 1454150 h 2713038"/>
                <a:gd name="connsiteX72" fmla="*/ 250825 w 3221037"/>
                <a:gd name="connsiteY72" fmla="*/ 1490663 h 2713038"/>
                <a:gd name="connsiteX73" fmla="*/ 279400 w 3221037"/>
                <a:gd name="connsiteY73" fmla="*/ 1524000 h 2713038"/>
                <a:gd name="connsiteX74" fmla="*/ 312738 w 3221037"/>
                <a:gd name="connsiteY74" fmla="*/ 1555750 h 2713038"/>
                <a:gd name="connsiteX75" fmla="*/ 347663 w 3221037"/>
                <a:gd name="connsiteY75" fmla="*/ 1581150 h 2713038"/>
                <a:gd name="connsiteX76" fmla="*/ 382588 w 3221037"/>
                <a:gd name="connsiteY76" fmla="*/ 1604963 h 2713038"/>
                <a:gd name="connsiteX77" fmla="*/ 422275 w 3221037"/>
                <a:gd name="connsiteY77" fmla="*/ 1622425 h 2713038"/>
                <a:gd name="connsiteX78" fmla="*/ 463550 w 3221037"/>
                <a:gd name="connsiteY78" fmla="*/ 1638300 h 2713038"/>
                <a:gd name="connsiteX79" fmla="*/ 508000 w 3221037"/>
                <a:gd name="connsiteY79" fmla="*/ 1651000 h 2713038"/>
                <a:gd name="connsiteX80" fmla="*/ 555625 w 3221037"/>
                <a:gd name="connsiteY80" fmla="*/ 1658938 h 2713038"/>
                <a:gd name="connsiteX81" fmla="*/ 608013 w 3221037"/>
                <a:gd name="connsiteY81" fmla="*/ 1662113 h 2713038"/>
                <a:gd name="connsiteX82" fmla="*/ 657225 w 3221037"/>
                <a:gd name="connsiteY82" fmla="*/ 1658938 h 2713038"/>
                <a:gd name="connsiteX83" fmla="*/ 706438 w 3221037"/>
                <a:gd name="connsiteY83" fmla="*/ 1649413 h 2713038"/>
                <a:gd name="connsiteX84" fmla="*/ 722313 w 3221037"/>
                <a:gd name="connsiteY84" fmla="*/ 1646238 h 2713038"/>
                <a:gd name="connsiteX85" fmla="*/ 735013 w 3221037"/>
                <a:gd name="connsiteY85" fmla="*/ 1646238 h 2713038"/>
                <a:gd name="connsiteX86" fmla="*/ 747713 w 3221037"/>
                <a:gd name="connsiteY86" fmla="*/ 1649413 h 2713038"/>
                <a:gd name="connsiteX87" fmla="*/ 757238 w 3221037"/>
                <a:gd name="connsiteY87" fmla="*/ 1654175 h 2713038"/>
                <a:gd name="connsiteX88" fmla="*/ 771525 w 3221037"/>
                <a:gd name="connsiteY88" fmla="*/ 1662113 h 2713038"/>
                <a:gd name="connsiteX89" fmla="*/ 781050 w 3221037"/>
                <a:gd name="connsiteY89" fmla="*/ 1670050 h 2713038"/>
                <a:gd name="connsiteX90" fmla="*/ 788988 w 3221037"/>
                <a:gd name="connsiteY90" fmla="*/ 1679575 h 2713038"/>
                <a:gd name="connsiteX91" fmla="*/ 796925 w 3221037"/>
                <a:gd name="connsiteY91" fmla="*/ 1690688 h 2713038"/>
                <a:gd name="connsiteX92" fmla="*/ 814388 w 3221037"/>
                <a:gd name="connsiteY92" fmla="*/ 1725613 h 2713038"/>
                <a:gd name="connsiteX93" fmla="*/ 835026 w 3221037"/>
                <a:gd name="connsiteY93" fmla="*/ 1758950 h 2713038"/>
                <a:gd name="connsiteX94" fmla="*/ 862013 w 3221037"/>
                <a:gd name="connsiteY94" fmla="*/ 1790700 h 2713038"/>
                <a:gd name="connsiteX95" fmla="*/ 887413 w 3221037"/>
                <a:gd name="connsiteY95" fmla="*/ 1816100 h 2713038"/>
                <a:gd name="connsiteX96" fmla="*/ 887413 w 3221037"/>
                <a:gd name="connsiteY96" fmla="*/ 1816102 h 2713038"/>
                <a:gd name="connsiteX97" fmla="*/ 909637 w 3221037"/>
                <a:gd name="connsiteY97" fmla="*/ 1836738 h 2713038"/>
                <a:gd name="connsiteX98" fmla="*/ 933450 w 3221037"/>
                <a:gd name="connsiteY98" fmla="*/ 1857376 h 2713038"/>
                <a:gd name="connsiteX99" fmla="*/ 958850 w 3221037"/>
                <a:gd name="connsiteY99" fmla="*/ 1873251 h 2713038"/>
                <a:gd name="connsiteX100" fmla="*/ 985837 w 3221037"/>
                <a:gd name="connsiteY100" fmla="*/ 1889126 h 2713038"/>
                <a:gd name="connsiteX101" fmla="*/ 1014412 w 3221037"/>
                <a:gd name="connsiteY101" fmla="*/ 1905001 h 2713038"/>
                <a:gd name="connsiteX102" fmla="*/ 1041400 w 3221037"/>
                <a:gd name="connsiteY102" fmla="*/ 1914526 h 2713038"/>
                <a:gd name="connsiteX103" fmla="*/ 1069975 w 3221037"/>
                <a:gd name="connsiteY103" fmla="*/ 1925638 h 2713038"/>
                <a:gd name="connsiteX104" fmla="*/ 1101725 w 3221037"/>
                <a:gd name="connsiteY104" fmla="*/ 1933576 h 2713038"/>
                <a:gd name="connsiteX105" fmla="*/ 1150937 w 3221037"/>
                <a:gd name="connsiteY105" fmla="*/ 1939926 h 2713038"/>
                <a:gd name="connsiteX106" fmla="*/ 1196975 w 3221037"/>
                <a:gd name="connsiteY106" fmla="*/ 1943101 h 2713038"/>
                <a:gd name="connsiteX107" fmla="*/ 1228725 w 3221037"/>
                <a:gd name="connsiteY107" fmla="*/ 1943101 h 2713038"/>
                <a:gd name="connsiteX108" fmla="*/ 1258887 w 3221037"/>
                <a:gd name="connsiteY108" fmla="*/ 1938338 h 2713038"/>
                <a:gd name="connsiteX109" fmla="*/ 1290637 w 3221037"/>
                <a:gd name="connsiteY109" fmla="*/ 1933576 h 2713038"/>
                <a:gd name="connsiteX110" fmla="*/ 1320800 w 3221037"/>
                <a:gd name="connsiteY110" fmla="*/ 1925638 h 2713038"/>
                <a:gd name="connsiteX111" fmla="*/ 1349375 w 3221037"/>
                <a:gd name="connsiteY111" fmla="*/ 1917701 h 2713038"/>
                <a:gd name="connsiteX112" fmla="*/ 1377950 w 3221037"/>
                <a:gd name="connsiteY112" fmla="*/ 1905001 h 2713038"/>
                <a:gd name="connsiteX113" fmla="*/ 1406525 w 3221037"/>
                <a:gd name="connsiteY113" fmla="*/ 1892301 h 2713038"/>
                <a:gd name="connsiteX114" fmla="*/ 1431925 w 3221037"/>
                <a:gd name="connsiteY114" fmla="*/ 1876426 h 2713038"/>
                <a:gd name="connsiteX115" fmla="*/ 1443037 w 3221037"/>
                <a:gd name="connsiteY115" fmla="*/ 1870076 h 2713038"/>
                <a:gd name="connsiteX116" fmla="*/ 1452562 w 3221037"/>
                <a:gd name="connsiteY116" fmla="*/ 1868488 h 2713038"/>
                <a:gd name="connsiteX117" fmla="*/ 1473200 w 3221037"/>
                <a:gd name="connsiteY117" fmla="*/ 1863726 h 2713038"/>
                <a:gd name="connsiteX118" fmla="*/ 1485900 w 3221037"/>
                <a:gd name="connsiteY118" fmla="*/ 1865313 h 2713038"/>
                <a:gd name="connsiteX119" fmla="*/ 1500187 w 3221037"/>
                <a:gd name="connsiteY119" fmla="*/ 1868488 h 2713038"/>
                <a:gd name="connsiteX120" fmla="*/ 1512887 w 3221037"/>
                <a:gd name="connsiteY120" fmla="*/ 1873251 h 2713038"/>
                <a:gd name="connsiteX121" fmla="*/ 1522412 w 3221037"/>
                <a:gd name="connsiteY121" fmla="*/ 1881188 h 2713038"/>
                <a:gd name="connsiteX122" fmla="*/ 1530350 w 3221037"/>
                <a:gd name="connsiteY122" fmla="*/ 1889126 h 2713038"/>
                <a:gd name="connsiteX123" fmla="*/ 1538287 w 3221037"/>
                <a:gd name="connsiteY123" fmla="*/ 1898651 h 2713038"/>
                <a:gd name="connsiteX124" fmla="*/ 1543050 w 3221037"/>
                <a:gd name="connsiteY124" fmla="*/ 1909763 h 2713038"/>
                <a:gd name="connsiteX125" fmla="*/ 1547812 w 3221037"/>
                <a:gd name="connsiteY125" fmla="*/ 1919288 h 2713038"/>
                <a:gd name="connsiteX126" fmla="*/ 1550987 w 3221037"/>
                <a:gd name="connsiteY126" fmla="*/ 1933576 h 2713038"/>
                <a:gd name="connsiteX127" fmla="*/ 1550987 w 3221037"/>
                <a:gd name="connsiteY127" fmla="*/ 1943101 h 2713038"/>
                <a:gd name="connsiteX128" fmla="*/ 1550987 w 3221037"/>
                <a:gd name="connsiteY128" fmla="*/ 1955801 h 2713038"/>
                <a:gd name="connsiteX129" fmla="*/ 1547812 w 3221037"/>
                <a:gd name="connsiteY129" fmla="*/ 1966913 h 2713038"/>
                <a:gd name="connsiteX130" fmla="*/ 1533525 w 3221037"/>
                <a:gd name="connsiteY130" fmla="*/ 2017713 h 2713038"/>
                <a:gd name="connsiteX131" fmla="*/ 1525587 w 3221037"/>
                <a:gd name="connsiteY131" fmla="*/ 2058988 h 2713038"/>
                <a:gd name="connsiteX132" fmla="*/ 1522412 w 3221037"/>
                <a:gd name="connsiteY132" fmla="*/ 2103438 h 2713038"/>
                <a:gd name="connsiteX133" fmla="*/ 1522412 w 3221037"/>
                <a:gd name="connsiteY133" fmla="*/ 2147888 h 2713038"/>
                <a:gd name="connsiteX134" fmla="*/ 1530350 w 3221037"/>
                <a:gd name="connsiteY134" fmla="*/ 2190751 h 2713038"/>
                <a:gd name="connsiteX135" fmla="*/ 1538287 w 3221037"/>
                <a:gd name="connsiteY135" fmla="*/ 2232026 h 2713038"/>
                <a:gd name="connsiteX136" fmla="*/ 1554162 w 3221037"/>
                <a:gd name="connsiteY136" fmla="*/ 2273301 h 2713038"/>
                <a:gd name="connsiteX137" fmla="*/ 1571625 w 3221037"/>
                <a:gd name="connsiteY137" fmla="*/ 2314576 h 2713038"/>
                <a:gd name="connsiteX138" fmla="*/ 1592262 w 3221037"/>
                <a:gd name="connsiteY138" fmla="*/ 2354263 h 2713038"/>
                <a:gd name="connsiteX139" fmla="*/ 1617662 w 3221037"/>
                <a:gd name="connsiteY139" fmla="*/ 2390776 h 2713038"/>
                <a:gd name="connsiteX140" fmla="*/ 1646237 w 3221037"/>
                <a:gd name="connsiteY140" fmla="*/ 2424113 h 2713038"/>
                <a:gd name="connsiteX141" fmla="*/ 1677987 w 3221037"/>
                <a:gd name="connsiteY141" fmla="*/ 2452688 h 2713038"/>
                <a:gd name="connsiteX142" fmla="*/ 1714500 w 3221037"/>
                <a:gd name="connsiteY142" fmla="*/ 2478088 h 2713038"/>
                <a:gd name="connsiteX143" fmla="*/ 1749425 w 3221037"/>
                <a:gd name="connsiteY143" fmla="*/ 2501901 h 2713038"/>
                <a:gd name="connsiteX144" fmla="*/ 1789112 w 3221037"/>
                <a:gd name="connsiteY144" fmla="*/ 2522538 h 2713038"/>
                <a:gd name="connsiteX145" fmla="*/ 1830387 w 3221037"/>
                <a:gd name="connsiteY145" fmla="*/ 2536826 h 2713038"/>
                <a:gd name="connsiteX146" fmla="*/ 1874837 w 3221037"/>
                <a:gd name="connsiteY146" fmla="*/ 2547938 h 2713038"/>
                <a:gd name="connsiteX147" fmla="*/ 1920875 w 3221037"/>
                <a:gd name="connsiteY147" fmla="*/ 2555876 h 2713038"/>
                <a:gd name="connsiteX148" fmla="*/ 1970087 w 3221037"/>
                <a:gd name="connsiteY148" fmla="*/ 2557463 h 2713038"/>
                <a:gd name="connsiteX149" fmla="*/ 2019300 w 3221037"/>
                <a:gd name="connsiteY149" fmla="*/ 2555876 h 2713038"/>
                <a:gd name="connsiteX150" fmla="*/ 2065337 w 3221037"/>
                <a:gd name="connsiteY150" fmla="*/ 2547938 h 2713038"/>
                <a:gd name="connsiteX151" fmla="*/ 2111375 w 3221037"/>
                <a:gd name="connsiteY151" fmla="*/ 2536826 h 2713038"/>
                <a:gd name="connsiteX152" fmla="*/ 2155825 w 3221037"/>
                <a:gd name="connsiteY152" fmla="*/ 2519363 h 2713038"/>
                <a:gd name="connsiteX153" fmla="*/ 2197100 w 3221037"/>
                <a:gd name="connsiteY153" fmla="*/ 2495551 h 2713038"/>
                <a:gd name="connsiteX154" fmla="*/ 2238375 w 3221037"/>
                <a:gd name="connsiteY154" fmla="*/ 2470151 h 2713038"/>
                <a:gd name="connsiteX155" fmla="*/ 2274887 w 3221037"/>
                <a:gd name="connsiteY155" fmla="*/ 2439988 h 2713038"/>
                <a:gd name="connsiteX156" fmla="*/ 2308225 w 3221037"/>
                <a:gd name="connsiteY156" fmla="*/ 2403476 h 2713038"/>
                <a:gd name="connsiteX157" fmla="*/ 2316162 w 3221037"/>
                <a:gd name="connsiteY157" fmla="*/ 2395538 h 2713038"/>
                <a:gd name="connsiteX158" fmla="*/ 2325687 w 3221037"/>
                <a:gd name="connsiteY158" fmla="*/ 2387601 h 2713038"/>
                <a:gd name="connsiteX159" fmla="*/ 2336800 w 3221037"/>
                <a:gd name="connsiteY159" fmla="*/ 2382838 h 2713038"/>
                <a:gd name="connsiteX160" fmla="*/ 2346325 w 3221037"/>
                <a:gd name="connsiteY160" fmla="*/ 2379663 h 2713038"/>
                <a:gd name="connsiteX161" fmla="*/ 2360612 w 3221037"/>
                <a:gd name="connsiteY161" fmla="*/ 2378076 h 2713038"/>
                <a:gd name="connsiteX162" fmla="*/ 2370137 w 3221037"/>
                <a:gd name="connsiteY162" fmla="*/ 2378076 h 2713038"/>
                <a:gd name="connsiteX163" fmla="*/ 2382837 w 3221037"/>
                <a:gd name="connsiteY163" fmla="*/ 2378076 h 2713038"/>
                <a:gd name="connsiteX164" fmla="*/ 2393950 w 3221037"/>
                <a:gd name="connsiteY164" fmla="*/ 2382838 h 2713038"/>
                <a:gd name="connsiteX165" fmla="*/ 2427287 w 3221037"/>
                <a:gd name="connsiteY165" fmla="*/ 2392363 h 2713038"/>
                <a:gd name="connsiteX166" fmla="*/ 2460625 w 3221037"/>
                <a:gd name="connsiteY166" fmla="*/ 2403476 h 2713038"/>
                <a:gd name="connsiteX167" fmla="*/ 2509837 w 3221037"/>
                <a:gd name="connsiteY167" fmla="*/ 2411413 h 2713038"/>
                <a:gd name="connsiteX168" fmla="*/ 2555875 w 3221037"/>
                <a:gd name="connsiteY168" fmla="*/ 2413001 h 2713038"/>
                <a:gd name="connsiteX169" fmla="*/ 2595562 w 3221037"/>
                <a:gd name="connsiteY169" fmla="*/ 2411413 h 2713038"/>
                <a:gd name="connsiteX170" fmla="*/ 2633662 w 3221037"/>
                <a:gd name="connsiteY170" fmla="*/ 2405063 h 2713038"/>
                <a:gd name="connsiteX171" fmla="*/ 2670175 w 3221037"/>
                <a:gd name="connsiteY171" fmla="*/ 2398713 h 2713038"/>
                <a:gd name="connsiteX172" fmla="*/ 2706687 w 3221037"/>
                <a:gd name="connsiteY172" fmla="*/ 2387601 h 2713038"/>
                <a:gd name="connsiteX173" fmla="*/ 2741612 w 3221037"/>
                <a:gd name="connsiteY173" fmla="*/ 2371726 h 2713038"/>
                <a:gd name="connsiteX174" fmla="*/ 2773362 w 3221037"/>
                <a:gd name="connsiteY174" fmla="*/ 2354263 h 2713038"/>
                <a:gd name="connsiteX175" fmla="*/ 2806700 w 3221037"/>
                <a:gd name="connsiteY175" fmla="*/ 2335213 h 2713038"/>
                <a:gd name="connsiteX176" fmla="*/ 2835275 w 3221037"/>
                <a:gd name="connsiteY176" fmla="*/ 2312988 h 2713038"/>
                <a:gd name="connsiteX177" fmla="*/ 2863850 w 3221037"/>
                <a:gd name="connsiteY177" fmla="*/ 2289176 h 2713038"/>
                <a:gd name="connsiteX178" fmla="*/ 2889250 w 3221037"/>
                <a:gd name="connsiteY178" fmla="*/ 2260601 h 2713038"/>
                <a:gd name="connsiteX179" fmla="*/ 2913062 w 3221037"/>
                <a:gd name="connsiteY179" fmla="*/ 2232026 h 2713038"/>
                <a:gd name="connsiteX180" fmla="*/ 2936875 w 3221037"/>
                <a:gd name="connsiteY180" fmla="*/ 2201863 h 2713038"/>
                <a:gd name="connsiteX181" fmla="*/ 2954337 w 3221037"/>
                <a:gd name="connsiteY181" fmla="*/ 2170113 h 2713038"/>
                <a:gd name="connsiteX182" fmla="*/ 2970212 w 3221037"/>
                <a:gd name="connsiteY182" fmla="*/ 2135188 h 2713038"/>
                <a:gd name="connsiteX183" fmla="*/ 2982912 w 3221037"/>
                <a:gd name="connsiteY183" fmla="*/ 2100263 h 2713038"/>
                <a:gd name="connsiteX184" fmla="*/ 2992437 w 3221037"/>
                <a:gd name="connsiteY184" fmla="*/ 2062163 h 2713038"/>
                <a:gd name="connsiteX185" fmla="*/ 3000375 w 3221037"/>
                <a:gd name="connsiteY185" fmla="*/ 2016126 h 2713038"/>
                <a:gd name="connsiteX186" fmla="*/ 3003550 w 3221037"/>
                <a:gd name="connsiteY186" fmla="*/ 1966913 h 2713038"/>
                <a:gd name="connsiteX187" fmla="*/ 3000375 w 3221037"/>
                <a:gd name="connsiteY187" fmla="*/ 1919288 h 2713038"/>
                <a:gd name="connsiteX188" fmla="*/ 2992437 w 3221037"/>
                <a:gd name="connsiteY188" fmla="*/ 1873251 h 2713038"/>
                <a:gd name="connsiteX189" fmla="*/ 2979737 w 3221037"/>
                <a:gd name="connsiteY189" fmla="*/ 1827213 h 2713038"/>
                <a:gd name="connsiteX190" fmla="*/ 2963862 w 3221037"/>
                <a:gd name="connsiteY190" fmla="*/ 1782763 h 2713038"/>
                <a:gd name="connsiteX191" fmla="*/ 2941637 w 3221037"/>
                <a:gd name="connsiteY191" fmla="*/ 1741488 h 2713038"/>
                <a:gd name="connsiteX192" fmla="*/ 2916237 w 3221037"/>
                <a:gd name="connsiteY192" fmla="*/ 1700213 h 2713038"/>
                <a:gd name="connsiteX193" fmla="*/ 2908300 w 3221037"/>
                <a:gd name="connsiteY193" fmla="*/ 1687513 h 2713038"/>
                <a:gd name="connsiteX194" fmla="*/ 2901950 w 3221037"/>
                <a:gd name="connsiteY194" fmla="*/ 1674813 h 2713038"/>
                <a:gd name="connsiteX195" fmla="*/ 2900362 w 3221037"/>
                <a:gd name="connsiteY195" fmla="*/ 1662113 h 2713038"/>
                <a:gd name="connsiteX196" fmla="*/ 2900362 w 3221037"/>
                <a:gd name="connsiteY196" fmla="*/ 1649413 h 2713038"/>
                <a:gd name="connsiteX197" fmla="*/ 2901950 w 3221037"/>
                <a:gd name="connsiteY197" fmla="*/ 1633538 h 2713038"/>
                <a:gd name="connsiteX198" fmla="*/ 2908300 w 3221037"/>
                <a:gd name="connsiteY198" fmla="*/ 1620838 h 2713038"/>
                <a:gd name="connsiteX199" fmla="*/ 2916237 w 3221037"/>
                <a:gd name="connsiteY199" fmla="*/ 1609725 h 2713038"/>
                <a:gd name="connsiteX200" fmla="*/ 2925762 w 3221037"/>
                <a:gd name="connsiteY200" fmla="*/ 1597025 h 2713038"/>
                <a:gd name="connsiteX201" fmla="*/ 2949575 w 3221037"/>
                <a:gd name="connsiteY201" fmla="*/ 1573213 h 2713038"/>
                <a:gd name="connsiteX202" fmla="*/ 2970212 w 3221037"/>
                <a:gd name="connsiteY202" fmla="*/ 1547813 h 2713038"/>
                <a:gd name="connsiteX203" fmla="*/ 2990850 w 3221037"/>
                <a:gd name="connsiteY203" fmla="*/ 1522413 h 2713038"/>
                <a:gd name="connsiteX204" fmla="*/ 3005137 w 3221037"/>
                <a:gd name="connsiteY204" fmla="*/ 1493838 h 2713038"/>
                <a:gd name="connsiteX205" fmla="*/ 3021012 w 3221037"/>
                <a:gd name="connsiteY205" fmla="*/ 1465263 h 2713038"/>
                <a:gd name="connsiteX206" fmla="*/ 3033712 w 3221037"/>
                <a:gd name="connsiteY206" fmla="*/ 1433513 h 2713038"/>
                <a:gd name="connsiteX207" fmla="*/ 3044825 w 3221037"/>
                <a:gd name="connsiteY207" fmla="*/ 1403350 h 2713038"/>
                <a:gd name="connsiteX208" fmla="*/ 3054350 w 3221037"/>
                <a:gd name="connsiteY208" fmla="*/ 1370013 h 2713038"/>
                <a:gd name="connsiteX209" fmla="*/ 3062287 w 3221037"/>
                <a:gd name="connsiteY209" fmla="*/ 1325563 h 2713038"/>
                <a:gd name="connsiteX210" fmla="*/ 3065462 w 3221037"/>
                <a:gd name="connsiteY210" fmla="*/ 1281113 h 2713038"/>
                <a:gd name="connsiteX211" fmla="*/ 3062287 w 3221037"/>
                <a:gd name="connsiteY211" fmla="*/ 1238250 h 2713038"/>
                <a:gd name="connsiteX212" fmla="*/ 3057525 w 3221037"/>
                <a:gd name="connsiteY212" fmla="*/ 1196975 h 2713038"/>
                <a:gd name="connsiteX213" fmla="*/ 3049587 w 3221037"/>
                <a:gd name="connsiteY213" fmla="*/ 1155700 h 2713038"/>
                <a:gd name="connsiteX214" fmla="*/ 3036887 w 3221037"/>
                <a:gd name="connsiteY214" fmla="*/ 1114425 h 2713038"/>
                <a:gd name="connsiteX215" fmla="*/ 3019425 w 3221037"/>
                <a:gd name="connsiteY215" fmla="*/ 1074738 h 2713038"/>
                <a:gd name="connsiteX216" fmla="*/ 2998787 w 3221037"/>
                <a:gd name="connsiteY216" fmla="*/ 1038225 h 2713038"/>
                <a:gd name="connsiteX217" fmla="*/ 2974975 w 3221037"/>
                <a:gd name="connsiteY217" fmla="*/ 1004888 h 2713038"/>
                <a:gd name="connsiteX218" fmla="*/ 2949575 w 3221037"/>
                <a:gd name="connsiteY218" fmla="*/ 971550 h 2713038"/>
                <a:gd name="connsiteX219" fmla="*/ 2917825 w 3221037"/>
                <a:gd name="connsiteY219" fmla="*/ 942975 h 2713038"/>
                <a:gd name="connsiteX220" fmla="*/ 2887662 w 3221037"/>
                <a:gd name="connsiteY220" fmla="*/ 914400 h 2713038"/>
                <a:gd name="connsiteX221" fmla="*/ 2851150 w 3221037"/>
                <a:gd name="connsiteY221" fmla="*/ 892175 h 2713038"/>
                <a:gd name="connsiteX222" fmla="*/ 2811462 w 3221037"/>
                <a:gd name="connsiteY222" fmla="*/ 871538 h 2713038"/>
                <a:gd name="connsiteX223" fmla="*/ 2770187 w 3221037"/>
                <a:gd name="connsiteY223" fmla="*/ 855663 h 2713038"/>
                <a:gd name="connsiteX224" fmla="*/ 2728912 w 3221037"/>
                <a:gd name="connsiteY224" fmla="*/ 842963 h 2713038"/>
                <a:gd name="connsiteX225" fmla="*/ 2716212 w 3221037"/>
                <a:gd name="connsiteY225" fmla="*/ 836613 h 2713038"/>
                <a:gd name="connsiteX226" fmla="*/ 2703512 w 3221037"/>
                <a:gd name="connsiteY226" fmla="*/ 830263 h 2713038"/>
                <a:gd name="connsiteX227" fmla="*/ 2693987 w 3221037"/>
                <a:gd name="connsiteY227" fmla="*/ 822325 h 2713038"/>
                <a:gd name="connsiteX228" fmla="*/ 2686050 w 3221037"/>
                <a:gd name="connsiteY228" fmla="*/ 811213 h 2713038"/>
                <a:gd name="connsiteX229" fmla="*/ 2679700 w 3221037"/>
                <a:gd name="connsiteY229" fmla="*/ 801688 h 2713038"/>
                <a:gd name="connsiteX230" fmla="*/ 2674937 w 3221037"/>
                <a:gd name="connsiteY230" fmla="*/ 787400 h 2713038"/>
                <a:gd name="connsiteX231" fmla="*/ 2670175 w 3221037"/>
                <a:gd name="connsiteY231" fmla="*/ 777875 h 2713038"/>
                <a:gd name="connsiteX232" fmla="*/ 2670175 w 3221037"/>
                <a:gd name="connsiteY232" fmla="*/ 762000 h 2713038"/>
                <a:gd name="connsiteX233" fmla="*/ 2670175 w 3221037"/>
                <a:gd name="connsiteY233" fmla="*/ 723900 h 2713038"/>
                <a:gd name="connsiteX234" fmla="*/ 2667000 w 3221037"/>
                <a:gd name="connsiteY234" fmla="*/ 684213 h 2713038"/>
                <a:gd name="connsiteX235" fmla="*/ 2659062 w 3221037"/>
                <a:gd name="connsiteY235" fmla="*/ 646113 h 2713038"/>
                <a:gd name="connsiteX236" fmla="*/ 2649537 w 3221037"/>
                <a:gd name="connsiteY236" fmla="*/ 608013 h 2713038"/>
                <a:gd name="connsiteX237" fmla="*/ 2636837 w 3221037"/>
                <a:gd name="connsiteY237" fmla="*/ 571500 h 2713038"/>
                <a:gd name="connsiteX238" fmla="*/ 2617787 w 3221037"/>
                <a:gd name="connsiteY238" fmla="*/ 538163 h 2713038"/>
                <a:gd name="connsiteX239" fmla="*/ 2600325 w 3221037"/>
                <a:gd name="connsiteY239" fmla="*/ 503238 h 2713038"/>
                <a:gd name="connsiteX240" fmla="*/ 2576512 w 3221037"/>
                <a:gd name="connsiteY240" fmla="*/ 473075 h 2713038"/>
                <a:gd name="connsiteX241" fmla="*/ 2554287 w 3221037"/>
                <a:gd name="connsiteY241" fmla="*/ 444500 h 2713038"/>
                <a:gd name="connsiteX242" fmla="*/ 2525712 w 3221037"/>
                <a:gd name="connsiteY242" fmla="*/ 415925 h 2713038"/>
                <a:gd name="connsiteX243" fmla="*/ 2497137 w 3221037"/>
                <a:gd name="connsiteY243" fmla="*/ 392113 h 2713038"/>
                <a:gd name="connsiteX244" fmla="*/ 2465387 w 3221037"/>
                <a:gd name="connsiteY244" fmla="*/ 369888 h 2713038"/>
                <a:gd name="connsiteX245" fmla="*/ 2432050 w 3221037"/>
                <a:gd name="connsiteY245" fmla="*/ 350838 h 2713038"/>
                <a:gd name="connsiteX246" fmla="*/ 2395537 w 3221037"/>
                <a:gd name="connsiteY246" fmla="*/ 333375 h 2713038"/>
                <a:gd name="connsiteX247" fmla="*/ 2360612 w 3221037"/>
                <a:gd name="connsiteY247" fmla="*/ 320675 h 2713038"/>
                <a:gd name="connsiteX248" fmla="*/ 2320925 w 3221037"/>
                <a:gd name="connsiteY248" fmla="*/ 309563 h 2713038"/>
                <a:gd name="connsiteX249" fmla="*/ 2282825 w 3221037"/>
                <a:gd name="connsiteY249" fmla="*/ 301625 h 2713038"/>
                <a:gd name="connsiteX250" fmla="*/ 2243137 w 3221037"/>
                <a:gd name="connsiteY250" fmla="*/ 300038 h 2713038"/>
                <a:gd name="connsiteX251" fmla="*/ 2205037 w 3221037"/>
                <a:gd name="connsiteY251" fmla="*/ 300038 h 2713038"/>
                <a:gd name="connsiteX252" fmla="*/ 2165350 w 3221037"/>
                <a:gd name="connsiteY252" fmla="*/ 304800 h 2713038"/>
                <a:gd name="connsiteX253" fmla="*/ 2127250 w 3221037"/>
                <a:gd name="connsiteY253" fmla="*/ 309563 h 2713038"/>
                <a:gd name="connsiteX254" fmla="*/ 2089150 w 3221037"/>
                <a:gd name="connsiteY254" fmla="*/ 320675 h 2713038"/>
                <a:gd name="connsiteX255" fmla="*/ 2052637 w 3221037"/>
                <a:gd name="connsiteY255" fmla="*/ 333375 h 2713038"/>
                <a:gd name="connsiteX256" fmla="*/ 2016125 w 3221037"/>
                <a:gd name="connsiteY256" fmla="*/ 350838 h 2713038"/>
                <a:gd name="connsiteX257" fmla="*/ 2003425 w 3221037"/>
                <a:gd name="connsiteY257" fmla="*/ 357188 h 2713038"/>
                <a:gd name="connsiteX258" fmla="*/ 1990725 w 3221037"/>
                <a:gd name="connsiteY258" fmla="*/ 358775 h 2713038"/>
                <a:gd name="connsiteX259" fmla="*/ 1978025 w 3221037"/>
                <a:gd name="connsiteY259" fmla="*/ 358775 h 2713038"/>
                <a:gd name="connsiteX260" fmla="*/ 1965325 w 3221037"/>
                <a:gd name="connsiteY260" fmla="*/ 358775 h 2713038"/>
                <a:gd name="connsiteX261" fmla="*/ 1951037 w 3221037"/>
                <a:gd name="connsiteY261" fmla="*/ 354013 h 2713038"/>
                <a:gd name="connsiteX262" fmla="*/ 1938337 w 3221037"/>
                <a:gd name="connsiteY262" fmla="*/ 349250 h 2713038"/>
                <a:gd name="connsiteX263" fmla="*/ 1928812 w 3221037"/>
                <a:gd name="connsiteY263" fmla="*/ 338138 h 2713038"/>
                <a:gd name="connsiteX264" fmla="*/ 1917700 w 3221037"/>
                <a:gd name="connsiteY264" fmla="*/ 330200 h 2713038"/>
                <a:gd name="connsiteX265" fmla="*/ 1895475 w 3221037"/>
                <a:gd name="connsiteY265" fmla="*/ 300038 h 2713038"/>
                <a:gd name="connsiteX266" fmla="*/ 1866900 w 3221037"/>
                <a:gd name="connsiteY266" fmla="*/ 271463 h 2713038"/>
                <a:gd name="connsiteX267" fmla="*/ 1835150 w 3221037"/>
                <a:gd name="connsiteY267" fmla="*/ 246063 h 2713038"/>
                <a:gd name="connsiteX268" fmla="*/ 1804987 w 3221037"/>
                <a:gd name="connsiteY268" fmla="*/ 225425 h 2713038"/>
                <a:gd name="connsiteX269" fmla="*/ 1770062 w 3221037"/>
                <a:gd name="connsiteY269" fmla="*/ 204788 h 2713038"/>
                <a:gd name="connsiteX270" fmla="*/ 1735137 w 3221037"/>
                <a:gd name="connsiteY270" fmla="*/ 188913 h 2713038"/>
                <a:gd name="connsiteX271" fmla="*/ 1698625 w 3221037"/>
                <a:gd name="connsiteY271" fmla="*/ 176213 h 2713038"/>
                <a:gd name="connsiteX272" fmla="*/ 1662112 w 3221037"/>
                <a:gd name="connsiteY272" fmla="*/ 165100 h 2713038"/>
                <a:gd name="connsiteX273" fmla="*/ 1612900 w 3221037"/>
                <a:gd name="connsiteY273" fmla="*/ 157163 h 2713038"/>
                <a:gd name="connsiteX274" fmla="*/ 1563687 w 3221037"/>
                <a:gd name="connsiteY274" fmla="*/ 155575 h 2713038"/>
                <a:gd name="connsiteX275" fmla="*/ 1514475 w 3221037"/>
                <a:gd name="connsiteY275" fmla="*/ 0 h 2713038"/>
                <a:gd name="connsiteX276" fmla="*/ 1563687 w 3221037"/>
                <a:gd name="connsiteY276" fmla="*/ 0 h 2713038"/>
                <a:gd name="connsiteX277" fmla="*/ 1597025 w 3221037"/>
                <a:gd name="connsiteY277" fmla="*/ 0 h 2713038"/>
                <a:gd name="connsiteX278" fmla="*/ 1628775 w 3221037"/>
                <a:gd name="connsiteY278" fmla="*/ 3175 h 2713038"/>
                <a:gd name="connsiteX279" fmla="*/ 1662112 w 3221037"/>
                <a:gd name="connsiteY279" fmla="*/ 7938 h 2713038"/>
                <a:gd name="connsiteX280" fmla="*/ 1693862 w 3221037"/>
                <a:gd name="connsiteY280" fmla="*/ 12700 h 2713038"/>
                <a:gd name="connsiteX281" fmla="*/ 1736725 w 3221037"/>
                <a:gd name="connsiteY281" fmla="*/ 25400 h 2713038"/>
                <a:gd name="connsiteX282" fmla="*/ 1781175 w 3221037"/>
                <a:gd name="connsiteY282" fmla="*/ 38100 h 2713038"/>
                <a:gd name="connsiteX283" fmla="*/ 1822450 w 3221037"/>
                <a:gd name="connsiteY283" fmla="*/ 57150 h 2713038"/>
                <a:gd name="connsiteX284" fmla="*/ 1860550 w 3221037"/>
                <a:gd name="connsiteY284" fmla="*/ 77788 h 2713038"/>
                <a:gd name="connsiteX285" fmla="*/ 1900237 w 3221037"/>
                <a:gd name="connsiteY285" fmla="*/ 100013 h 2713038"/>
                <a:gd name="connsiteX286" fmla="*/ 1936750 w 3221037"/>
                <a:gd name="connsiteY286" fmla="*/ 127000 h 2713038"/>
                <a:gd name="connsiteX287" fmla="*/ 1970087 w 3221037"/>
                <a:gd name="connsiteY287" fmla="*/ 155575 h 2713038"/>
                <a:gd name="connsiteX288" fmla="*/ 2000250 w 3221037"/>
                <a:gd name="connsiteY288" fmla="*/ 188913 h 2713038"/>
                <a:gd name="connsiteX289" fmla="*/ 2044700 w 3221037"/>
                <a:gd name="connsiteY289" fmla="*/ 173038 h 2713038"/>
                <a:gd name="connsiteX290" fmla="*/ 2085975 w 3221037"/>
                <a:gd name="connsiteY290" fmla="*/ 160338 h 2713038"/>
                <a:gd name="connsiteX291" fmla="*/ 2130425 w 3221037"/>
                <a:gd name="connsiteY291" fmla="*/ 152400 h 2713038"/>
                <a:gd name="connsiteX292" fmla="*/ 2176462 w 3221037"/>
                <a:gd name="connsiteY292" fmla="*/ 147638 h 2713038"/>
                <a:gd name="connsiteX293" fmla="*/ 2220912 w 3221037"/>
                <a:gd name="connsiteY293" fmla="*/ 144463 h 2713038"/>
                <a:gd name="connsiteX294" fmla="*/ 2263775 w 3221037"/>
                <a:gd name="connsiteY294" fmla="*/ 147638 h 2713038"/>
                <a:gd name="connsiteX295" fmla="*/ 2311400 w 3221037"/>
                <a:gd name="connsiteY295" fmla="*/ 149225 h 2713038"/>
                <a:gd name="connsiteX296" fmla="*/ 2354262 w 3221037"/>
                <a:gd name="connsiteY296" fmla="*/ 157163 h 2713038"/>
                <a:gd name="connsiteX297" fmla="*/ 2403475 w 3221037"/>
                <a:gd name="connsiteY297" fmla="*/ 169863 h 2713038"/>
                <a:gd name="connsiteX298" fmla="*/ 2451100 w 3221037"/>
                <a:gd name="connsiteY298" fmla="*/ 188913 h 2713038"/>
                <a:gd name="connsiteX299" fmla="*/ 2493962 w 3221037"/>
                <a:gd name="connsiteY299" fmla="*/ 209550 h 2713038"/>
                <a:gd name="connsiteX300" fmla="*/ 2538412 w 3221037"/>
                <a:gd name="connsiteY300" fmla="*/ 233363 h 2713038"/>
                <a:gd name="connsiteX301" fmla="*/ 2576512 w 3221037"/>
                <a:gd name="connsiteY301" fmla="*/ 258763 h 2713038"/>
                <a:gd name="connsiteX302" fmla="*/ 2616200 w 3221037"/>
                <a:gd name="connsiteY302" fmla="*/ 288925 h 2713038"/>
                <a:gd name="connsiteX303" fmla="*/ 2649537 w 3221037"/>
                <a:gd name="connsiteY303" fmla="*/ 320675 h 2713038"/>
                <a:gd name="connsiteX304" fmla="*/ 2682875 w 3221037"/>
                <a:gd name="connsiteY304" fmla="*/ 357188 h 2713038"/>
                <a:gd name="connsiteX305" fmla="*/ 2711450 w 3221037"/>
                <a:gd name="connsiteY305" fmla="*/ 392113 h 2713038"/>
                <a:gd name="connsiteX306" fmla="*/ 2740025 w 3221037"/>
                <a:gd name="connsiteY306" fmla="*/ 433388 h 2713038"/>
                <a:gd name="connsiteX307" fmla="*/ 2762250 w 3221037"/>
                <a:gd name="connsiteY307" fmla="*/ 476250 h 2713038"/>
                <a:gd name="connsiteX308" fmla="*/ 2781300 w 3221037"/>
                <a:gd name="connsiteY308" fmla="*/ 519113 h 2713038"/>
                <a:gd name="connsiteX309" fmla="*/ 2798762 w 3221037"/>
                <a:gd name="connsiteY309" fmla="*/ 563563 h 2713038"/>
                <a:gd name="connsiteX310" fmla="*/ 2811462 w 3221037"/>
                <a:gd name="connsiteY310" fmla="*/ 612775 h 2713038"/>
                <a:gd name="connsiteX311" fmla="*/ 2819400 w 3221037"/>
                <a:gd name="connsiteY311" fmla="*/ 658813 h 2713038"/>
                <a:gd name="connsiteX312" fmla="*/ 2825750 w 3221037"/>
                <a:gd name="connsiteY312" fmla="*/ 708025 h 2713038"/>
                <a:gd name="connsiteX313" fmla="*/ 2876550 w 3221037"/>
                <a:gd name="connsiteY313" fmla="*/ 731838 h 2713038"/>
                <a:gd name="connsiteX314" fmla="*/ 2925762 w 3221037"/>
                <a:gd name="connsiteY314" fmla="*/ 754063 h 2713038"/>
                <a:gd name="connsiteX315" fmla="*/ 2970212 w 3221037"/>
                <a:gd name="connsiteY315" fmla="*/ 785813 h 2713038"/>
                <a:gd name="connsiteX316" fmla="*/ 3011487 w 3221037"/>
                <a:gd name="connsiteY316" fmla="*/ 819150 h 2713038"/>
                <a:gd name="connsiteX317" fmla="*/ 3049587 w 3221037"/>
                <a:gd name="connsiteY317" fmla="*/ 855663 h 2713038"/>
                <a:gd name="connsiteX318" fmla="*/ 3086100 w 3221037"/>
                <a:gd name="connsiteY318" fmla="*/ 893763 h 2713038"/>
                <a:gd name="connsiteX319" fmla="*/ 3116262 w 3221037"/>
                <a:gd name="connsiteY319" fmla="*/ 938213 h 2713038"/>
                <a:gd name="connsiteX320" fmla="*/ 3144837 w 3221037"/>
                <a:gd name="connsiteY320" fmla="*/ 982663 h 2713038"/>
                <a:gd name="connsiteX321" fmla="*/ 3168650 w 3221037"/>
                <a:gd name="connsiteY321" fmla="*/ 1028700 h 2713038"/>
                <a:gd name="connsiteX322" fmla="*/ 3189287 w 3221037"/>
                <a:gd name="connsiteY322" fmla="*/ 1079500 h 2713038"/>
                <a:gd name="connsiteX323" fmla="*/ 3201987 w 3221037"/>
                <a:gd name="connsiteY323" fmla="*/ 1128713 h 2713038"/>
                <a:gd name="connsiteX324" fmla="*/ 3213100 w 3221037"/>
                <a:gd name="connsiteY324" fmla="*/ 1184275 h 2713038"/>
                <a:gd name="connsiteX325" fmla="*/ 3217862 w 3221037"/>
                <a:gd name="connsiteY325" fmla="*/ 1238250 h 2713038"/>
                <a:gd name="connsiteX326" fmla="*/ 3221037 w 3221037"/>
                <a:gd name="connsiteY326" fmla="*/ 1292225 h 2713038"/>
                <a:gd name="connsiteX327" fmla="*/ 3214687 w 3221037"/>
                <a:gd name="connsiteY327" fmla="*/ 1346200 h 2713038"/>
                <a:gd name="connsiteX328" fmla="*/ 3205162 w 3221037"/>
                <a:gd name="connsiteY328" fmla="*/ 1403350 h 2713038"/>
                <a:gd name="connsiteX329" fmla="*/ 3197225 w 3221037"/>
                <a:gd name="connsiteY329" fmla="*/ 1439863 h 2713038"/>
                <a:gd name="connsiteX330" fmla="*/ 3184525 w 3221037"/>
                <a:gd name="connsiteY330" fmla="*/ 1473200 h 2713038"/>
                <a:gd name="connsiteX331" fmla="*/ 3171825 w 3221037"/>
                <a:gd name="connsiteY331" fmla="*/ 1509713 h 2713038"/>
                <a:gd name="connsiteX332" fmla="*/ 3155950 w 3221037"/>
                <a:gd name="connsiteY332" fmla="*/ 1543050 h 2713038"/>
                <a:gd name="connsiteX333" fmla="*/ 3140075 w 3221037"/>
                <a:gd name="connsiteY333" fmla="*/ 1573213 h 2713038"/>
                <a:gd name="connsiteX334" fmla="*/ 3119437 w 3221037"/>
                <a:gd name="connsiteY334" fmla="*/ 1604963 h 2713038"/>
                <a:gd name="connsiteX335" fmla="*/ 3098800 w 3221037"/>
                <a:gd name="connsiteY335" fmla="*/ 1635125 h 2713038"/>
                <a:gd name="connsiteX336" fmla="*/ 3074987 w 3221037"/>
                <a:gd name="connsiteY336" fmla="*/ 1663700 h 2713038"/>
                <a:gd name="connsiteX337" fmla="*/ 3101975 w 3221037"/>
                <a:gd name="connsiteY337" fmla="*/ 1712913 h 2713038"/>
                <a:gd name="connsiteX338" fmla="*/ 3122612 w 3221037"/>
                <a:gd name="connsiteY338" fmla="*/ 1765301 h 2713038"/>
                <a:gd name="connsiteX339" fmla="*/ 3140075 w 3221037"/>
                <a:gd name="connsiteY339" fmla="*/ 1819276 h 2713038"/>
                <a:gd name="connsiteX340" fmla="*/ 3151187 w 3221037"/>
                <a:gd name="connsiteY340" fmla="*/ 1873251 h 2713038"/>
                <a:gd name="connsiteX341" fmla="*/ 3155950 w 3221037"/>
                <a:gd name="connsiteY341" fmla="*/ 1927226 h 2713038"/>
                <a:gd name="connsiteX342" fmla="*/ 3159125 w 3221037"/>
                <a:gd name="connsiteY342" fmla="*/ 1984376 h 2713038"/>
                <a:gd name="connsiteX343" fmla="*/ 3152775 w 3221037"/>
                <a:gd name="connsiteY343" fmla="*/ 2038351 h 2713038"/>
                <a:gd name="connsiteX344" fmla="*/ 3144837 w 3221037"/>
                <a:gd name="connsiteY344" fmla="*/ 2095501 h 2713038"/>
                <a:gd name="connsiteX345" fmla="*/ 3130550 w 3221037"/>
                <a:gd name="connsiteY345" fmla="*/ 2144713 h 2713038"/>
                <a:gd name="connsiteX346" fmla="*/ 3111500 w 3221037"/>
                <a:gd name="connsiteY346" fmla="*/ 2193926 h 2713038"/>
                <a:gd name="connsiteX347" fmla="*/ 3090862 w 3221037"/>
                <a:gd name="connsiteY347" fmla="*/ 2239963 h 2713038"/>
                <a:gd name="connsiteX348" fmla="*/ 3065462 w 3221037"/>
                <a:gd name="connsiteY348" fmla="*/ 2284413 h 2713038"/>
                <a:gd name="connsiteX349" fmla="*/ 3036887 w 3221037"/>
                <a:gd name="connsiteY349" fmla="*/ 2325688 h 2713038"/>
                <a:gd name="connsiteX350" fmla="*/ 3005137 w 3221037"/>
                <a:gd name="connsiteY350" fmla="*/ 2363788 h 2713038"/>
                <a:gd name="connsiteX351" fmla="*/ 2970212 w 3221037"/>
                <a:gd name="connsiteY351" fmla="*/ 2400301 h 2713038"/>
                <a:gd name="connsiteX352" fmla="*/ 2933700 w 3221037"/>
                <a:gd name="connsiteY352" fmla="*/ 2433638 h 2713038"/>
                <a:gd name="connsiteX353" fmla="*/ 2892425 w 3221037"/>
                <a:gd name="connsiteY353" fmla="*/ 2465388 h 2713038"/>
                <a:gd name="connsiteX354" fmla="*/ 2851150 w 3221037"/>
                <a:gd name="connsiteY354" fmla="*/ 2490788 h 2713038"/>
                <a:gd name="connsiteX355" fmla="*/ 2805112 w 3221037"/>
                <a:gd name="connsiteY355" fmla="*/ 2514601 h 2713038"/>
                <a:gd name="connsiteX356" fmla="*/ 2757487 w 3221037"/>
                <a:gd name="connsiteY356" fmla="*/ 2532063 h 2713038"/>
                <a:gd name="connsiteX357" fmla="*/ 2711450 w 3221037"/>
                <a:gd name="connsiteY357" fmla="*/ 2547938 h 2713038"/>
                <a:gd name="connsiteX358" fmla="*/ 2659062 w 3221037"/>
                <a:gd name="connsiteY358" fmla="*/ 2557463 h 2713038"/>
                <a:gd name="connsiteX359" fmla="*/ 2609850 w 3221037"/>
                <a:gd name="connsiteY359" fmla="*/ 2565401 h 2713038"/>
                <a:gd name="connsiteX360" fmla="*/ 2555875 w 3221037"/>
                <a:gd name="connsiteY360" fmla="*/ 2568576 h 2713038"/>
                <a:gd name="connsiteX361" fmla="*/ 2525712 w 3221037"/>
                <a:gd name="connsiteY361" fmla="*/ 2565401 h 2713038"/>
                <a:gd name="connsiteX362" fmla="*/ 2492375 w 3221037"/>
                <a:gd name="connsiteY362" fmla="*/ 2563813 h 2713038"/>
                <a:gd name="connsiteX363" fmla="*/ 2460625 w 3221037"/>
                <a:gd name="connsiteY363" fmla="*/ 2560638 h 2713038"/>
                <a:gd name="connsiteX364" fmla="*/ 2427287 w 3221037"/>
                <a:gd name="connsiteY364" fmla="*/ 2552701 h 2713038"/>
                <a:gd name="connsiteX365" fmla="*/ 2387600 w 3221037"/>
                <a:gd name="connsiteY365" fmla="*/ 2543176 h 2713038"/>
                <a:gd name="connsiteX366" fmla="*/ 2344737 w 3221037"/>
                <a:gd name="connsiteY366" fmla="*/ 2581276 h 2713038"/>
                <a:gd name="connsiteX367" fmla="*/ 2298700 w 3221037"/>
                <a:gd name="connsiteY367" fmla="*/ 2617788 h 2713038"/>
                <a:gd name="connsiteX368" fmla="*/ 2249487 w 3221037"/>
                <a:gd name="connsiteY368" fmla="*/ 2646363 h 2713038"/>
                <a:gd name="connsiteX369" fmla="*/ 2197100 w 3221037"/>
                <a:gd name="connsiteY369" fmla="*/ 2668588 h 2713038"/>
                <a:gd name="connsiteX370" fmla="*/ 2143125 w 3221037"/>
                <a:gd name="connsiteY370" fmla="*/ 2689226 h 2713038"/>
                <a:gd name="connsiteX371" fmla="*/ 2085975 w 3221037"/>
                <a:gd name="connsiteY371" fmla="*/ 2703513 h 2713038"/>
                <a:gd name="connsiteX372" fmla="*/ 2028825 w 3221037"/>
                <a:gd name="connsiteY372" fmla="*/ 2709863 h 2713038"/>
                <a:gd name="connsiteX373" fmla="*/ 1970087 w 3221037"/>
                <a:gd name="connsiteY373" fmla="*/ 2713038 h 2713038"/>
                <a:gd name="connsiteX374" fmla="*/ 1936750 w 3221037"/>
                <a:gd name="connsiteY374" fmla="*/ 2713038 h 2713038"/>
                <a:gd name="connsiteX375" fmla="*/ 1905000 w 3221037"/>
                <a:gd name="connsiteY375" fmla="*/ 2709863 h 2713038"/>
                <a:gd name="connsiteX376" fmla="*/ 1871662 w 3221037"/>
                <a:gd name="connsiteY376" fmla="*/ 2705101 h 2713038"/>
                <a:gd name="connsiteX377" fmla="*/ 1839912 w 3221037"/>
                <a:gd name="connsiteY377" fmla="*/ 2700338 h 2713038"/>
                <a:gd name="connsiteX378" fmla="*/ 1781175 w 3221037"/>
                <a:gd name="connsiteY378" fmla="*/ 2684463 h 2713038"/>
                <a:gd name="connsiteX379" fmla="*/ 1727200 w 3221037"/>
                <a:gd name="connsiteY379" fmla="*/ 2663826 h 2713038"/>
                <a:gd name="connsiteX380" fmla="*/ 1674812 w 3221037"/>
                <a:gd name="connsiteY380" fmla="*/ 2638426 h 2713038"/>
                <a:gd name="connsiteX381" fmla="*/ 1624012 w 3221037"/>
                <a:gd name="connsiteY381" fmla="*/ 2606676 h 2713038"/>
                <a:gd name="connsiteX382" fmla="*/ 1579562 w 3221037"/>
                <a:gd name="connsiteY382" fmla="*/ 2571751 h 2713038"/>
                <a:gd name="connsiteX383" fmla="*/ 1535112 w 3221037"/>
                <a:gd name="connsiteY383" fmla="*/ 2530476 h 2713038"/>
                <a:gd name="connsiteX384" fmla="*/ 1497012 w 3221037"/>
                <a:gd name="connsiteY384" fmla="*/ 2486026 h 2713038"/>
                <a:gd name="connsiteX385" fmla="*/ 1463675 w 3221037"/>
                <a:gd name="connsiteY385" fmla="*/ 2436813 h 2713038"/>
                <a:gd name="connsiteX386" fmla="*/ 1436687 w 3221037"/>
                <a:gd name="connsiteY386" fmla="*/ 2395538 h 2713038"/>
                <a:gd name="connsiteX387" fmla="*/ 1416050 w 3221037"/>
                <a:gd name="connsiteY387" fmla="*/ 2351088 h 2713038"/>
                <a:gd name="connsiteX388" fmla="*/ 1398587 w 3221037"/>
                <a:gd name="connsiteY388" fmla="*/ 2308226 h 2713038"/>
                <a:gd name="connsiteX389" fmla="*/ 1385887 w 3221037"/>
                <a:gd name="connsiteY389" fmla="*/ 2260601 h 2713038"/>
                <a:gd name="connsiteX390" fmla="*/ 1374775 w 3221037"/>
                <a:gd name="connsiteY390" fmla="*/ 2214563 h 2713038"/>
                <a:gd name="connsiteX391" fmla="*/ 1370012 w 3221037"/>
                <a:gd name="connsiteY391" fmla="*/ 2168526 h 2713038"/>
                <a:gd name="connsiteX392" fmla="*/ 1368425 w 3221037"/>
                <a:gd name="connsiteY392" fmla="*/ 2120901 h 2713038"/>
                <a:gd name="connsiteX393" fmla="*/ 1368425 w 3221037"/>
                <a:gd name="connsiteY393" fmla="*/ 2071688 h 2713038"/>
                <a:gd name="connsiteX394" fmla="*/ 1331912 w 3221037"/>
                <a:gd name="connsiteY394" fmla="*/ 2082801 h 2713038"/>
                <a:gd name="connsiteX395" fmla="*/ 1295400 w 3221037"/>
                <a:gd name="connsiteY395" fmla="*/ 2090738 h 2713038"/>
                <a:gd name="connsiteX396" fmla="*/ 1257300 w 3221037"/>
                <a:gd name="connsiteY396" fmla="*/ 2095501 h 2713038"/>
                <a:gd name="connsiteX397" fmla="*/ 1220787 w 3221037"/>
                <a:gd name="connsiteY397" fmla="*/ 2098676 h 2713038"/>
                <a:gd name="connsiteX398" fmla="*/ 1181100 w 3221037"/>
                <a:gd name="connsiteY398" fmla="*/ 2098676 h 2713038"/>
                <a:gd name="connsiteX399" fmla="*/ 1143000 w 3221037"/>
                <a:gd name="connsiteY399" fmla="*/ 2095501 h 2713038"/>
                <a:gd name="connsiteX400" fmla="*/ 1106487 w 3221037"/>
                <a:gd name="connsiteY400" fmla="*/ 2090738 h 2713038"/>
                <a:gd name="connsiteX401" fmla="*/ 1068387 w 3221037"/>
                <a:gd name="connsiteY401" fmla="*/ 2085976 h 2713038"/>
                <a:gd name="connsiteX402" fmla="*/ 1020762 w 3221037"/>
                <a:gd name="connsiteY402" fmla="*/ 2071688 h 2713038"/>
                <a:gd name="connsiteX403" fmla="*/ 974725 w 3221037"/>
                <a:gd name="connsiteY403" fmla="*/ 2054226 h 2713038"/>
                <a:gd name="connsiteX404" fmla="*/ 928687 w 3221037"/>
                <a:gd name="connsiteY404" fmla="*/ 2036763 h 2713038"/>
                <a:gd name="connsiteX405" fmla="*/ 887412 w 3221037"/>
                <a:gd name="connsiteY405" fmla="*/ 2012951 h 2713038"/>
                <a:gd name="connsiteX406" fmla="*/ 887412 w 3221037"/>
                <a:gd name="connsiteY406" fmla="*/ 2012949 h 2713038"/>
                <a:gd name="connsiteX407" fmla="*/ 855663 w 3221037"/>
                <a:gd name="connsiteY407" fmla="*/ 1992313 h 2713038"/>
                <a:gd name="connsiteX408" fmla="*/ 827088 w 3221037"/>
                <a:gd name="connsiteY408" fmla="*/ 1971675 h 2713038"/>
                <a:gd name="connsiteX409" fmla="*/ 798513 w 3221037"/>
                <a:gd name="connsiteY409" fmla="*/ 1947863 h 2713038"/>
                <a:gd name="connsiteX410" fmla="*/ 773113 w 3221037"/>
                <a:gd name="connsiteY410" fmla="*/ 1925638 h 2713038"/>
                <a:gd name="connsiteX411" fmla="*/ 750888 w 3221037"/>
                <a:gd name="connsiteY411" fmla="*/ 1898650 h 2713038"/>
                <a:gd name="connsiteX412" fmla="*/ 727075 w 3221037"/>
                <a:gd name="connsiteY412" fmla="*/ 1870075 h 2713038"/>
                <a:gd name="connsiteX413" fmla="*/ 703263 w 3221037"/>
                <a:gd name="connsiteY413" fmla="*/ 1843088 h 2713038"/>
                <a:gd name="connsiteX414" fmla="*/ 685800 w 3221037"/>
                <a:gd name="connsiteY414" fmla="*/ 1811338 h 2713038"/>
                <a:gd name="connsiteX415" fmla="*/ 631825 w 3221037"/>
                <a:gd name="connsiteY415" fmla="*/ 1816100 h 2713038"/>
                <a:gd name="connsiteX416" fmla="*/ 579438 w 3221037"/>
                <a:gd name="connsiteY416" fmla="*/ 1816100 h 2713038"/>
                <a:gd name="connsiteX417" fmla="*/ 525463 w 3221037"/>
                <a:gd name="connsiteY417" fmla="*/ 1811338 h 2713038"/>
                <a:gd name="connsiteX418" fmla="*/ 473075 w 3221037"/>
                <a:gd name="connsiteY418" fmla="*/ 1801813 h 2713038"/>
                <a:gd name="connsiteX419" fmla="*/ 414338 w 3221037"/>
                <a:gd name="connsiteY419" fmla="*/ 1785938 h 2713038"/>
                <a:gd name="connsiteX420" fmla="*/ 360363 w 3221037"/>
                <a:gd name="connsiteY420" fmla="*/ 1765300 h 2713038"/>
                <a:gd name="connsiteX421" fmla="*/ 307975 w 3221037"/>
                <a:gd name="connsiteY421" fmla="*/ 1738313 h 2713038"/>
                <a:gd name="connsiteX422" fmla="*/ 258763 w 3221037"/>
                <a:gd name="connsiteY422" fmla="*/ 1708150 h 2713038"/>
                <a:gd name="connsiteX423" fmla="*/ 212725 w 3221037"/>
                <a:gd name="connsiteY423" fmla="*/ 1671638 h 2713038"/>
                <a:gd name="connsiteX424" fmla="*/ 168275 w 3221037"/>
                <a:gd name="connsiteY424" fmla="*/ 1633538 h 2713038"/>
                <a:gd name="connsiteX425" fmla="*/ 130175 w 3221037"/>
                <a:gd name="connsiteY425" fmla="*/ 1585913 h 2713038"/>
                <a:gd name="connsiteX426" fmla="*/ 96838 w 3221037"/>
                <a:gd name="connsiteY426" fmla="*/ 1539875 h 2713038"/>
                <a:gd name="connsiteX427" fmla="*/ 65088 w 3221037"/>
                <a:gd name="connsiteY427" fmla="*/ 1485900 h 2713038"/>
                <a:gd name="connsiteX428" fmla="*/ 42863 w 3221037"/>
                <a:gd name="connsiteY428" fmla="*/ 1433513 h 2713038"/>
                <a:gd name="connsiteX429" fmla="*/ 23813 w 3221037"/>
                <a:gd name="connsiteY429" fmla="*/ 1377950 h 2713038"/>
                <a:gd name="connsiteX430" fmla="*/ 11113 w 3221037"/>
                <a:gd name="connsiteY430" fmla="*/ 1320800 h 2713038"/>
                <a:gd name="connsiteX431" fmla="*/ 3175 w 3221037"/>
                <a:gd name="connsiteY431" fmla="*/ 1260475 h 2713038"/>
                <a:gd name="connsiteX432" fmla="*/ 0 w 3221037"/>
                <a:gd name="connsiteY432" fmla="*/ 1204913 h 2713038"/>
                <a:gd name="connsiteX433" fmla="*/ 6350 w 3221037"/>
                <a:gd name="connsiteY433" fmla="*/ 1144588 h 2713038"/>
                <a:gd name="connsiteX434" fmla="*/ 15875 w 3221037"/>
                <a:gd name="connsiteY434" fmla="*/ 1085850 h 2713038"/>
                <a:gd name="connsiteX435" fmla="*/ 26987 w 3221037"/>
                <a:gd name="connsiteY435" fmla="*/ 1046163 h 2713038"/>
                <a:gd name="connsiteX436" fmla="*/ 36513 w 3221037"/>
                <a:gd name="connsiteY436" fmla="*/ 1008063 h 2713038"/>
                <a:gd name="connsiteX437" fmla="*/ 52388 w 3221037"/>
                <a:gd name="connsiteY437" fmla="*/ 968375 h 2713038"/>
                <a:gd name="connsiteX438" fmla="*/ 69850 w 3221037"/>
                <a:gd name="connsiteY438" fmla="*/ 933450 h 2713038"/>
                <a:gd name="connsiteX439" fmla="*/ 90488 w 3221037"/>
                <a:gd name="connsiteY439" fmla="*/ 896938 h 2713038"/>
                <a:gd name="connsiteX440" fmla="*/ 114300 w 3221037"/>
                <a:gd name="connsiteY440" fmla="*/ 865188 h 2713038"/>
                <a:gd name="connsiteX441" fmla="*/ 138113 w 3221037"/>
                <a:gd name="connsiteY441" fmla="*/ 831850 h 2713038"/>
                <a:gd name="connsiteX442" fmla="*/ 163513 w 3221037"/>
                <a:gd name="connsiteY442" fmla="*/ 803275 h 2713038"/>
                <a:gd name="connsiteX443" fmla="*/ 192088 w 3221037"/>
                <a:gd name="connsiteY443" fmla="*/ 774700 h 2713038"/>
                <a:gd name="connsiteX444" fmla="*/ 222250 w 3221037"/>
                <a:gd name="connsiteY444" fmla="*/ 749300 h 2713038"/>
                <a:gd name="connsiteX445" fmla="*/ 254000 w 3221037"/>
                <a:gd name="connsiteY445" fmla="*/ 725488 h 2713038"/>
                <a:gd name="connsiteX446" fmla="*/ 287338 w 3221037"/>
                <a:gd name="connsiteY446" fmla="*/ 703263 h 2713038"/>
                <a:gd name="connsiteX447" fmla="*/ 320675 w 3221037"/>
                <a:gd name="connsiteY447" fmla="*/ 682625 h 2713038"/>
                <a:gd name="connsiteX448" fmla="*/ 357188 w 3221037"/>
                <a:gd name="connsiteY448" fmla="*/ 666750 h 2713038"/>
                <a:gd name="connsiteX449" fmla="*/ 396875 w 3221037"/>
                <a:gd name="connsiteY449" fmla="*/ 650875 h 2713038"/>
                <a:gd name="connsiteX450" fmla="*/ 434975 w 3221037"/>
                <a:gd name="connsiteY450" fmla="*/ 638175 h 2713038"/>
                <a:gd name="connsiteX451" fmla="*/ 438150 w 3221037"/>
                <a:gd name="connsiteY451" fmla="*/ 601663 h 2713038"/>
                <a:gd name="connsiteX452" fmla="*/ 444500 w 3221037"/>
                <a:gd name="connsiteY452" fmla="*/ 565150 h 2713038"/>
                <a:gd name="connsiteX453" fmla="*/ 455613 w 3221037"/>
                <a:gd name="connsiteY453" fmla="*/ 522288 h 2713038"/>
                <a:gd name="connsiteX454" fmla="*/ 468313 w 3221037"/>
                <a:gd name="connsiteY454" fmla="*/ 482600 h 2713038"/>
                <a:gd name="connsiteX455" fmla="*/ 487363 w 3221037"/>
                <a:gd name="connsiteY455" fmla="*/ 444500 h 2713038"/>
                <a:gd name="connsiteX456" fmla="*/ 504825 w 3221037"/>
                <a:gd name="connsiteY456" fmla="*/ 406400 h 2713038"/>
                <a:gd name="connsiteX457" fmla="*/ 525463 w 3221037"/>
                <a:gd name="connsiteY457" fmla="*/ 369888 h 2713038"/>
                <a:gd name="connsiteX458" fmla="*/ 549275 w 3221037"/>
                <a:gd name="connsiteY458" fmla="*/ 336550 h 2713038"/>
                <a:gd name="connsiteX459" fmla="*/ 574675 w 3221037"/>
                <a:gd name="connsiteY459" fmla="*/ 304800 h 2713038"/>
                <a:gd name="connsiteX460" fmla="*/ 603250 w 3221037"/>
                <a:gd name="connsiteY460" fmla="*/ 274638 h 2713038"/>
                <a:gd name="connsiteX461" fmla="*/ 633413 w 3221037"/>
                <a:gd name="connsiteY461" fmla="*/ 246063 h 2713038"/>
                <a:gd name="connsiteX462" fmla="*/ 665163 w 3221037"/>
                <a:gd name="connsiteY462" fmla="*/ 219075 h 2713038"/>
                <a:gd name="connsiteX463" fmla="*/ 698500 w 3221037"/>
                <a:gd name="connsiteY463" fmla="*/ 193675 h 2713038"/>
                <a:gd name="connsiteX464" fmla="*/ 735013 w 3221037"/>
                <a:gd name="connsiteY464" fmla="*/ 173038 h 2713038"/>
                <a:gd name="connsiteX465" fmla="*/ 771525 w 3221037"/>
                <a:gd name="connsiteY465" fmla="*/ 152400 h 2713038"/>
                <a:gd name="connsiteX466" fmla="*/ 806450 w 3221037"/>
                <a:gd name="connsiteY466" fmla="*/ 136525 h 2713038"/>
                <a:gd name="connsiteX467" fmla="*/ 847726 w 3221037"/>
                <a:gd name="connsiteY467" fmla="*/ 122238 h 2713038"/>
                <a:gd name="connsiteX468" fmla="*/ 887412 w 3221037"/>
                <a:gd name="connsiteY468" fmla="*/ 111125 h 2713038"/>
                <a:gd name="connsiteX469" fmla="*/ 887412 w 3221037"/>
                <a:gd name="connsiteY469" fmla="*/ 111125 h 2713038"/>
                <a:gd name="connsiteX470" fmla="*/ 923925 w 3221037"/>
                <a:gd name="connsiteY470" fmla="*/ 103188 h 2713038"/>
                <a:gd name="connsiteX471" fmla="*/ 958850 w 3221037"/>
                <a:gd name="connsiteY471" fmla="*/ 98425 h 2713038"/>
                <a:gd name="connsiteX472" fmla="*/ 995362 w 3221037"/>
                <a:gd name="connsiteY472" fmla="*/ 93663 h 2713038"/>
                <a:gd name="connsiteX473" fmla="*/ 1031875 w 3221037"/>
                <a:gd name="connsiteY473" fmla="*/ 93663 h 2713038"/>
                <a:gd name="connsiteX474" fmla="*/ 1065212 w 3221037"/>
                <a:gd name="connsiteY474" fmla="*/ 93663 h 2713038"/>
                <a:gd name="connsiteX475" fmla="*/ 1096962 w 3221037"/>
                <a:gd name="connsiteY475" fmla="*/ 95250 h 2713038"/>
                <a:gd name="connsiteX476" fmla="*/ 1130300 w 3221037"/>
                <a:gd name="connsiteY476" fmla="*/ 100013 h 2713038"/>
                <a:gd name="connsiteX477" fmla="*/ 1160462 w 3221037"/>
                <a:gd name="connsiteY477" fmla="*/ 106363 h 2713038"/>
                <a:gd name="connsiteX478" fmla="*/ 1204912 w 3221037"/>
                <a:gd name="connsiteY478" fmla="*/ 119063 h 2713038"/>
                <a:gd name="connsiteX479" fmla="*/ 1246187 w 3221037"/>
                <a:gd name="connsiteY479" fmla="*/ 90488 h 2713038"/>
                <a:gd name="connsiteX480" fmla="*/ 1287462 w 3221037"/>
                <a:gd name="connsiteY480" fmla="*/ 66675 h 2713038"/>
                <a:gd name="connsiteX481" fmla="*/ 1331912 w 3221037"/>
                <a:gd name="connsiteY481" fmla="*/ 46038 h 2713038"/>
                <a:gd name="connsiteX482" fmla="*/ 1374775 w 3221037"/>
                <a:gd name="connsiteY482" fmla="*/ 31750 h 2713038"/>
                <a:gd name="connsiteX483" fmla="*/ 1422400 w 3221037"/>
                <a:gd name="connsiteY483" fmla="*/ 15875 h 2713038"/>
                <a:gd name="connsiteX484" fmla="*/ 1468437 w 3221037"/>
                <a:gd name="connsiteY484" fmla="*/ 7938 h 271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Lst>
              <a:rect l="l" t="t" r="r" b="b"/>
              <a:pathLst>
                <a:path w="3221037" h="2713038">
                  <a:moveTo>
                    <a:pt x="1533525" y="155575"/>
                  </a:moveTo>
                  <a:lnTo>
                    <a:pt x="1497012" y="160338"/>
                  </a:lnTo>
                  <a:lnTo>
                    <a:pt x="1460500" y="165100"/>
                  </a:lnTo>
                  <a:lnTo>
                    <a:pt x="1427162" y="176213"/>
                  </a:lnTo>
                  <a:lnTo>
                    <a:pt x="1393825" y="188913"/>
                  </a:lnTo>
                  <a:lnTo>
                    <a:pt x="1362075" y="204788"/>
                  </a:lnTo>
                  <a:lnTo>
                    <a:pt x="1328737" y="222250"/>
                  </a:lnTo>
                  <a:lnTo>
                    <a:pt x="1300162" y="239713"/>
                  </a:lnTo>
                  <a:lnTo>
                    <a:pt x="1271587" y="263525"/>
                  </a:lnTo>
                  <a:lnTo>
                    <a:pt x="1254125" y="276225"/>
                  </a:lnTo>
                  <a:lnTo>
                    <a:pt x="1233487" y="280988"/>
                  </a:lnTo>
                  <a:lnTo>
                    <a:pt x="1212850" y="280988"/>
                  </a:lnTo>
                  <a:lnTo>
                    <a:pt x="1193800" y="276225"/>
                  </a:lnTo>
                  <a:lnTo>
                    <a:pt x="1160462" y="266700"/>
                  </a:lnTo>
                  <a:lnTo>
                    <a:pt x="1127125" y="258763"/>
                  </a:lnTo>
                  <a:lnTo>
                    <a:pt x="1081087" y="250825"/>
                  </a:lnTo>
                  <a:lnTo>
                    <a:pt x="1031875" y="247650"/>
                  </a:lnTo>
                  <a:lnTo>
                    <a:pt x="995362" y="247650"/>
                  </a:lnTo>
                  <a:lnTo>
                    <a:pt x="957262" y="254000"/>
                  </a:lnTo>
                  <a:lnTo>
                    <a:pt x="923925" y="260350"/>
                  </a:lnTo>
                  <a:lnTo>
                    <a:pt x="887413" y="271462"/>
                  </a:lnTo>
                  <a:lnTo>
                    <a:pt x="887413" y="271463"/>
                  </a:lnTo>
                  <a:lnTo>
                    <a:pt x="862013" y="280988"/>
                  </a:lnTo>
                  <a:lnTo>
                    <a:pt x="835026" y="295275"/>
                  </a:lnTo>
                  <a:lnTo>
                    <a:pt x="809626" y="307975"/>
                  </a:lnTo>
                  <a:lnTo>
                    <a:pt x="785813" y="322263"/>
                  </a:lnTo>
                  <a:lnTo>
                    <a:pt x="763588" y="338138"/>
                  </a:lnTo>
                  <a:lnTo>
                    <a:pt x="742950" y="357188"/>
                  </a:lnTo>
                  <a:lnTo>
                    <a:pt x="722313" y="374650"/>
                  </a:lnTo>
                  <a:lnTo>
                    <a:pt x="701675" y="395288"/>
                  </a:lnTo>
                  <a:lnTo>
                    <a:pt x="682625" y="419100"/>
                  </a:lnTo>
                  <a:lnTo>
                    <a:pt x="665163" y="439738"/>
                  </a:lnTo>
                  <a:lnTo>
                    <a:pt x="649288" y="465138"/>
                  </a:lnTo>
                  <a:lnTo>
                    <a:pt x="636588" y="488950"/>
                  </a:lnTo>
                  <a:lnTo>
                    <a:pt x="623888" y="514350"/>
                  </a:lnTo>
                  <a:lnTo>
                    <a:pt x="612775" y="542925"/>
                  </a:lnTo>
                  <a:lnTo>
                    <a:pt x="603250" y="568325"/>
                  </a:lnTo>
                  <a:lnTo>
                    <a:pt x="596900" y="596900"/>
                  </a:lnTo>
                  <a:lnTo>
                    <a:pt x="587375" y="649288"/>
                  </a:lnTo>
                  <a:lnTo>
                    <a:pt x="587375" y="696913"/>
                  </a:lnTo>
                  <a:lnTo>
                    <a:pt x="584200" y="712788"/>
                  </a:lnTo>
                  <a:lnTo>
                    <a:pt x="582613" y="725488"/>
                  </a:lnTo>
                  <a:lnTo>
                    <a:pt x="576263" y="739775"/>
                  </a:lnTo>
                  <a:lnTo>
                    <a:pt x="569913" y="749300"/>
                  </a:lnTo>
                  <a:lnTo>
                    <a:pt x="558800" y="757238"/>
                  </a:lnTo>
                  <a:lnTo>
                    <a:pt x="549275" y="765175"/>
                  </a:lnTo>
                  <a:lnTo>
                    <a:pt x="534988" y="773113"/>
                  </a:lnTo>
                  <a:lnTo>
                    <a:pt x="522288" y="774700"/>
                  </a:lnTo>
                  <a:lnTo>
                    <a:pt x="488950" y="782638"/>
                  </a:lnTo>
                  <a:lnTo>
                    <a:pt x="458788" y="793750"/>
                  </a:lnTo>
                  <a:lnTo>
                    <a:pt x="427038" y="803275"/>
                  </a:lnTo>
                  <a:lnTo>
                    <a:pt x="398463" y="819150"/>
                  </a:lnTo>
                  <a:lnTo>
                    <a:pt x="369888" y="835025"/>
                  </a:lnTo>
                  <a:lnTo>
                    <a:pt x="341313" y="852488"/>
                  </a:lnTo>
                  <a:lnTo>
                    <a:pt x="315913" y="871538"/>
                  </a:lnTo>
                  <a:lnTo>
                    <a:pt x="292100" y="893763"/>
                  </a:lnTo>
                  <a:lnTo>
                    <a:pt x="269875" y="917575"/>
                  </a:lnTo>
                  <a:lnTo>
                    <a:pt x="249238" y="941388"/>
                  </a:lnTo>
                  <a:lnTo>
                    <a:pt x="230188" y="968375"/>
                  </a:lnTo>
                  <a:lnTo>
                    <a:pt x="212725" y="995363"/>
                  </a:lnTo>
                  <a:lnTo>
                    <a:pt x="200025" y="1025525"/>
                  </a:lnTo>
                  <a:lnTo>
                    <a:pt x="187325" y="1054100"/>
                  </a:lnTo>
                  <a:lnTo>
                    <a:pt x="174625" y="1085850"/>
                  </a:lnTo>
                  <a:lnTo>
                    <a:pt x="166688" y="1119188"/>
                  </a:lnTo>
                  <a:lnTo>
                    <a:pt x="158750" y="1162050"/>
                  </a:lnTo>
                  <a:lnTo>
                    <a:pt x="155575" y="1206500"/>
                  </a:lnTo>
                  <a:lnTo>
                    <a:pt x="158750" y="1250950"/>
                  </a:lnTo>
                  <a:lnTo>
                    <a:pt x="163513" y="1292225"/>
                  </a:lnTo>
                  <a:lnTo>
                    <a:pt x="171450" y="1336675"/>
                  </a:lnTo>
                  <a:lnTo>
                    <a:pt x="187325" y="1377950"/>
                  </a:lnTo>
                  <a:lnTo>
                    <a:pt x="204788" y="1416050"/>
                  </a:lnTo>
                  <a:lnTo>
                    <a:pt x="225425" y="1454150"/>
                  </a:lnTo>
                  <a:lnTo>
                    <a:pt x="250825" y="1490663"/>
                  </a:lnTo>
                  <a:lnTo>
                    <a:pt x="279400" y="1524000"/>
                  </a:lnTo>
                  <a:lnTo>
                    <a:pt x="312738" y="1555750"/>
                  </a:lnTo>
                  <a:lnTo>
                    <a:pt x="347663" y="1581150"/>
                  </a:lnTo>
                  <a:lnTo>
                    <a:pt x="382588" y="1604963"/>
                  </a:lnTo>
                  <a:lnTo>
                    <a:pt x="422275" y="1622425"/>
                  </a:lnTo>
                  <a:lnTo>
                    <a:pt x="463550" y="1638300"/>
                  </a:lnTo>
                  <a:lnTo>
                    <a:pt x="508000" y="1651000"/>
                  </a:lnTo>
                  <a:lnTo>
                    <a:pt x="555625" y="1658938"/>
                  </a:lnTo>
                  <a:lnTo>
                    <a:pt x="608013" y="1662113"/>
                  </a:lnTo>
                  <a:lnTo>
                    <a:pt x="657225" y="1658938"/>
                  </a:lnTo>
                  <a:lnTo>
                    <a:pt x="706438" y="1649413"/>
                  </a:lnTo>
                  <a:lnTo>
                    <a:pt x="722313" y="1646238"/>
                  </a:lnTo>
                  <a:lnTo>
                    <a:pt x="735013" y="1646238"/>
                  </a:lnTo>
                  <a:lnTo>
                    <a:pt x="747713" y="1649413"/>
                  </a:lnTo>
                  <a:lnTo>
                    <a:pt x="757238" y="1654175"/>
                  </a:lnTo>
                  <a:lnTo>
                    <a:pt x="771525" y="1662113"/>
                  </a:lnTo>
                  <a:lnTo>
                    <a:pt x="781050" y="1670050"/>
                  </a:lnTo>
                  <a:lnTo>
                    <a:pt x="788988" y="1679575"/>
                  </a:lnTo>
                  <a:lnTo>
                    <a:pt x="796925" y="1690688"/>
                  </a:lnTo>
                  <a:lnTo>
                    <a:pt x="814388" y="1725613"/>
                  </a:lnTo>
                  <a:lnTo>
                    <a:pt x="835026" y="1758950"/>
                  </a:lnTo>
                  <a:lnTo>
                    <a:pt x="862013" y="1790700"/>
                  </a:lnTo>
                  <a:lnTo>
                    <a:pt x="887413" y="1816100"/>
                  </a:lnTo>
                  <a:lnTo>
                    <a:pt x="887413" y="1816102"/>
                  </a:lnTo>
                  <a:lnTo>
                    <a:pt x="909637" y="1836738"/>
                  </a:lnTo>
                  <a:lnTo>
                    <a:pt x="933450" y="1857376"/>
                  </a:lnTo>
                  <a:lnTo>
                    <a:pt x="958850" y="1873251"/>
                  </a:lnTo>
                  <a:lnTo>
                    <a:pt x="985837" y="1889126"/>
                  </a:lnTo>
                  <a:lnTo>
                    <a:pt x="1014412" y="1905001"/>
                  </a:lnTo>
                  <a:lnTo>
                    <a:pt x="1041400" y="1914526"/>
                  </a:lnTo>
                  <a:lnTo>
                    <a:pt x="1069975" y="1925638"/>
                  </a:lnTo>
                  <a:lnTo>
                    <a:pt x="1101725" y="1933576"/>
                  </a:lnTo>
                  <a:lnTo>
                    <a:pt x="1150937" y="1939926"/>
                  </a:lnTo>
                  <a:lnTo>
                    <a:pt x="1196975" y="1943101"/>
                  </a:lnTo>
                  <a:lnTo>
                    <a:pt x="1228725" y="1943101"/>
                  </a:lnTo>
                  <a:lnTo>
                    <a:pt x="1258887" y="1938338"/>
                  </a:lnTo>
                  <a:lnTo>
                    <a:pt x="1290637" y="1933576"/>
                  </a:lnTo>
                  <a:lnTo>
                    <a:pt x="1320800" y="1925638"/>
                  </a:lnTo>
                  <a:lnTo>
                    <a:pt x="1349375" y="1917701"/>
                  </a:lnTo>
                  <a:lnTo>
                    <a:pt x="1377950" y="1905001"/>
                  </a:lnTo>
                  <a:lnTo>
                    <a:pt x="1406525" y="1892301"/>
                  </a:lnTo>
                  <a:lnTo>
                    <a:pt x="1431925" y="1876426"/>
                  </a:lnTo>
                  <a:lnTo>
                    <a:pt x="1443037" y="1870076"/>
                  </a:lnTo>
                  <a:lnTo>
                    <a:pt x="1452562" y="1868488"/>
                  </a:lnTo>
                  <a:lnTo>
                    <a:pt x="1473200" y="1863726"/>
                  </a:lnTo>
                  <a:lnTo>
                    <a:pt x="1485900" y="1865313"/>
                  </a:lnTo>
                  <a:lnTo>
                    <a:pt x="1500187" y="1868488"/>
                  </a:lnTo>
                  <a:lnTo>
                    <a:pt x="1512887" y="1873251"/>
                  </a:lnTo>
                  <a:lnTo>
                    <a:pt x="1522412" y="1881188"/>
                  </a:lnTo>
                  <a:lnTo>
                    <a:pt x="1530350" y="1889126"/>
                  </a:lnTo>
                  <a:lnTo>
                    <a:pt x="1538287" y="1898651"/>
                  </a:lnTo>
                  <a:lnTo>
                    <a:pt x="1543050" y="1909763"/>
                  </a:lnTo>
                  <a:lnTo>
                    <a:pt x="1547812" y="1919288"/>
                  </a:lnTo>
                  <a:lnTo>
                    <a:pt x="1550987" y="1933576"/>
                  </a:lnTo>
                  <a:lnTo>
                    <a:pt x="1550987" y="1943101"/>
                  </a:lnTo>
                  <a:lnTo>
                    <a:pt x="1550987" y="1955801"/>
                  </a:lnTo>
                  <a:lnTo>
                    <a:pt x="1547812" y="1966913"/>
                  </a:lnTo>
                  <a:lnTo>
                    <a:pt x="1533525" y="2017713"/>
                  </a:lnTo>
                  <a:lnTo>
                    <a:pt x="1525587" y="2058988"/>
                  </a:lnTo>
                  <a:lnTo>
                    <a:pt x="1522412" y="2103438"/>
                  </a:lnTo>
                  <a:lnTo>
                    <a:pt x="1522412" y="2147888"/>
                  </a:lnTo>
                  <a:lnTo>
                    <a:pt x="1530350" y="2190751"/>
                  </a:lnTo>
                  <a:lnTo>
                    <a:pt x="1538287" y="2232026"/>
                  </a:lnTo>
                  <a:lnTo>
                    <a:pt x="1554162" y="2273301"/>
                  </a:lnTo>
                  <a:lnTo>
                    <a:pt x="1571625" y="2314576"/>
                  </a:lnTo>
                  <a:lnTo>
                    <a:pt x="1592262" y="2354263"/>
                  </a:lnTo>
                  <a:lnTo>
                    <a:pt x="1617662" y="2390776"/>
                  </a:lnTo>
                  <a:lnTo>
                    <a:pt x="1646237" y="2424113"/>
                  </a:lnTo>
                  <a:lnTo>
                    <a:pt x="1677987" y="2452688"/>
                  </a:lnTo>
                  <a:lnTo>
                    <a:pt x="1714500" y="2478088"/>
                  </a:lnTo>
                  <a:lnTo>
                    <a:pt x="1749425" y="2501901"/>
                  </a:lnTo>
                  <a:lnTo>
                    <a:pt x="1789112" y="2522538"/>
                  </a:lnTo>
                  <a:lnTo>
                    <a:pt x="1830387" y="2536826"/>
                  </a:lnTo>
                  <a:lnTo>
                    <a:pt x="1874837" y="2547938"/>
                  </a:lnTo>
                  <a:lnTo>
                    <a:pt x="1920875" y="2555876"/>
                  </a:lnTo>
                  <a:lnTo>
                    <a:pt x="1970087" y="2557463"/>
                  </a:lnTo>
                  <a:lnTo>
                    <a:pt x="2019300" y="2555876"/>
                  </a:lnTo>
                  <a:lnTo>
                    <a:pt x="2065337" y="2547938"/>
                  </a:lnTo>
                  <a:lnTo>
                    <a:pt x="2111375" y="2536826"/>
                  </a:lnTo>
                  <a:lnTo>
                    <a:pt x="2155825" y="2519363"/>
                  </a:lnTo>
                  <a:lnTo>
                    <a:pt x="2197100" y="2495551"/>
                  </a:lnTo>
                  <a:lnTo>
                    <a:pt x="2238375" y="2470151"/>
                  </a:lnTo>
                  <a:lnTo>
                    <a:pt x="2274887" y="2439988"/>
                  </a:lnTo>
                  <a:lnTo>
                    <a:pt x="2308225" y="2403476"/>
                  </a:lnTo>
                  <a:lnTo>
                    <a:pt x="2316162" y="2395538"/>
                  </a:lnTo>
                  <a:lnTo>
                    <a:pt x="2325687" y="2387601"/>
                  </a:lnTo>
                  <a:lnTo>
                    <a:pt x="2336800" y="2382838"/>
                  </a:lnTo>
                  <a:lnTo>
                    <a:pt x="2346325" y="2379663"/>
                  </a:lnTo>
                  <a:lnTo>
                    <a:pt x="2360612" y="2378076"/>
                  </a:lnTo>
                  <a:lnTo>
                    <a:pt x="2370137" y="2378076"/>
                  </a:lnTo>
                  <a:lnTo>
                    <a:pt x="2382837" y="2378076"/>
                  </a:lnTo>
                  <a:lnTo>
                    <a:pt x="2393950" y="2382838"/>
                  </a:lnTo>
                  <a:lnTo>
                    <a:pt x="2427287" y="2392363"/>
                  </a:lnTo>
                  <a:lnTo>
                    <a:pt x="2460625" y="2403476"/>
                  </a:lnTo>
                  <a:lnTo>
                    <a:pt x="2509837" y="2411413"/>
                  </a:lnTo>
                  <a:lnTo>
                    <a:pt x="2555875" y="2413001"/>
                  </a:lnTo>
                  <a:lnTo>
                    <a:pt x="2595562" y="2411413"/>
                  </a:lnTo>
                  <a:lnTo>
                    <a:pt x="2633662" y="2405063"/>
                  </a:lnTo>
                  <a:lnTo>
                    <a:pt x="2670175" y="2398713"/>
                  </a:lnTo>
                  <a:lnTo>
                    <a:pt x="2706687" y="2387601"/>
                  </a:lnTo>
                  <a:lnTo>
                    <a:pt x="2741612" y="2371726"/>
                  </a:lnTo>
                  <a:lnTo>
                    <a:pt x="2773362" y="2354263"/>
                  </a:lnTo>
                  <a:lnTo>
                    <a:pt x="2806700" y="2335213"/>
                  </a:lnTo>
                  <a:lnTo>
                    <a:pt x="2835275" y="2312988"/>
                  </a:lnTo>
                  <a:lnTo>
                    <a:pt x="2863850" y="2289176"/>
                  </a:lnTo>
                  <a:lnTo>
                    <a:pt x="2889250" y="2260601"/>
                  </a:lnTo>
                  <a:lnTo>
                    <a:pt x="2913062" y="2232026"/>
                  </a:lnTo>
                  <a:lnTo>
                    <a:pt x="2936875" y="2201863"/>
                  </a:lnTo>
                  <a:lnTo>
                    <a:pt x="2954337" y="2170113"/>
                  </a:lnTo>
                  <a:lnTo>
                    <a:pt x="2970212" y="2135188"/>
                  </a:lnTo>
                  <a:lnTo>
                    <a:pt x="2982912" y="2100263"/>
                  </a:lnTo>
                  <a:lnTo>
                    <a:pt x="2992437" y="2062163"/>
                  </a:lnTo>
                  <a:lnTo>
                    <a:pt x="3000375" y="2016126"/>
                  </a:lnTo>
                  <a:lnTo>
                    <a:pt x="3003550" y="1966913"/>
                  </a:lnTo>
                  <a:lnTo>
                    <a:pt x="3000375" y="1919288"/>
                  </a:lnTo>
                  <a:lnTo>
                    <a:pt x="2992437" y="1873251"/>
                  </a:lnTo>
                  <a:lnTo>
                    <a:pt x="2979737" y="1827213"/>
                  </a:lnTo>
                  <a:lnTo>
                    <a:pt x="2963862" y="1782763"/>
                  </a:lnTo>
                  <a:lnTo>
                    <a:pt x="2941637" y="1741488"/>
                  </a:lnTo>
                  <a:lnTo>
                    <a:pt x="2916237" y="1700213"/>
                  </a:lnTo>
                  <a:lnTo>
                    <a:pt x="2908300" y="1687513"/>
                  </a:lnTo>
                  <a:lnTo>
                    <a:pt x="2901950" y="1674813"/>
                  </a:lnTo>
                  <a:lnTo>
                    <a:pt x="2900362" y="1662113"/>
                  </a:lnTo>
                  <a:lnTo>
                    <a:pt x="2900362" y="1649413"/>
                  </a:lnTo>
                  <a:lnTo>
                    <a:pt x="2901950" y="1633538"/>
                  </a:lnTo>
                  <a:lnTo>
                    <a:pt x="2908300" y="1620838"/>
                  </a:lnTo>
                  <a:lnTo>
                    <a:pt x="2916237" y="1609725"/>
                  </a:lnTo>
                  <a:lnTo>
                    <a:pt x="2925762" y="1597025"/>
                  </a:lnTo>
                  <a:lnTo>
                    <a:pt x="2949575" y="1573213"/>
                  </a:lnTo>
                  <a:lnTo>
                    <a:pt x="2970212" y="1547813"/>
                  </a:lnTo>
                  <a:lnTo>
                    <a:pt x="2990850" y="1522413"/>
                  </a:lnTo>
                  <a:lnTo>
                    <a:pt x="3005137" y="1493838"/>
                  </a:lnTo>
                  <a:lnTo>
                    <a:pt x="3021012" y="1465263"/>
                  </a:lnTo>
                  <a:lnTo>
                    <a:pt x="3033712" y="1433513"/>
                  </a:lnTo>
                  <a:lnTo>
                    <a:pt x="3044825" y="1403350"/>
                  </a:lnTo>
                  <a:lnTo>
                    <a:pt x="3054350" y="1370013"/>
                  </a:lnTo>
                  <a:lnTo>
                    <a:pt x="3062287" y="1325563"/>
                  </a:lnTo>
                  <a:lnTo>
                    <a:pt x="3065462" y="1281113"/>
                  </a:lnTo>
                  <a:lnTo>
                    <a:pt x="3062287" y="1238250"/>
                  </a:lnTo>
                  <a:lnTo>
                    <a:pt x="3057525" y="1196975"/>
                  </a:lnTo>
                  <a:lnTo>
                    <a:pt x="3049587" y="1155700"/>
                  </a:lnTo>
                  <a:lnTo>
                    <a:pt x="3036887" y="1114425"/>
                  </a:lnTo>
                  <a:lnTo>
                    <a:pt x="3019425" y="1074738"/>
                  </a:lnTo>
                  <a:lnTo>
                    <a:pt x="2998787" y="1038225"/>
                  </a:lnTo>
                  <a:lnTo>
                    <a:pt x="2974975" y="1004888"/>
                  </a:lnTo>
                  <a:lnTo>
                    <a:pt x="2949575" y="971550"/>
                  </a:lnTo>
                  <a:lnTo>
                    <a:pt x="2917825" y="942975"/>
                  </a:lnTo>
                  <a:lnTo>
                    <a:pt x="2887662" y="914400"/>
                  </a:lnTo>
                  <a:lnTo>
                    <a:pt x="2851150" y="892175"/>
                  </a:lnTo>
                  <a:lnTo>
                    <a:pt x="2811462" y="871538"/>
                  </a:lnTo>
                  <a:lnTo>
                    <a:pt x="2770187" y="855663"/>
                  </a:lnTo>
                  <a:lnTo>
                    <a:pt x="2728912" y="842963"/>
                  </a:lnTo>
                  <a:lnTo>
                    <a:pt x="2716212" y="836613"/>
                  </a:lnTo>
                  <a:lnTo>
                    <a:pt x="2703512" y="830263"/>
                  </a:lnTo>
                  <a:lnTo>
                    <a:pt x="2693987" y="822325"/>
                  </a:lnTo>
                  <a:lnTo>
                    <a:pt x="2686050" y="811213"/>
                  </a:lnTo>
                  <a:lnTo>
                    <a:pt x="2679700" y="801688"/>
                  </a:lnTo>
                  <a:lnTo>
                    <a:pt x="2674937" y="787400"/>
                  </a:lnTo>
                  <a:lnTo>
                    <a:pt x="2670175" y="777875"/>
                  </a:lnTo>
                  <a:lnTo>
                    <a:pt x="2670175" y="762000"/>
                  </a:lnTo>
                  <a:lnTo>
                    <a:pt x="2670175" y="723900"/>
                  </a:lnTo>
                  <a:lnTo>
                    <a:pt x="2667000" y="684213"/>
                  </a:lnTo>
                  <a:lnTo>
                    <a:pt x="2659062" y="646113"/>
                  </a:lnTo>
                  <a:lnTo>
                    <a:pt x="2649537" y="608013"/>
                  </a:lnTo>
                  <a:lnTo>
                    <a:pt x="2636837" y="571500"/>
                  </a:lnTo>
                  <a:lnTo>
                    <a:pt x="2617787" y="538163"/>
                  </a:lnTo>
                  <a:lnTo>
                    <a:pt x="2600325" y="503238"/>
                  </a:lnTo>
                  <a:lnTo>
                    <a:pt x="2576512" y="473075"/>
                  </a:lnTo>
                  <a:lnTo>
                    <a:pt x="2554287" y="444500"/>
                  </a:lnTo>
                  <a:lnTo>
                    <a:pt x="2525712" y="415925"/>
                  </a:lnTo>
                  <a:lnTo>
                    <a:pt x="2497137" y="392113"/>
                  </a:lnTo>
                  <a:lnTo>
                    <a:pt x="2465387" y="369888"/>
                  </a:lnTo>
                  <a:lnTo>
                    <a:pt x="2432050" y="350838"/>
                  </a:lnTo>
                  <a:lnTo>
                    <a:pt x="2395537" y="333375"/>
                  </a:lnTo>
                  <a:lnTo>
                    <a:pt x="2360612" y="320675"/>
                  </a:lnTo>
                  <a:lnTo>
                    <a:pt x="2320925" y="309563"/>
                  </a:lnTo>
                  <a:lnTo>
                    <a:pt x="2282825" y="301625"/>
                  </a:lnTo>
                  <a:lnTo>
                    <a:pt x="2243137" y="300038"/>
                  </a:lnTo>
                  <a:lnTo>
                    <a:pt x="2205037" y="300038"/>
                  </a:lnTo>
                  <a:lnTo>
                    <a:pt x="2165350" y="304800"/>
                  </a:lnTo>
                  <a:lnTo>
                    <a:pt x="2127250" y="309563"/>
                  </a:lnTo>
                  <a:lnTo>
                    <a:pt x="2089150" y="320675"/>
                  </a:lnTo>
                  <a:lnTo>
                    <a:pt x="2052637" y="333375"/>
                  </a:lnTo>
                  <a:lnTo>
                    <a:pt x="2016125" y="350838"/>
                  </a:lnTo>
                  <a:lnTo>
                    <a:pt x="2003425" y="357188"/>
                  </a:lnTo>
                  <a:lnTo>
                    <a:pt x="1990725" y="358775"/>
                  </a:lnTo>
                  <a:lnTo>
                    <a:pt x="1978025" y="358775"/>
                  </a:lnTo>
                  <a:lnTo>
                    <a:pt x="1965325" y="358775"/>
                  </a:lnTo>
                  <a:lnTo>
                    <a:pt x="1951037" y="354013"/>
                  </a:lnTo>
                  <a:lnTo>
                    <a:pt x="1938337" y="349250"/>
                  </a:lnTo>
                  <a:lnTo>
                    <a:pt x="1928812" y="338138"/>
                  </a:lnTo>
                  <a:lnTo>
                    <a:pt x="1917700" y="330200"/>
                  </a:lnTo>
                  <a:lnTo>
                    <a:pt x="1895475" y="300038"/>
                  </a:lnTo>
                  <a:lnTo>
                    <a:pt x="1866900" y="271463"/>
                  </a:lnTo>
                  <a:lnTo>
                    <a:pt x="1835150" y="246063"/>
                  </a:lnTo>
                  <a:lnTo>
                    <a:pt x="1804987" y="225425"/>
                  </a:lnTo>
                  <a:lnTo>
                    <a:pt x="1770062" y="204788"/>
                  </a:lnTo>
                  <a:lnTo>
                    <a:pt x="1735137" y="188913"/>
                  </a:lnTo>
                  <a:lnTo>
                    <a:pt x="1698625" y="176213"/>
                  </a:lnTo>
                  <a:lnTo>
                    <a:pt x="1662112" y="165100"/>
                  </a:lnTo>
                  <a:lnTo>
                    <a:pt x="1612900" y="157163"/>
                  </a:lnTo>
                  <a:lnTo>
                    <a:pt x="1563687" y="155575"/>
                  </a:lnTo>
                  <a:close/>
                  <a:moveTo>
                    <a:pt x="1514475" y="0"/>
                  </a:moveTo>
                  <a:lnTo>
                    <a:pt x="1563687" y="0"/>
                  </a:lnTo>
                  <a:lnTo>
                    <a:pt x="1597025" y="0"/>
                  </a:lnTo>
                  <a:lnTo>
                    <a:pt x="1628775" y="3175"/>
                  </a:lnTo>
                  <a:lnTo>
                    <a:pt x="1662112" y="7938"/>
                  </a:lnTo>
                  <a:lnTo>
                    <a:pt x="1693862" y="12700"/>
                  </a:lnTo>
                  <a:lnTo>
                    <a:pt x="1736725" y="25400"/>
                  </a:lnTo>
                  <a:lnTo>
                    <a:pt x="1781175" y="38100"/>
                  </a:lnTo>
                  <a:lnTo>
                    <a:pt x="1822450" y="57150"/>
                  </a:lnTo>
                  <a:lnTo>
                    <a:pt x="1860550" y="77788"/>
                  </a:lnTo>
                  <a:lnTo>
                    <a:pt x="1900237" y="100013"/>
                  </a:lnTo>
                  <a:lnTo>
                    <a:pt x="1936750" y="127000"/>
                  </a:lnTo>
                  <a:lnTo>
                    <a:pt x="1970087" y="155575"/>
                  </a:lnTo>
                  <a:lnTo>
                    <a:pt x="2000250" y="188913"/>
                  </a:lnTo>
                  <a:lnTo>
                    <a:pt x="2044700" y="173038"/>
                  </a:lnTo>
                  <a:lnTo>
                    <a:pt x="2085975" y="160338"/>
                  </a:lnTo>
                  <a:lnTo>
                    <a:pt x="2130425" y="152400"/>
                  </a:lnTo>
                  <a:lnTo>
                    <a:pt x="2176462" y="147638"/>
                  </a:lnTo>
                  <a:lnTo>
                    <a:pt x="2220912" y="144463"/>
                  </a:lnTo>
                  <a:lnTo>
                    <a:pt x="2263775" y="147638"/>
                  </a:lnTo>
                  <a:lnTo>
                    <a:pt x="2311400" y="149225"/>
                  </a:lnTo>
                  <a:lnTo>
                    <a:pt x="2354262" y="157163"/>
                  </a:lnTo>
                  <a:lnTo>
                    <a:pt x="2403475" y="169863"/>
                  </a:lnTo>
                  <a:lnTo>
                    <a:pt x="2451100" y="188913"/>
                  </a:lnTo>
                  <a:lnTo>
                    <a:pt x="2493962" y="209550"/>
                  </a:lnTo>
                  <a:lnTo>
                    <a:pt x="2538412" y="233363"/>
                  </a:lnTo>
                  <a:lnTo>
                    <a:pt x="2576512" y="258763"/>
                  </a:lnTo>
                  <a:lnTo>
                    <a:pt x="2616200" y="288925"/>
                  </a:lnTo>
                  <a:lnTo>
                    <a:pt x="2649537" y="320675"/>
                  </a:lnTo>
                  <a:lnTo>
                    <a:pt x="2682875" y="357188"/>
                  </a:lnTo>
                  <a:lnTo>
                    <a:pt x="2711450" y="392113"/>
                  </a:lnTo>
                  <a:lnTo>
                    <a:pt x="2740025" y="433388"/>
                  </a:lnTo>
                  <a:lnTo>
                    <a:pt x="2762250" y="476250"/>
                  </a:lnTo>
                  <a:lnTo>
                    <a:pt x="2781300" y="519113"/>
                  </a:lnTo>
                  <a:lnTo>
                    <a:pt x="2798762" y="563563"/>
                  </a:lnTo>
                  <a:lnTo>
                    <a:pt x="2811462" y="612775"/>
                  </a:lnTo>
                  <a:lnTo>
                    <a:pt x="2819400" y="658813"/>
                  </a:lnTo>
                  <a:lnTo>
                    <a:pt x="2825750" y="708025"/>
                  </a:lnTo>
                  <a:lnTo>
                    <a:pt x="2876550" y="731838"/>
                  </a:lnTo>
                  <a:lnTo>
                    <a:pt x="2925762" y="754063"/>
                  </a:lnTo>
                  <a:lnTo>
                    <a:pt x="2970212" y="785813"/>
                  </a:lnTo>
                  <a:lnTo>
                    <a:pt x="3011487" y="819150"/>
                  </a:lnTo>
                  <a:lnTo>
                    <a:pt x="3049587" y="855663"/>
                  </a:lnTo>
                  <a:lnTo>
                    <a:pt x="3086100" y="893763"/>
                  </a:lnTo>
                  <a:lnTo>
                    <a:pt x="3116262" y="938213"/>
                  </a:lnTo>
                  <a:lnTo>
                    <a:pt x="3144837" y="982663"/>
                  </a:lnTo>
                  <a:lnTo>
                    <a:pt x="3168650" y="1028700"/>
                  </a:lnTo>
                  <a:lnTo>
                    <a:pt x="3189287" y="1079500"/>
                  </a:lnTo>
                  <a:lnTo>
                    <a:pt x="3201987" y="1128713"/>
                  </a:lnTo>
                  <a:lnTo>
                    <a:pt x="3213100" y="1184275"/>
                  </a:lnTo>
                  <a:lnTo>
                    <a:pt x="3217862" y="1238250"/>
                  </a:lnTo>
                  <a:lnTo>
                    <a:pt x="3221037" y="1292225"/>
                  </a:lnTo>
                  <a:lnTo>
                    <a:pt x="3214687" y="1346200"/>
                  </a:lnTo>
                  <a:lnTo>
                    <a:pt x="3205162" y="1403350"/>
                  </a:lnTo>
                  <a:lnTo>
                    <a:pt x="3197225" y="1439863"/>
                  </a:lnTo>
                  <a:lnTo>
                    <a:pt x="3184525" y="1473200"/>
                  </a:lnTo>
                  <a:lnTo>
                    <a:pt x="3171825" y="1509713"/>
                  </a:lnTo>
                  <a:lnTo>
                    <a:pt x="3155950" y="1543050"/>
                  </a:lnTo>
                  <a:lnTo>
                    <a:pt x="3140075" y="1573213"/>
                  </a:lnTo>
                  <a:lnTo>
                    <a:pt x="3119437" y="1604963"/>
                  </a:lnTo>
                  <a:lnTo>
                    <a:pt x="3098800" y="1635125"/>
                  </a:lnTo>
                  <a:lnTo>
                    <a:pt x="3074987" y="1663700"/>
                  </a:lnTo>
                  <a:lnTo>
                    <a:pt x="3101975" y="1712913"/>
                  </a:lnTo>
                  <a:lnTo>
                    <a:pt x="3122612" y="1765301"/>
                  </a:lnTo>
                  <a:lnTo>
                    <a:pt x="3140075" y="1819276"/>
                  </a:lnTo>
                  <a:lnTo>
                    <a:pt x="3151187" y="1873251"/>
                  </a:lnTo>
                  <a:lnTo>
                    <a:pt x="3155950" y="1927226"/>
                  </a:lnTo>
                  <a:lnTo>
                    <a:pt x="3159125" y="1984376"/>
                  </a:lnTo>
                  <a:lnTo>
                    <a:pt x="3152775" y="2038351"/>
                  </a:lnTo>
                  <a:lnTo>
                    <a:pt x="3144837" y="2095501"/>
                  </a:lnTo>
                  <a:lnTo>
                    <a:pt x="3130550" y="2144713"/>
                  </a:lnTo>
                  <a:lnTo>
                    <a:pt x="3111500" y="2193926"/>
                  </a:lnTo>
                  <a:lnTo>
                    <a:pt x="3090862" y="2239963"/>
                  </a:lnTo>
                  <a:lnTo>
                    <a:pt x="3065462" y="2284413"/>
                  </a:lnTo>
                  <a:lnTo>
                    <a:pt x="3036887" y="2325688"/>
                  </a:lnTo>
                  <a:lnTo>
                    <a:pt x="3005137" y="2363788"/>
                  </a:lnTo>
                  <a:lnTo>
                    <a:pt x="2970212" y="2400301"/>
                  </a:lnTo>
                  <a:lnTo>
                    <a:pt x="2933700" y="2433638"/>
                  </a:lnTo>
                  <a:lnTo>
                    <a:pt x="2892425" y="2465388"/>
                  </a:lnTo>
                  <a:lnTo>
                    <a:pt x="2851150" y="2490788"/>
                  </a:lnTo>
                  <a:lnTo>
                    <a:pt x="2805112" y="2514601"/>
                  </a:lnTo>
                  <a:lnTo>
                    <a:pt x="2757487" y="2532063"/>
                  </a:lnTo>
                  <a:lnTo>
                    <a:pt x="2711450" y="2547938"/>
                  </a:lnTo>
                  <a:lnTo>
                    <a:pt x="2659062" y="2557463"/>
                  </a:lnTo>
                  <a:lnTo>
                    <a:pt x="2609850" y="2565401"/>
                  </a:lnTo>
                  <a:lnTo>
                    <a:pt x="2555875" y="2568576"/>
                  </a:lnTo>
                  <a:lnTo>
                    <a:pt x="2525712" y="2565401"/>
                  </a:lnTo>
                  <a:lnTo>
                    <a:pt x="2492375" y="2563813"/>
                  </a:lnTo>
                  <a:lnTo>
                    <a:pt x="2460625" y="2560638"/>
                  </a:lnTo>
                  <a:lnTo>
                    <a:pt x="2427287" y="2552701"/>
                  </a:lnTo>
                  <a:lnTo>
                    <a:pt x="2387600" y="2543176"/>
                  </a:lnTo>
                  <a:lnTo>
                    <a:pt x="2344737" y="2581276"/>
                  </a:lnTo>
                  <a:lnTo>
                    <a:pt x="2298700" y="2617788"/>
                  </a:lnTo>
                  <a:lnTo>
                    <a:pt x="2249487" y="2646363"/>
                  </a:lnTo>
                  <a:lnTo>
                    <a:pt x="2197100" y="2668588"/>
                  </a:lnTo>
                  <a:lnTo>
                    <a:pt x="2143125" y="2689226"/>
                  </a:lnTo>
                  <a:lnTo>
                    <a:pt x="2085975" y="2703513"/>
                  </a:lnTo>
                  <a:lnTo>
                    <a:pt x="2028825" y="2709863"/>
                  </a:lnTo>
                  <a:lnTo>
                    <a:pt x="1970087" y="2713038"/>
                  </a:lnTo>
                  <a:lnTo>
                    <a:pt x="1936750" y="2713038"/>
                  </a:lnTo>
                  <a:lnTo>
                    <a:pt x="1905000" y="2709863"/>
                  </a:lnTo>
                  <a:lnTo>
                    <a:pt x="1871662" y="2705101"/>
                  </a:lnTo>
                  <a:lnTo>
                    <a:pt x="1839912" y="2700338"/>
                  </a:lnTo>
                  <a:lnTo>
                    <a:pt x="1781175" y="2684463"/>
                  </a:lnTo>
                  <a:lnTo>
                    <a:pt x="1727200" y="2663826"/>
                  </a:lnTo>
                  <a:lnTo>
                    <a:pt x="1674812" y="2638426"/>
                  </a:lnTo>
                  <a:lnTo>
                    <a:pt x="1624012" y="2606676"/>
                  </a:lnTo>
                  <a:lnTo>
                    <a:pt x="1579562" y="2571751"/>
                  </a:lnTo>
                  <a:lnTo>
                    <a:pt x="1535112" y="2530476"/>
                  </a:lnTo>
                  <a:lnTo>
                    <a:pt x="1497012" y="2486026"/>
                  </a:lnTo>
                  <a:lnTo>
                    <a:pt x="1463675" y="2436813"/>
                  </a:lnTo>
                  <a:lnTo>
                    <a:pt x="1436687" y="2395538"/>
                  </a:lnTo>
                  <a:lnTo>
                    <a:pt x="1416050" y="2351088"/>
                  </a:lnTo>
                  <a:lnTo>
                    <a:pt x="1398587" y="2308226"/>
                  </a:lnTo>
                  <a:lnTo>
                    <a:pt x="1385887" y="2260601"/>
                  </a:lnTo>
                  <a:lnTo>
                    <a:pt x="1374775" y="2214563"/>
                  </a:lnTo>
                  <a:lnTo>
                    <a:pt x="1370012" y="2168526"/>
                  </a:lnTo>
                  <a:lnTo>
                    <a:pt x="1368425" y="2120901"/>
                  </a:lnTo>
                  <a:lnTo>
                    <a:pt x="1368425" y="2071688"/>
                  </a:lnTo>
                  <a:lnTo>
                    <a:pt x="1331912" y="2082801"/>
                  </a:lnTo>
                  <a:lnTo>
                    <a:pt x="1295400" y="2090738"/>
                  </a:lnTo>
                  <a:lnTo>
                    <a:pt x="1257300" y="2095501"/>
                  </a:lnTo>
                  <a:lnTo>
                    <a:pt x="1220787" y="2098676"/>
                  </a:lnTo>
                  <a:lnTo>
                    <a:pt x="1181100" y="2098676"/>
                  </a:lnTo>
                  <a:lnTo>
                    <a:pt x="1143000" y="2095501"/>
                  </a:lnTo>
                  <a:lnTo>
                    <a:pt x="1106487" y="2090738"/>
                  </a:lnTo>
                  <a:lnTo>
                    <a:pt x="1068387" y="2085976"/>
                  </a:lnTo>
                  <a:lnTo>
                    <a:pt x="1020762" y="2071688"/>
                  </a:lnTo>
                  <a:lnTo>
                    <a:pt x="974725" y="2054226"/>
                  </a:lnTo>
                  <a:lnTo>
                    <a:pt x="928687" y="2036763"/>
                  </a:lnTo>
                  <a:lnTo>
                    <a:pt x="887412" y="2012951"/>
                  </a:lnTo>
                  <a:lnTo>
                    <a:pt x="887412" y="2012949"/>
                  </a:lnTo>
                  <a:lnTo>
                    <a:pt x="855663" y="1992313"/>
                  </a:lnTo>
                  <a:lnTo>
                    <a:pt x="827088" y="1971675"/>
                  </a:lnTo>
                  <a:lnTo>
                    <a:pt x="798513" y="1947863"/>
                  </a:lnTo>
                  <a:lnTo>
                    <a:pt x="773113" y="1925638"/>
                  </a:lnTo>
                  <a:lnTo>
                    <a:pt x="750888" y="1898650"/>
                  </a:lnTo>
                  <a:lnTo>
                    <a:pt x="727075" y="1870075"/>
                  </a:lnTo>
                  <a:lnTo>
                    <a:pt x="703263" y="1843088"/>
                  </a:lnTo>
                  <a:lnTo>
                    <a:pt x="685800" y="1811338"/>
                  </a:lnTo>
                  <a:lnTo>
                    <a:pt x="631825" y="1816100"/>
                  </a:lnTo>
                  <a:lnTo>
                    <a:pt x="579438" y="1816100"/>
                  </a:lnTo>
                  <a:lnTo>
                    <a:pt x="525463" y="1811338"/>
                  </a:lnTo>
                  <a:lnTo>
                    <a:pt x="473075" y="1801813"/>
                  </a:lnTo>
                  <a:lnTo>
                    <a:pt x="414338" y="1785938"/>
                  </a:lnTo>
                  <a:lnTo>
                    <a:pt x="360363" y="1765300"/>
                  </a:lnTo>
                  <a:lnTo>
                    <a:pt x="307975" y="1738313"/>
                  </a:lnTo>
                  <a:lnTo>
                    <a:pt x="258763" y="1708150"/>
                  </a:lnTo>
                  <a:lnTo>
                    <a:pt x="212725" y="1671638"/>
                  </a:lnTo>
                  <a:lnTo>
                    <a:pt x="168275" y="1633538"/>
                  </a:lnTo>
                  <a:lnTo>
                    <a:pt x="130175" y="1585913"/>
                  </a:lnTo>
                  <a:lnTo>
                    <a:pt x="96838" y="1539875"/>
                  </a:lnTo>
                  <a:lnTo>
                    <a:pt x="65088" y="1485900"/>
                  </a:lnTo>
                  <a:lnTo>
                    <a:pt x="42863" y="1433513"/>
                  </a:lnTo>
                  <a:lnTo>
                    <a:pt x="23813" y="1377950"/>
                  </a:lnTo>
                  <a:lnTo>
                    <a:pt x="11113" y="1320800"/>
                  </a:lnTo>
                  <a:lnTo>
                    <a:pt x="3175" y="1260475"/>
                  </a:lnTo>
                  <a:lnTo>
                    <a:pt x="0" y="1204913"/>
                  </a:lnTo>
                  <a:lnTo>
                    <a:pt x="6350" y="1144588"/>
                  </a:lnTo>
                  <a:lnTo>
                    <a:pt x="15875" y="1085850"/>
                  </a:lnTo>
                  <a:lnTo>
                    <a:pt x="26987" y="1046163"/>
                  </a:lnTo>
                  <a:lnTo>
                    <a:pt x="36513" y="1008063"/>
                  </a:lnTo>
                  <a:lnTo>
                    <a:pt x="52388" y="968375"/>
                  </a:lnTo>
                  <a:lnTo>
                    <a:pt x="69850" y="933450"/>
                  </a:lnTo>
                  <a:lnTo>
                    <a:pt x="90488" y="896938"/>
                  </a:lnTo>
                  <a:lnTo>
                    <a:pt x="114300" y="865188"/>
                  </a:lnTo>
                  <a:lnTo>
                    <a:pt x="138113" y="831850"/>
                  </a:lnTo>
                  <a:lnTo>
                    <a:pt x="163513" y="803275"/>
                  </a:lnTo>
                  <a:lnTo>
                    <a:pt x="192088" y="774700"/>
                  </a:lnTo>
                  <a:lnTo>
                    <a:pt x="222250" y="749300"/>
                  </a:lnTo>
                  <a:lnTo>
                    <a:pt x="254000" y="725488"/>
                  </a:lnTo>
                  <a:lnTo>
                    <a:pt x="287338" y="703263"/>
                  </a:lnTo>
                  <a:lnTo>
                    <a:pt x="320675" y="682625"/>
                  </a:lnTo>
                  <a:lnTo>
                    <a:pt x="357188" y="666750"/>
                  </a:lnTo>
                  <a:lnTo>
                    <a:pt x="396875" y="650875"/>
                  </a:lnTo>
                  <a:lnTo>
                    <a:pt x="434975" y="638175"/>
                  </a:lnTo>
                  <a:lnTo>
                    <a:pt x="438150" y="601663"/>
                  </a:lnTo>
                  <a:lnTo>
                    <a:pt x="444500" y="565150"/>
                  </a:lnTo>
                  <a:lnTo>
                    <a:pt x="455613" y="522288"/>
                  </a:lnTo>
                  <a:lnTo>
                    <a:pt x="468313" y="482600"/>
                  </a:lnTo>
                  <a:lnTo>
                    <a:pt x="487363" y="444500"/>
                  </a:lnTo>
                  <a:lnTo>
                    <a:pt x="504825" y="406400"/>
                  </a:lnTo>
                  <a:lnTo>
                    <a:pt x="525463" y="369888"/>
                  </a:lnTo>
                  <a:lnTo>
                    <a:pt x="549275" y="336550"/>
                  </a:lnTo>
                  <a:lnTo>
                    <a:pt x="574675" y="304800"/>
                  </a:lnTo>
                  <a:lnTo>
                    <a:pt x="603250" y="274638"/>
                  </a:lnTo>
                  <a:lnTo>
                    <a:pt x="633413" y="246063"/>
                  </a:lnTo>
                  <a:lnTo>
                    <a:pt x="665163" y="219075"/>
                  </a:lnTo>
                  <a:lnTo>
                    <a:pt x="698500" y="193675"/>
                  </a:lnTo>
                  <a:lnTo>
                    <a:pt x="735013" y="173038"/>
                  </a:lnTo>
                  <a:lnTo>
                    <a:pt x="771525" y="152400"/>
                  </a:lnTo>
                  <a:lnTo>
                    <a:pt x="806450" y="136525"/>
                  </a:lnTo>
                  <a:lnTo>
                    <a:pt x="847726" y="122238"/>
                  </a:lnTo>
                  <a:lnTo>
                    <a:pt x="887412" y="111125"/>
                  </a:lnTo>
                  <a:lnTo>
                    <a:pt x="887412" y="111125"/>
                  </a:lnTo>
                  <a:lnTo>
                    <a:pt x="923925" y="103188"/>
                  </a:lnTo>
                  <a:lnTo>
                    <a:pt x="958850" y="98425"/>
                  </a:lnTo>
                  <a:lnTo>
                    <a:pt x="995362" y="93663"/>
                  </a:lnTo>
                  <a:lnTo>
                    <a:pt x="1031875" y="93663"/>
                  </a:lnTo>
                  <a:lnTo>
                    <a:pt x="1065212" y="93663"/>
                  </a:lnTo>
                  <a:lnTo>
                    <a:pt x="1096962" y="95250"/>
                  </a:lnTo>
                  <a:lnTo>
                    <a:pt x="1130300" y="100013"/>
                  </a:lnTo>
                  <a:lnTo>
                    <a:pt x="1160462" y="106363"/>
                  </a:lnTo>
                  <a:lnTo>
                    <a:pt x="1204912" y="119063"/>
                  </a:lnTo>
                  <a:lnTo>
                    <a:pt x="1246187" y="90488"/>
                  </a:lnTo>
                  <a:lnTo>
                    <a:pt x="1287462" y="66675"/>
                  </a:lnTo>
                  <a:lnTo>
                    <a:pt x="1331912" y="46038"/>
                  </a:lnTo>
                  <a:lnTo>
                    <a:pt x="1374775" y="31750"/>
                  </a:lnTo>
                  <a:lnTo>
                    <a:pt x="1422400" y="15875"/>
                  </a:lnTo>
                  <a:lnTo>
                    <a:pt x="1468437" y="7938"/>
                  </a:lnTo>
                  <a:close/>
                </a:path>
              </a:pathLst>
            </a:custGeom>
            <a:solidFill>
              <a:srgbClr val="003B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grpSp>
          <p:nvGrpSpPr>
            <p:cNvPr id="49" name="Group 79">
              <a:extLst>
                <a:ext uri="{FF2B5EF4-FFF2-40B4-BE49-F238E27FC236}">
                  <a16:creationId xmlns:a16="http://schemas.microsoft.com/office/drawing/2014/main" id="{C39D4036-87E5-4B7A-8B6A-F4A389E74321}"/>
                </a:ext>
              </a:extLst>
            </p:cNvPr>
            <p:cNvGrpSpPr/>
            <p:nvPr/>
          </p:nvGrpSpPr>
          <p:grpSpPr>
            <a:xfrm>
              <a:off x="5659486" y="3457445"/>
              <a:ext cx="1652907" cy="1330013"/>
              <a:chOff x="485775" y="2406650"/>
              <a:chExt cx="3413125" cy="2746375"/>
            </a:xfrm>
          </p:grpSpPr>
          <p:sp>
            <p:nvSpPr>
              <p:cNvPr id="50" name="Freeform 80">
                <a:extLst>
                  <a:ext uri="{FF2B5EF4-FFF2-40B4-BE49-F238E27FC236}">
                    <a16:creationId xmlns:a16="http://schemas.microsoft.com/office/drawing/2014/main" id="{633EA12F-03D8-487D-B03B-0B83BA655D65}"/>
                  </a:ext>
                </a:extLst>
              </p:cNvPr>
              <p:cNvSpPr>
                <a:spLocks/>
              </p:cNvSpPr>
              <p:nvPr/>
            </p:nvSpPr>
            <p:spPr bwMode="auto">
              <a:xfrm>
                <a:off x="2667000" y="3146424"/>
                <a:ext cx="1231900" cy="1231900"/>
              </a:xfrm>
              <a:custGeom>
                <a:avLst/>
                <a:gdLst>
                  <a:gd name="connsiteX0" fmla="*/ 615950 w 1231900"/>
                  <a:gd name="connsiteY0" fmla="*/ 269875 h 1231900"/>
                  <a:gd name="connsiteX1" fmla="*/ 581025 w 1231900"/>
                  <a:gd name="connsiteY1" fmla="*/ 273050 h 1231900"/>
                  <a:gd name="connsiteX2" fmla="*/ 546100 w 1231900"/>
                  <a:gd name="connsiteY2" fmla="*/ 276225 h 1231900"/>
                  <a:gd name="connsiteX3" fmla="*/ 514350 w 1231900"/>
                  <a:gd name="connsiteY3" fmla="*/ 285750 h 1231900"/>
                  <a:gd name="connsiteX4" fmla="*/ 482600 w 1231900"/>
                  <a:gd name="connsiteY4" fmla="*/ 298450 h 1231900"/>
                  <a:gd name="connsiteX5" fmla="*/ 450850 w 1231900"/>
                  <a:gd name="connsiteY5" fmla="*/ 311150 h 1231900"/>
                  <a:gd name="connsiteX6" fmla="*/ 422275 w 1231900"/>
                  <a:gd name="connsiteY6" fmla="*/ 330200 h 1231900"/>
                  <a:gd name="connsiteX7" fmla="*/ 396875 w 1231900"/>
                  <a:gd name="connsiteY7" fmla="*/ 349250 h 1231900"/>
                  <a:gd name="connsiteX8" fmla="*/ 371475 w 1231900"/>
                  <a:gd name="connsiteY8" fmla="*/ 371475 h 1231900"/>
                  <a:gd name="connsiteX9" fmla="*/ 349250 w 1231900"/>
                  <a:gd name="connsiteY9" fmla="*/ 396875 h 1231900"/>
                  <a:gd name="connsiteX10" fmla="*/ 330200 w 1231900"/>
                  <a:gd name="connsiteY10" fmla="*/ 422275 h 1231900"/>
                  <a:gd name="connsiteX11" fmla="*/ 311150 w 1231900"/>
                  <a:gd name="connsiteY11" fmla="*/ 450850 h 1231900"/>
                  <a:gd name="connsiteX12" fmla="*/ 295275 w 1231900"/>
                  <a:gd name="connsiteY12" fmla="*/ 482600 h 1231900"/>
                  <a:gd name="connsiteX13" fmla="*/ 285750 w 1231900"/>
                  <a:gd name="connsiteY13" fmla="*/ 514350 h 1231900"/>
                  <a:gd name="connsiteX14" fmla="*/ 276225 w 1231900"/>
                  <a:gd name="connsiteY14" fmla="*/ 546100 h 1231900"/>
                  <a:gd name="connsiteX15" fmla="*/ 269875 w 1231900"/>
                  <a:gd name="connsiteY15" fmla="*/ 581025 h 1231900"/>
                  <a:gd name="connsiteX16" fmla="*/ 269875 w 1231900"/>
                  <a:gd name="connsiteY16" fmla="*/ 615950 h 1231900"/>
                  <a:gd name="connsiteX17" fmla="*/ 269875 w 1231900"/>
                  <a:gd name="connsiteY17" fmla="*/ 650875 h 1231900"/>
                  <a:gd name="connsiteX18" fmla="*/ 276225 w 1231900"/>
                  <a:gd name="connsiteY18" fmla="*/ 685800 h 1231900"/>
                  <a:gd name="connsiteX19" fmla="*/ 285750 w 1231900"/>
                  <a:gd name="connsiteY19" fmla="*/ 720725 h 1231900"/>
                  <a:gd name="connsiteX20" fmla="*/ 295275 w 1231900"/>
                  <a:gd name="connsiteY20" fmla="*/ 752475 h 1231900"/>
                  <a:gd name="connsiteX21" fmla="*/ 311150 w 1231900"/>
                  <a:gd name="connsiteY21" fmla="*/ 781050 h 1231900"/>
                  <a:gd name="connsiteX22" fmla="*/ 330200 w 1231900"/>
                  <a:gd name="connsiteY22" fmla="*/ 809625 h 1231900"/>
                  <a:gd name="connsiteX23" fmla="*/ 349250 w 1231900"/>
                  <a:gd name="connsiteY23" fmla="*/ 838200 h 1231900"/>
                  <a:gd name="connsiteX24" fmla="*/ 371475 w 1231900"/>
                  <a:gd name="connsiteY24" fmla="*/ 863600 h 1231900"/>
                  <a:gd name="connsiteX25" fmla="*/ 396875 w 1231900"/>
                  <a:gd name="connsiteY25" fmla="*/ 885825 h 1231900"/>
                  <a:gd name="connsiteX26" fmla="*/ 422275 w 1231900"/>
                  <a:gd name="connsiteY26" fmla="*/ 904875 h 1231900"/>
                  <a:gd name="connsiteX27" fmla="*/ 450850 w 1231900"/>
                  <a:gd name="connsiteY27" fmla="*/ 920750 h 1231900"/>
                  <a:gd name="connsiteX28" fmla="*/ 482600 w 1231900"/>
                  <a:gd name="connsiteY28" fmla="*/ 936625 h 1231900"/>
                  <a:gd name="connsiteX29" fmla="*/ 514350 w 1231900"/>
                  <a:gd name="connsiteY29" fmla="*/ 949325 h 1231900"/>
                  <a:gd name="connsiteX30" fmla="*/ 546100 w 1231900"/>
                  <a:gd name="connsiteY30" fmla="*/ 955675 h 1231900"/>
                  <a:gd name="connsiteX31" fmla="*/ 581025 w 1231900"/>
                  <a:gd name="connsiteY31" fmla="*/ 962025 h 1231900"/>
                  <a:gd name="connsiteX32" fmla="*/ 615950 w 1231900"/>
                  <a:gd name="connsiteY32" fmla="*/ 965200 h 1231900"/>
                  <a:gd name="connsiteX33" fmla="*/ 663575 w 1231900"/>
                  <a:gd name="connsiteY33" fmla="*/ 958850 h 1231900"/>
                  <a:gd name="connsiteX34" fmla="*/ 708025 w 1231900"/>
                  <a:gd name="connsiteY34" fmla="*/ 949325 h 1231900"/>
                  <a:gd name="connsiteX35" fmla="*/ 736600 w 1231900"/>
                  <a:gd name="connsiteY35" fmla="*/ 942975 h 1231900"/>
                  <a:gd name="connsiteX36" fmla="*/ 762000 w 1231900"/>
                  <a:gd name="connsiteY36" fmla="*/ 930275 h 1231900"/>
                  <a:gd name="connsiteX37" fmla="*/ 787400 w 1231900"/>
                  <a:gd name="connsiteY37" fmla="*/ 917575 h 1231900"/>
                  <a:gd name="connsiteX38" fmla="*/ 809625 w 1231900"/>
                  <a:gd name="connsiteY38" fmla="*/ 904875 h 1231900"/>
                  <a:gd name="connsiteX39" fmla="*/ 831850 w 1231900"/>
                  <a:gd name="connsiteY39" fmla="*/ 889000 h 1231900"/>
                  <a:gd name="connsiteX40" fmla="*/ 854075 w 1231900"/>
                  <a:gd name="connsiteY40" fmla="*/ 869950 h 1231900"/>
                  <a:gd name="connsiteX41" fmla="*/ 873125 w 1231900"/>
                  <a:gd name="connsiteY41" fmla="*/ 850900 h 1231900"/>
                  <a:gd name="connsiteX42" fmla="*/ 892175 w 1231900"/>
                  <a:gd name="connsiteY42" fmla="*/ 828675 h 1231900"/>
                  <a:gd name="connsiteX43" fmla="*/ 908050 w 1231900"/>
                  <a:gd name="connsiteY43" fmla="*/ 806450 h 1231900"/>
                  <a:gd name="connsiteX44" fmla="*/ 920750 w 1231900"/>
                  <a:gd name="connsiteY44" fmla="*/ 781050 h 1231900"/>
                  <a:gd name="connsiteX45" fmla="*/ 933450 w 1231900"/>
                  <a:gd name="connsiteY45" fmla="*/ 755650 h 1231900"/>
                  <a:gd name="connsiteX46" fmla="*/ 942975 w 1231900"/>
                  <a:gd name="connsiteY46" fmla="*/ 730250 h 1231900"/>
                  <a:gd name="connsiteX47" fmla="*/ 952500 w 1231900"/>
                  <a:gd name="connsiteY47" fmla="*/ 704850 h 1231900"/>
                  <a:gd name="connsiteX48" fmla="*/ 958850 w 1231900"/>
                  <a:gd name="connsiteY48" fmla="*/ 676275 h 1231900"/>
                  <a:gd name="connsiteX49" fmla="*/ 962025 w 1231900"/>
                  <a:gd name="connsiteY49" fmla="*/ 647700 h 1231900"/>
                  <a:gd name="connsiteX50" fmla="*/ 962025 w 1231900"/>
                  <a:gd name="connsiteY50" fmla="*/ 615950 h 1231900"/>
                  <a:gd name="connsiteX51" fmla="*/ 962025 w 1231900"/>
                  <a:gd name="connsiteY51" fmla="*/ 584200 h 1231900"/>
                  <a:gd name="connsiteX52" fmla="*/ 958850 w 1231900"/>
                  <a:gd name="connsiteY52" fmla="*/ 555625 h 1231900"/>
                  <a:gd name="connsiteX53" fmla="*/ 949325 w 1231900"/>
                  <a:gd name="connsiteY53" fmla="*/ 523875 h 1231900"/>
                  <a:gd name="connsiteX54" fmla="*/ 939800 w 1231900"/>
                  <a:gd name="connsiteY54" fmla="*/ 495300 h 1231900"/>
                  <a:gd name="connsiteX55" fmla="*/ 930275 w 1231900"/>
                  <a:gd name="connsiteY55" fmla="*/ 466725 h 1231900"/>
                  <a:gd name="connsiteX56" fmla="*/ 914400 w 1231900"/>
                  <a:gd name="connsiteY56" fmla="*/ 441325 h 1231900"/>
                  <a:gd name="connsiteX57" fmla="*/ 898525 w 1231900"/>
                  <a:gd name="connsiteY57" fmla="*/ 415925 h 1231900"/>
                  <a:gd name="connsiteX58" fmla="*/ 879475 w 1231900"/>
                  <a:gd name="connsiteY58" fmla="*/ 393700 h 1231900"/>
                  <a:gd name="connsiteX59" fmla="*/ 860425 w 1231900"/>
                  <a:gd name="connsiteY59" fmla="*/ 371475 h 1231900"/>
                  <a:gd name="connsiteX60" fmla="*/ 838200 w 1231900"/>
                  <a:gd name="connsiteY60" fmla="*/ 349250 h 1231900"/>
                  <a:gd name="connsiteX61" fmla="*/ 812800 w 1231900"/>
                  <a:gd name="connsiteY61" fmla="*/ 333375 h 1231900"/>
                  <a:gd name="connsiteX62" fmla="*/ 787400 w 1231900"/>
                  <a:gd name="connsiteY62" fmla="*/ 317500 h 1231900"/>
                  <a:gd name="connsiteX63" fmla="*/ 762000 w 1231900"/>
                  <a:gd name="connsiteY63" fmla="*/ 301625 h 1231900"/>
                  <a:gd name="connsiteX64" fmla="*/ 733425 w 1231900"/>
                  <a:gd name="connsiteY64" fmla="*/ 292100 h 1231900"/>
                  <a:gd name="connsiteX65" fmla="*/ 704850 w 1231900"/>
                  <a:gd name="connsiteY65" fmla="*/ 282575 h 1231900"/>
                  <a:gd name="connsiteX66" fmla="*/ 673100 w 1231900"/>
                  <a:gd name="connsiteY66" fmla="*/ 276225 h 1231900"/>
                  <a:gd name="connsiteX67" fmla="*/ 644525 w 1231900"/>
                  <a:gd name="connsiteY67" fmla="*/ 273050 h 1231900"/>
                  <a:gd name="connsiteX68" fmla="*/ 517525 w 1231900"/>
                  <a:gd name="connsiteY68" fmla="*/ 0 h 1231900"/>
                  <a:gd name="connsiteX69" fmla="*/ 615950 w 1231900"/>
                  <a:gd name="connsiteY69" fmla="*/ 0 h 1231900"/>
                  <a:gd name="connsiteX70" fmla="*/ 660400 w 1231900"/>
                  <a:gd name="connsiteY70" fmla="*/ 0 h 1231900"/>
                  <a:gd name="connsiteX71" fmla="*/ 714375 w 1231900"/>
                  <a:gd name="connsiteY71" fmla="*/ 0 h 1231900"/>
                  <a:gd name="connsiteX72" fmla="*/ 714375 w 1231900"/>
                  <a:gd name="connsiteY72" fmla="*/ 92075 h 1231900"/>
                  <a:gd name="connsiteX73" fmla="*/ 768350 w 1231900"/>
                  <a:gd name="connsiteY73" fmla="*/ 104775 h 1231900"/>
                  <a:gd name="connsiteX74" fmla="*/ 822325 w 1231900"/>
                  <a:gd name="connsiteY74" fmla="*/ 123825 h 1231900"/>
                  <a:gd name="connsiteX75" fmla="*/ 869950 w 1231900"/>
                  <a:gd name="connsiteY75" fmla="*/ 149225 h 1231900"/>
                  <a:gd name="connsiteX76" fmla="*/ 917575 w 1231900"/>
                  <a:gd name="connsiteY76" fmla="*/ 177800 h 1231900"/>
                  <a:gd name="connsiteX77" fmla="*/ 984250 w 1231900"/>
                  <a:gd name="connsiteY77" fmla="*/ 111125 h 1231900"/>
                  <a:gd name="connsiteX78" fmla="*/ 1120775 w 1231900"/>
                  <a:gd name="connsiteY78" fmla="*/ 250825 h 1231900"/>
                  <a:gd name="connsiteX79" fmla="*/ 1054100 w 1231900"/>
                  <a:gd name="connsiteY79" fmla="*/ 314325 h 1231900"/>
                  <a:gd name="connsiteX80" fmla="*/ 1085850 w 1231900"/>
                  <a:gd name="connsiteY80" fmla="*/ 361950 h 1231900"/>
                  <a:gd name="connsiteX81" fmla="*/ 1108075 w 1231900"/>
                  <a:gd name="connsiteY81" fmla="*/ 412750 h 1231900"/>
                  <a:gd name="connsiteX82" fmla="*/ 1127125 w 1231900"/>
                  <a:gd name="connsiteY82" fmla="*/ 463550 h 1231900"/>
                  <a:gd name="connsiteX83" fmla="*/ 1139825 w 1231900"/>
                  <a:gd name="connsiteY83" fmla="*/ 520700 h 1231900"/>
                  <a:gd name="connsiteX84" fmla="*/ 1231900 w 1231900"/>
                  <a:gd name="connsiteY84" fmla="*/ 520700 h 1231900"/>
                  <a:gd name="connsiteX85" fmla="*/ 1231900 w 1231900"/>
                  <a:gd name="connsiteY85" fmla="*/ 714375 h 1231900"/>
                  <a:gd name="connsiteX86" fmla="*/ 1139825 w 1231900"/>
                  <a:gd name="connsiteY86" fmla="*/ 714375 h 1231900"/>
                  <a:gd name="connsiteX87" fmla="*/ 1127125 w 1231900"/>
                  <a:gd name="connsiteY87" fmla="*/ 768350 h 1231900"/>
                  <a:gd name="connsiteX88" fmla="*/ 1108075 w 1231900"/>
                  <a:gd name="connsiteY88" fmla="*/ 822325 h 1231900"/>
                  <a:gd name="connsiteX89" fmla="*/ 1085850 w 1231900"/>
                  <a:gd name="connsiteY89" fmla="*/ 873125 h 1231900"/>
                  <a:gd name="connsiteX90" fmla="*/ 1054100 w 1231900"/>
                  <a:gd name="connsiteY90" fmla="*/ 917575 h 1231900"/>
                  <a:gd name="connsiteX91" fmla="*/ 1120775 w 1231900"/>
                  <a:gd name="connsiteY91" fmla="*/ 984250 h 1231900"/>
                  <a:gd name="connsiteX92" fmla="*/ 984250 w 1231900"/>
                  <a:gd name="connsiteY92" fmla="*/ 1120775 h 1231900"/>
                  <a:gd name="connsiteX93" fmla="*/ 917575 w 1231900"/>
                  <a:gd name="connsiteY93" fmla="*/ 1057275 h 1231900"/>
                  <a:gd name="connsiteX94" fmla="*/ 873125 w 1231900"/>
                  <a:gd name="connsiteY94" fmla="*/ 1085850 h 1231900"/>
                  <a:gd name="connsiteX95" fmla="*/ 822325 w 1231900"/>
                  <a:gd name="connsiteY95" fmla="*/ 1108075 h 1231900"/>
                  <a:gd name="connsiteX96" fmla="*/ 771525 w 1231900"/>
                  <a:gd name="connsiteY96" fmla="*/ 1127125 h 1231900"/>
                  <a:gd name="connsiteX97" fmla="*/ 720725 w 1231900"/>
                  <a:gd name="connsiteY97" fmla="*/ 1139825 h 1231900"/>
                  <a:gd name="connsiteX98" fmla="*/ 714375 w 1231900"/>
                  <a:gd name="connsiteY98" fmla="*/ 1139825 h 1231900"/>
                  <a:gd name="connsiteX99" fmla="*/ 714375 w 1231900"/>
                  <a:gd name="connsiteY99" fmla="*/ 1231900 h 1231900"/>
                  <a:gd name="connsiteX100" fmla="*/ 615950 w 1231900"/>
                  <a:gd name="connsiteY100" fmla="*/ 1231900 h 1231900"/>
                  <a:gd name="connsiteX101" fmla="*/ 517525 w 1231900"/>
                  <a:gd name="connsiteY101" fmla="*/ 1231900 h 1231900"/>
                  <a:gd name="connsiteX102" fmla="*/ 517525 w 1231900"/>
                  <a:gd name="connsiteY102" fmla="*/ 1139825 h 1231900"/>
                  <a:gd name="connsiteX103" fmla="*/ 463550 w 1231900"/>
                  <a:gd name="connsiteY103" fmla="*/ 1127125 h 1231900"/>
                  <a:gd name="connsiteX104" fmla="*/ 412750 w 1231900"/>
                  <a:gd name="connsiteY104" fmla="*/ 1108075 h 1231900"/>
                  <a:gd name="connsiteX105" fmla="*/ 361950 w 1231900"/>
                  <a:gd name="connsiteY105" fmla="*/ 1085850 h 1231900"/>
                  <a:gd name="connsiteX106" fmla="*/ 314325 w 1231900"/>
                  <a:gd name="connsiteY106" fmla="*/ 1057275 h 1231900"/>
                  <a:gd name="connsiteX107" fmla="*/ 250825 w 1231900"/>
                  <a:gd name="connsiteY107" fmla="*/ 1120775 h 1231900"/>
                  <a:gd name="connsiteX108" fmla="*/ 111125 w 1231900"/>
                  <a:gd name="connsiteY108" fmla="*/ 984250 h 1231900"/>
                  <a:gd name="connsiteX109" fmla="*/ 177800 w 1231900"/>
                  <a:gd name="connsiteY109" fmla="*/ 917575 h 1231900"/>
                  <a:gd name="connsiteX110" fmla="*/ 149225 w 1231900"/>
                  <a:gd name="connsiteY110" fmla="*/ 873125 h 1231900"/>
                  <a:gd name="connsiteX111" fmla="*/ 123825 w 1231900"/>
                  <a:gd name="connsiteY111" fmla="*/ 822325 h 1231900"/>
                  <a:gd name="connsiteX112" fmla="*/ 104775 w 1231900"/>
                  <a:gd name="connsiteY112" fmla="*/ 768350 h 1231900"/>
                  <a:gd name="connsiteX113" fmla="*/ 92075 w 1231900"/>
                  <a:gd name="connsiteY113" fmla="*/ 714375 h 1231900"/>
                  <a:gd name="connsiteX114" fmla="*/ 0 w 1231900"/>
                  <a:gd name="connsiteY114" fmla="*/ 714375 h 1231900"/>
                  <a:gd name="connsiteX115" fmla="*/ 0 w 1231900"/>
                  <a:gd name="connsiteY115" fmla="*/ 520700 h 1231900"/>
                  <a:gd name="connsiteX116" fmla="*/ 92075 w 1231900"/>
                  <a:gd name="connsiteY116" fmla="*/ 520700 h 1231900"/>
                  <a:gd name="connsiteX117" fmla="*/ 104775 w 1231900"/>
                  <a:gd name="connsiteY117" fmla="*/ 463550 h 1231900"/>
                  <a:gd name="connsiteX118" fmla="*/ 123825 w 1231900"/>
                  <a:gd name="connsiteY118" fmla="*/ 412750 h 1231900"/>
                  <a:gd name="connsiteX119" fmla="*/ 149225 w 1231900"/>
                  <a:gd name="connsiteY119" fmla="*/ 361950 h 1231900"/>
                  <a:gd name="connsiteX120" fmla="*/ 177800 w 1231900"/>
                  <a:gd name="connsiteY120" fmla="*/ 314325 h 1231900"/>
                  <a:gd name="connsiteX121" fmla="*/ 111125 w 1231900"/>
                  <a:gd name="connsiteY121" fmla="*/ 250825 h 1231900"/>
                  <a:gd name="connsiteX122" fmla="*/ 250825 w 1231900"/>
                  <a:gd name="connsiteY122" fmla="*/ 111125 h 1231900"/>
                  <a:gd name="connsiteX123" fmla="*/ 314325 w 1231900"/>
                  <a:gd name="connsiteY123" fmla="*/ 177800 h 1231900"/>
                  <a:gd name="connsiteX124" fmla="*/ 361950 w 1231900"/>
                  <a:gd name="connsiteY124" fmla="*/ 149225 h 1231900"/>
                  <a:gd name="connsiteX125" fmla="*/ 412750 w 1231900"/>
                  <a:gd name="connsiteY125" fmla="*/ 123825 h 1231900"/>
                  <a:gd name="connsiteX126" fmla="*/ 463550 w 1231900"/>
                  <a:gd name="connsiteY126" fmla="*/ 104775 h 1231900"/>
                  <a:gd name="connsiteX127" fmla="*/ 517525 w 1231900"/>
                  <a:gd name="connsiteY127" fmla="*/ 92075 h 123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231900" h="1231900">
                    <a:moveTo>
                      <a:pt x="615950" y="269875"/>
                    </a:moveTo>
                    <a:lnTo>
                      <a:pt x="581025" y="273050"/>
                    </a:lnTo>
                    <a:lnTo>
                      <a:pt x="546100" y="276225"/>
                    </a:lnTo>
                    <a:lnTo>
                      <a:pt x="514350" y="285750"/>
                    </a:lnTo>
                    <a:lnTo>
                      <a:pt x="482600" y="298450"/>
                    </a:lnTo>
                    <a:lnTo>
                      <a:pt x="450850" y="311150"/>
                    </a:lnTo>
                    <a:lnTo>
                      <a:pt x="422275" y="330200"/>
                    </a:lnTo>
                    <a:lnTo>
                      <a:pt x="396875" y="349250"/>
                    </a:lnTo>
                    <a:lnTo>
                      <a:pt x="371475" y="371475"/>
                    </a:lnTo>
                    <a:lnTo>
                      <a:pt x="349250" y="396875"/>
                    </a:lnTo>
                    <a:lnTo>
                      <a:pt x="330200" y="422275"/>
                    </a:lnTo>
                    <a:lnTo>
                      <a:pt x="311150" y="450850"/>
                    </a:lnTo>
                    <a:lnTo>
                      <a:pt x="295275" y="482600"/>
                    </a:lnTo>
                    <a:lnTo>
                      <a:pt x="285750" y="514350"/>
                    </a:lnTo>
                    <a:lnTo>
                      <a:pt x="276225" y="546100"/>
                    </a:lnTo>
                    <a:lnTo>
                      <a:pt x="269875" y="581025"/>
                    </a:lnTo>
                    <a:lnTo>
                      <a:pt x="269875" y="615950"/>
                    </a:lnTo>
                    <a:lnTo>
                      <a:pt x="269875" y="650875"/>
                    </a:lnTo>
                    <a:lnTo>
                      <a:pt x="276225" y="685800"/>
                    </a:lnTo>
                    <a:lnTo>
                      <a:pt x="285750" y="720725"/>
                    </a:lnTo>
                    <a:lnTo>
                      <a:pt x="295275" y="752475"/>
                    </a:lnTo>
                    <a:lnTo>
                      <a:pt x="311150" y="781050"/>
                    </a:lnTo>
                    <a:lnTo>
                      <a:pt x="330200" y="809625"/>
                    </a:lnTo>
                    <a:lnTo>
                      <a:pt x="349250" y="838200"/>
                    </a:lnTo>
                    <a:lnTo>
                      <a:pt x="371475" y="863600"/>
                    </a:lnTo>
                    <a:lnTo>
                      <a:pt x="396875" y="885825"/>
                    </a:lnTo>
                    <a:lnTo>
                      <a:pt x="422275" y="904875"/>
                    </a:lnTo>
                    <a:lnTo>
                      <a:pt x="450850" y="920750"/>
                    </a:lnTo>
                    <a:lnTo>
                      <a:pt x="482600" y="936625"/>
                    </a:lnTo>
                    <a:lnTo>
                      <a:pt x="514350" y="949325"/>
                    </a:lnTo>
                    <a:lnTo>
                      <a:pt x="546100" y="955675"/>
                    </a:lnTo>
                    <a:lnTo>
                      <a:pt x="581025" y="962025"/>
                    </a:lnTo>
                    <a:lnTo>
                      <a:pt x="615950" y="965200"/>
                    </a:lnTo>
                    <a:lnTo>
                      <a:pt x="663575" y="958850"/>
                    </a:lnTo>
                    <a:lnTo>
                      <a:pt x="708025" y="949325"/>
                    </a:lnTo>
                    <a:lnTo>
                      <a:pt x="736600" y="942975"/>
                    </a:lnTo>
                    <a:lnTo>
                      <a:pt x="762000" y="930275"/>
                    </a:lnTo>
                    <a:lnTo>
                      <a:pt x="787400" y="917575"/>
                    </a:lnTo>
                    <a:lnTo>
                      <a:pt x="809625" y="904875"/>
                    </a:lnTo>
                    <a:lnTo>
                      <a:pt x="831850" y="889000"/>
                    </a:lnTo>
                    <a:lnTo>
                      <a:pt x="854075" y="869950"/>
                    </a:lnTo>
                    <a:lnTo>
                      <a:pt x="873125" y="850900"/>
                    </a:lnTo>
                    <a:lnTo>
                      <a:pt x="892175" y="828675"/>
                    </a:lnTo>
                    <a:lnTo>
                      <a:pt x="908050" y="806450"/>
                    </a:lnTo>
                    <a:lnTo>
                      <a:pt x="920750" y="781050"/>
                    </a:lnTo>
                    <a:lnTo>
                      <a:pt x="933450" y="755650"/>
                    </a:lnTo>
                    <a:lnTo>
                      <a:pt x="942975" y="730250"/>
                    </a:lnTo>
                    <a:lnTo>
                      <a:pt x="952500" y="704850"/>
                    </a:lnTo>
                    <a:lnTo>
                      <a:pt x="958850" y="676275"/>
                    </a:lnTo>
                    <a:lnTo>
                      <a:pt x="962025" y="647700"/>
                    </a:lnTo>
                    <a:lnTo>
                      <a:pt x="962025" y="615950"/>
                    </a:lnTo>
                    <a:lnTo>
                      <a:pt x="962025" y="584200"/>
                    </a:lnTo>
                    <a:lnTo>
                      <a:pt x="958850" y="555625"/>
                    </a:lnTo>
                    <a:lnTo>
                      <a:pt x="949325" y="523875"/>
                    </a:lnTo>
                    <a:lnTo>
                      <a:pt x="939800" y="495300"/>
                    </a:lnTo>
                    <a:lnTo>
                      <a:pt x="930275" y="466725"/>
                    </a:lnTo>
                    <a:lnTo>
                      <a:pt x="914400" y="441325"/>
                    </a:lnTo>
                    <a:lnTo>
                      <a:pt x="898525" y="415925"/>
                    </a:lnTo>
                    <a:lnTo>
                      <a:pt x="879475" y="393700"/>
                    </a:lnTo>
                    <a:lnTo>
                      <a:pt x="860425" y="371475"/>
                    </a:lnTo>
                    <a:lnTo>
                      <a:pt x="838200" y="349250"/>
                    </a:lnTo>
                    <a:lnTo>
                      <a:pt x="812800" y="333375"/>
                    </a:lnTo>
                    <a:lnTo>
                      <a:pt x="787400" y="317500"/>
                    </a:lnTo>
                    <a:lnTo>
                      <a:pt x="762000" y="301625"/>
                    </a:lnTo>
                    <a:lnTo>
                      <a:pt x="733425" y="292100"/>
                    </a:lnTo>
                    <a:lnTo>
                      <a:pt x="704850" y="282575"/>
                    </a:lnTo>
                    <a:lnTo>
                      <a:pt x="673100" y="276225"/>
                    </a:lnTo>
                    <a:lnTo>
                      <a:pt x="644525" y="273050"/>
                    </a:lnTo>
                    <a:close/>
                    <a:moveTo>
                      <a:pt x="517525" y="0"/>
                    </a:moveTo>
                    <a:lnTo>
                      <a:pt x="615950" y="0"/>
                    </a:lnTo>
                    <a:lnTo>
                      <a:pt x="660400" y="0"/>
                    </a:lnTo>
                    <a:lnTo>
                      <a:pt x="714375" y="0"/>
                    </a:lnTo>
                    <a:lnTo>
                      <a:pt x="714375" y="92075"/>
                    </a:lnTo>
                    <a:lnTo>
                      <a:pt x="768350" y="104775"/>
                    </a:lnTo>
                    <a:lnTo>
                      <a:pt x="822325" y="123825"/>
                    </a:lnTo>
                    <a:lnTo>
                      <a:pt x="869950" y="149225"/>
                    </a:lnTo>
                    <a:lnTo>
                      <a:pt x="917575" y="177800"/>
                    </a:lnTo>
                    <a:lnTo>
                      <a:pt x="984250" y="111125"/>
                    </a:lnTo>
                    <a:lnTo>
                      <a:pt x="1120775" y="250825"/>
                    </a:lnTo>
                    <a:lnTo>
                      <a:pt x="1054100" y="314325"/>
                    </a:lnTo>
                    <a:lnTo>
                      <a:pt x="1085850" y="361950"/>
                    </a:lnTo>
                    <a:lnTo>
                      <a:pt x="1108075" y="412750"/>
                    </a:lnTo>
                    <a:lnTo>
                      <a:pt x="1127125" y="463550"/>
                    </a:lnTo>
                    <a:lnTo>
                      <a:pt x="1139825" y="520700"/>
                    </a:lnTo>
                    <a:lnTo>
                      <a:pt x="1231900" y="520700"/>
                    </a:lnTo>
                    <a:lnTo>
                      <a:pt x="1231900" y="714375"/>
                    </a:lnTo>
                    <a:lnTo>
                      <a:pt x="1139825" y="714375"/>
                    </a:lnTo>
                    <a:lnTo>
                      <a:pt x="1127125" y="768350"/>
                    </a:lnTo>
                    <a:lnTo>
                      <a:pt x="1108075" y="822325"/>
                    </a:lnTo>
                    <a:lnTo>
                      <a:pt x="1085850" y="873125"/>
                    </a:lnTo>
                    <a:lnTo>
                      <a:pt x="1054100" y="917575"/>
                    </a:lnTo>
                    <a:lnTo>
                      <a:pt x="1120775" y="984250"/>
                    </a:lnTo>
                    <a:lnTo>
                      <a:pt x="984250" y="1120775"/>
                    </a:lnTo>
                    <a:lnTo>
                      <a:pt x="917575" y="1057275"/>
                    </a:lnTo>
                    <a:lnTo>
                      <a:pt x="873125" y="1085850"/>
                    </a:lnTo>
                    <a:lnTo>
                      <a:pt x="822325" y="1108075"/>
                    </a:lnTo>
                    <a:lnTo>
                      <a:pt x="771525" y="1127125"/>
                    </a:lnTo>
                    <a:lnTo>
                      <a:pt x="720725" y="1139825"/>
                    </a:lnTo>
                    <a:lnTo>
                      <a:pt x="714375" y="1139825"/>
                    </a:lnTo>
                    <a:lnTo>
                      <a:pt x="714375" y="1231900"/>
                    </a:lnTo>
                    <a:lnTo>
                      <a:pt x="615950" y="1231900"/>
                    </a:lnTo>
                    <a:lnTo>
                      <a:pt x="517525" y="1231900"/>
                    </a:lnTo>
                    <a:lnTo>
                      <a:pt x="517525" y="1139825"/>
                    </a:lnTo>
                    <a:lnTo>
                      <a:pt x="463550" y="1127125"/>
                    </a:lnTo>
                    <a:lnTo>
                      <a:pt x="412750" y="1108075"/>
                    </a:lnTo>
                    <a:lnTo>
                      <a:pt x="361950" y="1085850"/>
                    </a:lnTo>
                    <a:lnTo>
                      <a:pt x="314325" y="1057275"/>
                    </a:lnTo>
                    <a:lnTo>
                      <a:pt x="250825" y="1120775"/>
                    </a:lnTo>
                    <a:lnTo>
                      <a:pt x="111125" y="984250"/>
                    </a:lnTo>
                    <a:lnTo>
                      <a:pt x="177800" y="917575"/>
                    </a:lnTo>
                    <a:lnTo>
                      <a:pt x="149225" y="873125"/>
                    </a:lnTo>
                    <a:lnTo>
                      <a:pt x="123825" y="822325"/>
                    </a:lnTo>
                    <a:lnTo>
                      <a:pt x="104775" y="768350"/>
                    </a:lnTo>
                    <a:lnTo>
                      <a:pt x="92075" y="714375"/>
                    </a:lnTo>
                    <a:lnTo>
                      <a:pt x="0" y="714375"/>
                    </a:lnTo>
                    <a:lnTo>
                      <a:pt x="0" y="520700"/>
                    </a:lnTo>
                    <a:lnTo>
                      <a:pt x="92075" y="520700"/>
                    </a:lnTo>
                    <a:lnTo>
                      <a:pt x="104775" y="463550"/>
                    </a:lnTo>
                    <a:lnTo>
                      <a:pt x="123825" y="412750"/>
                    </a:lnTo>
                    <a:lnTo>
                      <a:pt x="149225" y="361950"/>
                    </a:lnTo>
                    <a:lnTo>
                      <a:pt x="177800" y="314325"/>
                    </a:lnTo>
                    <a:lnTo>
                      <a:pt x="111125" y="250825"/>
                    </a:lnTo>
                    <a:lnTo>
                      <a:pt x="250825" y="111125"/>
                    </a:lnTo>
                    <a:lnTo>
                      <a:pt x="314325" y="177800"/>
                    </a:lnTo>
                    <a:lnTo>
                      <a:pt x="361950" y="149225"/>
                    </a:lnTo>
                    <a:lnTo>
                      <a:pt x="412750" y="123825"/>
                    </a:lnTo>
                    <a:lnTo>
                      <a:pt x="463550" y="104775"/>
                    </a:lnTo>
                    <a:lnTo>
                      <a:pt x="517525" y="92075"/>
                    </a:lnTo>
                    <a:close/>
                  </a:path>
                </a:pathLst>
              </a:custGeom>
              <a:solidFill>
                <a:srgbClr val="B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1" name="Freeform 81">
                <a:extLst>
                  <a:ext uri="{FF2B5EF4-FFF2-40B4-BE49-F238E27FC236}">
                    <a16:creationId xmlns:a16="http://schemas.microsoft.com/office/drawing/2014/main" id="{8876B85C-42E3-4B9B-AFBB-3BDDCD4B6022}"/>
                  </a:ext>
                </a:extLst>
              </p:cNvPr>
              <p:cNvSpPr>
                <a:spLocks/>
              </p:cNvSpPr>
              <p:nvPr/>
            </p:nvSpPr>
            <p:spPr bwMode="auto">
              <a:xfrm>
                <a:off x="2835275" y="2638425"/>
                <a:ext cx="447675" cy="447675"/>
              </a:xfrm>
              <a:custGeom>
                <a:avLst/>
                <a:gdLst>
                  <a:gd name="connsiteX0" fmla="*/ 225425 w 447675"/>
                  <a:gd name="connsiteY0" fmla="*/ 82550 h 447675"/>
                  <a:gd name="connsiteX1" fmla="*/ 196850 w 447675"/>
                  <a:gd name="connsiteY1" fmla="*/ 85725 h 447675"/>
                  <a:gd name="connsiteX2" fmla="*/ 168275 w 447675"/>
                  <a:gd name="connsiteY2" fmla="*/ 92075 h 447675"/>
                  <a:gd name="connsiteX3" fmla="*/ 146050 w 447675"/>
                  <a:gd name="connsiteY3" fmla="*/ 107950 h 447675"/>
                  <a:gd name="connsiteX4" fmla="*/ 123825 w 447675"/>
                  <a:gd name="connsiteY4" fmla="*/ 123825 h 447675"/>
                  <a:gd name="connsiteX5" fmla="*/ 104775 w 447675"/>
                  <a:gd name="connsiteY5" fmla="*/ 146050 h 447675"/>
                  <a:gd name="connsiteX6" fmla="*/ 92075 w 447675"/>
                  <a:gd name="connsiteY6" fmla="*/ 168275 h 447675"/>
                  <a:gd name="connsiteX7" fmla="*/ 85725 w 447675"/>
                  <a:gd name="connsiteY7" fmla="*/ 196850 h 447675"/>
                  <a:gd name="connsiteX8" fmla="*/ 82550 w 447675"/>
                  <a:gd name="connsiteY8" fmla="*/ 225425 h 447675"/>
                  <a:gd name="connsiteX9" fmla="*/ 85725 w 447675"/>
                  <a:gd name="connsiteY9" fmla="*/ 250825 h 447675"/>
                  <a:gd name="connsiteX10" fmla="*/ 92075 w 447675"/>
                  <a:gd name="connsiteY10" fmla="*/ 276225 h 447675"/>
                  <a:gd name="connsiteX11" fmla="*/ 104775 w 447675"/>
                  <a:gd name="connsiteY11" fmla="*/ 301625 h 447675"/>
                  <a:gd name="connsiteX12" fmla="*/ 117475 w 447675"/>
                  <a:gd name="connsiteY12" fmla="*/ 320675 h 447675"/>
                  <a:gd name="connsiteX13" fmla="*/ 136525 w 447675"/>
                  <a:gd name="connsiteY13" fmla="*/ 336550 h 447675"/>
                  <a:gd name="connsiteX14" fmla="*/ 158750 w 447675"/>
                  <a:gd name="connsiteY14" fmla="*/ 352425 h 447675"/>
                  <a:gd name="connsiteX15" fmla="*/ 184150 w 447675"/>
                  <a:gd name="connsiteY15" fmla="*/ 361950 h 447675"/>
                  <a:gd name="connsiteX16" fmla="*/ 209550 w 447675"/>
                  <a:gd name="connsiteY16" fmla="*/ 368300 h 447675"/>
                  <a:gd name="connsiteX17" fmla="*/ 225425 w 447675"/>
                  <a:gd name="connsiteY17" fmla="*/ 368300 h 447675"/>
                  <a:gd name="connsiteX18" fmla="*/ 254000 w 447675"/>
                  <a:gd name="connsiteY18" fmla="*/ 365125 h 447675"/>
                  <a:gd name="connsiteX19" fmla="*/ 279400 w 447675"/>
                  <a:gd name="connsiteY19" fmla="*/ 355600 h 447675"/>
                  <a:gd name="connsiteX20" fmla="*/ 304800 w 447675"/>
                  <a:gd name="connsiteY20" fmla="*/ 342900 h 447675"/>
                  <a:gd name="connsiteX21" fmla="*/ 323850 w 447675"/>
                  <a:gd name="connsiteY21" fmla="*/ 327025 h 447675"/>
                  <a:gd name="connsiteX22" fmla="*/ 342900 w 447675"/>
                  <a:gd name="connsiteY22" fmla="*/ 304800 h 447675"/>
                  <a:gd name="connsiteX23" fmla="*/ 355600 w 447675"/>
                  <a:gd name="connsiteY23" fmla="*/ 279400 h 447675"/>
                  <a:gd name="connsiteX24" fmla="*/ 365125 w 447675"/>
                  <a:gd name="connsiteY24" fmla="*/ 254000 h 447675"/>
                  <a:gd name="connsiteX25" fmla="*/ 368300 w 447675"/>
                  <a:gd name="connsiteY25" fmla="*/ 225425 h 447675"/>
                  <a:gd name="connsiteX26" fmla="*/ 365125 w 447675"/>
                  <a:gd name="connsiteY26" fmla="*/ 196850 h 447675"/>
                  <a:gd name="connsiteX27" fmla="*/ 358775 w 447675"/>
                  <a:gd name="connsiteY27" fmla="*/ 171450 h 447675"/>
                  <a:gd name="connsiteX28" fmla="*/ 346075 w 447675"/>
                  <a:gd name="connsiteY28" fmla="*/ 149225 h 447675"/>
                  <a:gd name="connsiteX29" fmla="*/ 330200 w 447675"/>
                  <a:gd name="connsiteY29" fmla="*/ 130175 h 447675"/>
                  <a:gd name="connsiteX30" fmla="*/ 311150 w 447675"/>
                  <a:gd name="connsiteY30" fmla="*/ 111125 h 447675"/>
                  <a:gd name="connsiteX31" fmla="*/ 288925 w 447675"/>
                  <a:gd name="connsiteY31" fmla="*/ 98425 h 447675"/>
                  <a:gd name="connsiteX32" fmla="*/ 266700 w 447675"/>
                  <a:gd name="connsiteY32" fmla="*/ 88900 h 447675"/>
                  <a:gd name="connsiteX33" fmla="*/ 241300 w 447675"/>
                  <a:gd name="connsiteY33" fmla="*/ 82550 h 447675"/>
                  <a:gd name="connsiteX34" fmla="*/ 190500 w 447675"/>
                  <a:gd name="connsiteY34" fmla="*/ 0 h 447675"/>
                  <a:gd name="connsiteX35" fmla="*/ 225425 w 447675"/>
                  <a:gd name="connsiteY35" fmla="*/ 0 h 447675"/>
                  <a:gd name="connsiteX36" fmla="*/ 247650 w 447675"/>
                  <a:gd name="connsiteY36" fmla="*/ 0 h 447675"/>
                  <a:gd name="connsiteX37" fmla="*/ 260350 w 447675"/>
                  <a:gd name="connsiteY37" fmla="*/ 0 h 447675"/>
                  <a:gd name="connsiteX38" fmla="*/ 260350 w 447675"/>
                  <a:gd name="connsiteY38" fmla="*/ 34925 h 447675"/>
                  <a:gd name="connsiteX39" fmla="*/ 279400 w 447675"/>
                  <a:gd name="connsiteY39" fmla="*/ 38100 h 447675"/>
                  <a:gd name="connsiteX40" fmla="*/ 298450 w 447675"/>
                  <a:gd name="connsiteY40" fmla="*/ 47625 h 447675"/>
                  <a:gd name="connsiteX41" fmla="*/ 317500 w 447675"/>
                  <a:gd name="connsiteY41" fmla="*/ 53975 h 447675"/>
                  <a:gd name="connsiteX42" fmla="*/ 333375 w 447675"/>
                  <a:gd name="connsiteY42" fmla="*/ 66675 h 447675"/>
                  <a:gd name="connsiteX43" fmla="*/ 358775 w 447675"/>
                  <a:gd name="connsiteY43" fmla="*/ 41275 h 447675"/>
                  <a:gd name="connsiteX44" fmla="*/ 406400 w 447675"/>
                  <a:gd name="connsiteY44" fmla="*/ 92075 h 447675"/>
                  <a:gd name="connsiteX45" fmla="*/ 384175 w 447675"/>
                  <a:gd name="connsiteY45" fmla="*/ 114300 h 447675"/>
                  <a:gd name="connsiteX46" fmla="*/ 393700 w 447675"/>
                  <a:gd name="connsiteY46" fmla="*/ 133350 h 447675"/>
                  <a:gd name="connsiteX47" fmla="*/ 403225 w 447675"/>
                  <a:gd name="connsiteY47" fmla="*/ 149225 h 447675"/>
                  <a:gd name="connsiteX48" fmla="*/ 409575 w 447675"/>
                  <a:gd name="connsiteY48" fmla="*/ 168275 h 447675"/>
                  <a:gd name="connsiteX49" fmla="*/ 415925 w 447675"/>
                  <a:gd name="connsiteY49" fmla="*/ 190500 h 447675"/>
                  <a:gd name="connsiteX50" fmla="*/ 447675 w 447675"/>
                  <a:gd name="connsiteY50" fmla="*/ 190500 h 447675"/>
                  <a:gd name="connsiteX51" fmla="*/ 447675 w 447675"/>
                  <a:gd name="connsiteY51" fmla="*/ 260350 h 447675"/>
                  <a:gd name="connsiteX52" fmla="*/ 415925 w 447675"/>
                  <a:gd name="connsiteY52" fmla="*/ 260350 h 447675"/>
                  <a:gd name="connsiteX53" fmla="*/ 409575 w 447675"/>
                  <a:gd name="connsiteY53" fmla="*/ 279400 h 447675"/>
                  <a:gd name="connsiteX54" fmla="*/ 403225 w 447675"/>
                  <a:gd name="connsiteY54" fmla="*/ 298450 h 447675"/>
                  <a:gd name="connsiteX55" fmla="*/ 393700 w 447675"/>
                  <a:gd name="connsiteY55" fmla="*/ 317500 h 447675"/>
                  <a:gd name="connsiteX56" fmla="*/ 384175 w 447675"/>
                  <a:gd name="connsiteY56" fmla="*/ 333375 h 447675"/>
                  <a:gd name="connsiteX57" fmla="*/ 406400 w 447675"/>
                  <a:gd name="connsiteY57" fmla="*/ 358775 h 447675"/>
                  <a:gd name="connsiteX58" fmla="*/ 358775 w 447675"/>
                  <a:gd name="connsiteY58" fmla="*/ 406400 h 447675"/>
                  <a:gd name="connsiteX59" fmla="*/ 333375 w 447675"/>
                  <a:gd name="connsiteY59" fmla="*/ 384175 h 447675"/>
                  <a:gd name="connsiteX60" fmla="*/ 317500 w 447675"/>
                  <a:gd name="connsiteY60" fmla="*/ 393700 h 447675"/>
                  <a:gd name="connsiteX61" fmla="*/ 298450 w 447675"/>
                  <a:gd name="connsiteY61" fmla="*/ 403225 h 447675"/>
                  <a:gd name="connsiteX62" fmla="*/ 279400 w 447675"/>
                  <a:gd name="connsiteY62" fmla="*/ 409575 h 447675"/>
                  <a:gd name="connsiteX63" fmla="*/ 260350 w 447675"/>
                  <a:gd name="connsiteY63" fmla="*/ 415925 h 447675"/>
                  <a:gd name="connsiteX64" fmla="*/ 260350 w 447675"/>
                  <a:gd name="connsiteY64" fmla="*/ 447675 h 447675"/>
                  <a:gd name="connsiteX65" fmla="*/ 225425 w 447675"/>
                  <a:gd name="connsiteY65" fmla="*/ 447675 h 447675"/>
                  <a:gd name="connsiteX66" fmla="*/ 200025 w 447675"/>
                  <a:gd name="connsiteY66" fmla="*/ 447675 h 447675"/>
                  <a:gd name="connsiteX67" fmla="*/ 190500 w 447675"/>
                  <a:gd name="connsiteY67" fmla="*/ 447675 h 447675"/>
                  <a:gd name="connsiteX68" fmla="*/ 190500 w 447675"/>
                  <a:gd name="connsiteY68" fmla="*/ 415925 h 447675"/>
                  <a:gd name="connsiteX69" fmla="*/ 168275 w 447675"/>
                  <a:gd name="connsiteY69" fmla="*/ 409575 h 447675"/>
                  <a:gd name="connsiteX70" fmla="*/ 149225 w 447675"/>
                  <a:gd name="connsiteY70" fmla="*/ 403225 h 447675"/>
                  <a:gd name="connsiteX71" fmla="*/ 133350 w 447675"/>
                  <a:gd name="connsiteY71" fmla="*/ 393700 h 447675"/>
                  <a:gd name="connsiteX72" fmla="*/ 114300 w 447675"/>
                  <a:gd name="connsiteY72" fmla="*/ 384175 h 447675"/>
                  <a:gd name="connsiteX73" fmla="*/ 92075 w 447675"/>
                  <a:gd name="connsiteY73" fmla="*/ 406400 h 447675"/>
                  <a:gd name="connsiteX74" fmla="*/ 41275 w 447675"/>
                  <a:gd name="connsiteY74" fmla="*/ 358775 h 447675"/>
                  <a:gd name="connsiteX75" fmla="*/ 66675 w 447675"/>
                  <a:gd name="connsiteY75" fmla="*/ 333375 h 447675"/>
                  <a:gd name="connsiteX76" fmla="*/ 53975 w 447675"/>
                  <a:gd name="connsiteY76" fmla="*/ 317500 h 447675"/>
                  <a:gd name="connsiteX77" fmla="*/ 47625 w 447675"/>
                  <a:gd name="connsiteY77" fmla="*/ 298450 h 447675"/>
                  <a:gd name="connsiteX78" fmla="*/ 38100 w 447675"/>
                  <a:gd name="connsiteY78" fmla="*/ 279400 h 447675"/>
                  <a:gd name="connsiteX79" fmla="*/ 34925 w 447675"/>
                  <a:gd name="connsiteY79" fmla="*/ 260350 h 447675"/>
                  <a:gd name="connsiteX80" fmla="*/ 0 w 447675"/>
                  <a:gd name="connsiteY80" fmla="*/ 260350 h 447675"/>
                  <a:gd name="connsiteX81" fmla="*/ 0 w 447675"/>
                  <a:gd name="connsiteY81" fmla="*/ 190500 h 447675"/>
                  <a:gd name="connsiteX82" fmla="*/ 34925 w 447675"/>
                  <a:gd name="connsiteY82" fmla="*/ 190500 h 447675"/>
                  <a:gd name="connsiteX83" fmla="*/ 38100 w 447675"/>
                  <a:gd name="connsiteY83" fmla="*/ 168275 h 447675"/>
                  <a:gd name="connsiteX84" fmla="*/ 47625 w 447675"/>
                  <a:gd name="connsiteY84" fmla="*/ 149225 h 447675"/>
                  <a:gd name="connsiteX85" fmla="*/ 53975 w 447675"/>
                  <a:gd name="connsiteY85" fmla="*/ 133350 h 447675"/>
                  <a:gd name="connsiteX86" fmla="*/ 66675 w 447675"/>
                  <a:gd name="connsiteY86" fmla="*/ 114300 h 447675"/>
                  <a:gd name="connsiteX87" fmla="*/ 41275 w 447675"/>
                  <a:gd name="connsiteY87" fmla="*/ 92075 h 447675"/>
                  <a:gd name="connsiteX88" fmla="*/ 92075 w 447675"/>
                  <a:gd name="connsiteY88" fmla="*/ 41275 h 447675"/>
                  <a:gd name="connsiteX89" fmla="*/ 114300 w 447675"/>
                  <a:gd name="connsiteY89" fmla="*/ 66675 h 447675"/>
                  <a:gd name="connsiteX90" fmla="*/ 133350 w 447675"/>
                  <a:gd name="connsiteY90" fmla="*/ 53975 h 447675"/>
                  <a:gd name="connsiteX91" fmla="*/ 149225 w 447675"/>
                  <a:gd name="connsiteY91" fmla="*/ 47625 h 447675"/>
                  <a:gd name="connsiteX92" fmla="*/ 168275 w 447675"/>
                  <a:gd name="connsiteY92" fmla="*/ 38100 h 447675"/>
                  <a:gd name="connsiteX93" fmla="*/ 190500 w 447675"/>
                  <a:gd name="connsiteY93" fmla="*/ 34925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7675" h="447675">
                    <a:moveTo>
                      <a:pt x="225425" y="82550"/>
                    </a:moveTo>
                    <a:lnTo>
                      <a:pt x="196850" y="85725"/>
                    </a:lnTo>
                    <a:lnTo>
                      <a:pt x="168275" y="92075"/>
                    </a:lnTo>
                    <a:lnTo>
                      <a:pt x="146050" y="107950"/>
                    </a:lnTo>
                    <a:lnTo>
                      <a:pt x="123825" y="123825"/>
                    </a:lnTo>
                    <a:lnTo>
                      <a:pt x="104775" y="146050"/>
                    </a:lnTo>
                    <a:lnTo>
                      <a:pt x="92075" y="168275"/>
                    </a:lnTo>
                    <a:lnTo>
                      <a:pt x="85725" y="196850"/>
                    </a:lnTo>
                    <a:lnTo>
                      <a:pt x="82550" y="225425"/>
                    </a:lnTo>
                    <a:lnTo>
                      <a:pt x="85725" y="250825"/>
                    </a:lnTo>
                    <a:lnTo>
                      <a:pt x="92075" y="276225"/>
                    </a:lnTo>
                    <a:lnTo>
                      <a:pt x="104775" y="301625"/>
                    </a:lnTo>
                    <a:lnTo>
                      <a:pt x="117475" y="320675"/>
                    </a:lnTo>
                    <a:lnTo>
                      <a:pt x="136525" y="336550"/>
                    </a:lnTo>
                    <a:lnTo>
                      <a:pt x="158750" y="352425"/>
                    </a:lnTo>
                    <a:lnTo>
                      <a:pt x="184150" y="361950"/>
                    </a:lnTo>
                    <a:lnTo>
                      <a:pt x="209550" y="368300"/>
                    </a:lnTo>
                    <a:lnTo>
                      <a:pt x="225425" y="368300"/>
                    </a:lnTo>
                    <a:lnTo>
                      <a:pt x="254000" y="365125"/>
                    </a:lnTo>
                    <a:lnTo>
                      <a:pt x="279400" y="355600"/>
                    </a:lnTo>
                    <a:lnTo>
                      <a:pt x="304800" y="342900"/>
                    </a:lnTo>
                    <a:lnTo>
                      <a:pt x="323850" y="327025"/>
                    </a:lnTo>
                    <a:lnTo>
                      <a:pt x="342900" y="304800"/>
                    </a:lnTo>
                    <a:lnTo>
                      <a:pt x="355600" y="279400"/>
                    </a:lnTo>
                    <a:lnTo>
                      <a:pt x="365125" y="254000"/>
                    </a:lnTo>
                    <a:lnTo>
                      <a:pt x="368300" y="225425"/>
                    </a:lnTo>
                    <a:lnTo>
                      <a:pt x="365125" y="196850"/>
                    </a:lnTo>
                    <a:lnTo>
                      <a:pt x="358775" y="171450"/>
                    </a:lnTo>
                    <a:lnTo>
                      <a:pt x="346075" y="149225"/>
                    </a:lnTo>
                    <a:lnTo>
                      <a:pt x="330200" y="130175"/>
                    </a:lnTo>
                    <a:lnTo>
                      <a:pt x="311150" y="111125"/>
                    </a:lnTo>
                    <a:lnTo>
                      <a:pt x="288925" y="98425"/>
                    </a:lnTo>
                    <a:lnTo>
                      <a:pt x="266700" y="88900"/>
                    </a:lnTo>
                    <a:lnTo>
                      <a:pt x="241300" y="82550"/>
                    </a:lnTo>
                    <a:close/>
                    <a:moveTo>
                      <a:pt x="190500" y="0"/>
                    </a:moveTo>
                    <a:lnTo>
                      <a:pt x="225425" y="0"/>
                    </a:lnTo>
                    <a:lnTo>
                      <a:pt x="247650" y="0"/>
                    </a:lnTo>
                    <a:lnTo>
                      <a:pt x="260350" y="0"/>
                    </a:lnTo>
                    <a:lnTo>
                      <a:pt x="260350" y="34925"/>
                    </a:lnTo>
                    <a:lnTo>
                      <a:pt x="279400" y="38100"/>
                    </a:lnTo>
                    <a:lnTo>
                      <a:pt x="298450" y="47625"/>
                    </a:lnTo>
                    <a:lnTo>
                      <a:pt x="317500" y="53975"/>
                    </a:lnTo>
                    <a:lnTo>
                      <a:pt x="333375" y="66675"/>
                    </a:lnTo>
                    <a:lnTo>
                      <a:pt x="358775" y="41275"/>
                    </a:lnTo>
                    <a:lnTo>
                      <a:pt x="406400" y="92075"/>
                    </a:lnTo>
                    <a:lnTo>
                      <a:pt x="384175" y="114300"/>
                    </a:lnTo>
                    <a:lnTo>
                      <a:pt x="393700" y="133350"/>
                    </a:lnTo>
                    <a:lnTo>
                      <a:pt x="403225" y="149225"/>
                    </a:lnTo>
                    <a:lnTo>
                      <a:pt x="409575" y="168275"/>
                    </a:lnTo>
                    <a:lnTo>
                      <a:pt x="415925" y="190500"/>
                    </a:lnTo>
                    <a:lnTo>
                      <a:pt x="447675" y="190500"/>
                    </a:lnTo>
                    <a:lnTo>
                      <a:pt x="447675" y="260350"/>
                    </a:lnTo>
                    <a:lnTo>
                      <a:pt x="415925" y="260350"/>
                    </a:lnTo>
                    <a:lnTo>
                      <a:pt x="409575" y="279400"/>
                    </a:lnTo>
                    <a:lnTo>
                      <a:pt x="403225" y="298450"/>
                    </a:lnTo>
                    <a:lnTo>
                      <a:pt x="393700" y="317500"/>
                    </a:lnTo>
                    <a:lnTo>
                      <a:pt x="384175" y="333375"/>
                    </a:lnTo>
                    <a:lnTo>
                      <a:pt x="406400" y="358775"/>
                    </a:lnTo>
                    <a:lnTo>
                      <a:pt x="358775" y="406400"/>
                    </a:lnTo>
                    <a:lnTo>
                      <a:pt x="333375" y="384175"/>
                    </a:lnTo>
                    <a:lnTo>
                      <a:pt x="317500" y="393700"/>
                    </a:lnTo>
                    <a:lnTo>
                      <a:pt x="298450" y="403225"/>
                    </a:lnTo>
                    <a:lnTo>
                      <a:pt x="279400" y="409575"/>
                    </a:lnTo>
                    <a:lnTo>
                      <a:pt x="260350" y="415925"/>
                    </a:lnTo>
                    <a:lnTo>
                      <a:pt x="260350" y="447675"/>
                    </a:lnTo>
                    <a:lnTo>
                      <a:pt x="225425" y="447675"/>
                    </a:lnTo>
                    <a:lnTo>
                      <a:pt x="200025" y="447675"/>
                    </a:lnTo>
                    <a:lnTo>
                      <a:pt x="190500" y="447675"/>
                    </a:lnTo>
                    <a:lnTo>
                      <a:pt x="190500" y="415925"/>
                    </a:lnTo>
                    <a:lnTo>
                      <a:pt x="168275" y="409575"/>
                    </a:lnTo>
                    <a:lnTo>
                      <a:pt x="149225" y="403225"/>
                    </a:lnTo>
                    <a:lnTo>
                      <a:pt x="133350" y="393700"/>
                    </a:lnTo>
                    <a:lnTo>
                      <a:pt x="114300" y="384175"/>
                    </a:lnTo>
                    <a:lnTo>
                      <a:pt x="92075" y="406400"/>
                    </a:lnTo>
                    <a:lnTo>
                      <a:pt x="41275" y="358775"/>
                    </a:lnTo>
                    <a:lnTo>
                      <a:pt x="66675" y="333375"/>
                    </a:lnTo>
                    <a:lnTo>
                      <a:pt x="53975" y="317500"/>
                    </a:lnTo>
                    <a:lnTo>
                      <a:pt x="47625" y="298450"/>
                    </a:lnTo>
                    <a:lnTo>
                      <a:pt x="38100" y="279400"/>
                    </a:lnTo>
                    <a:lnTo>
                      <a:pt x="34925" y="260350"/>
                    </a:lnTo>
                    <a:lnTo>
                      <a:pt x="0" y="260350"/>
                    </a:lnTo>
                    <a:lnTo>
                      <a:pt x="0" y="190500"/>
                    </a:lnTo>
                    <a:lnTo>
                      <a:pt x="34925" y="190500"/>
                    </a:lnTo>
                    <a:lnTo>
                      <a:pt x="38100" y="168275"/>
                    </a:lnTo>
                    <a:lnTo>
                      <a:pt x="47625" y="149225"/>
                    </a:lnTo>
                    <a:lnTo>
                      <a:pt x="53975" y="133350"/>
                    </a:lnTo>
                    <a:lnTo>
                      <a:pt x="66675" y="114300"/>
                    </a:lnTo>
                    <a:lnTo>
                      <a:pt x="41275" y="92075"/>
                    </a:lnTo>
                    <a:lnTo>
                      <a:pt x="92075" y="41275"/>
                    </a:lnTo>
                    <a:lnTo>
                      <a:pt x="114300" y="66675"/>
                    </a:lnTo>
                    <a:lnTo>
                      <a:pt x="133350" y="53975"/>
                    </a:lnTo>
                    <a:lnTo>
                      <a:pt x="149225" y="47625"/>
                    </a:lnTo>
                    <a:lnTo>
                      <a:pt x="168275" y="38100"/>
                    </a:lnTo>
                    <a:lnTo>
                      <a:pt x="190500" y="34925"/>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2" name="Freeform 82">
                <a:extLst>
                  <a:ext uri="{FF2B5EF4-FFF2-40B4-BE49-F238E27FC236}">
                    <a16:creationId xmlns:a16="http://schemas.microsoft.com/office/drawing/2014/main" id="{D1BBE4AC-6A84-4EB0-82AB-EB3EC49591FA}"/>
                  </a:ext>
                </a:extLst>
              </p:cNvPr>
              <p:cNvSpPr>
                <a:spLocks/>
              </p:cNvSpPr>
              <p:nvPr/>
            </p:nvSpPr>
            <p:spPr bwMode="auto">
              <a:xfrm>
                <a:off x="1130300" y="3717925"/>
                <a:ext cx="441325" cy="441325"/>
              </a:xfrm>
              <a:custGeom>
                <a:avLst/>
                <a:gdLst>
                  <a:gd name="connsiteX0" fmla="*/ 209550 w 441325"/>
                  <a:gd name="connsiteY0" fmla="*/ 79375 h 441325"/>
                  <a:gd name="connsiteX1" fmla="*/ 180975 w 441325"/>
                  <a:gd name="connsiteY1" fmla="*/ 85725 h 441325"/>
                  <a:gd name="connsiteX2" fmla="*/ 152400 w 441325"/>
                  <a:gd name="connsiteY2" fmla="*/ 98425 h 441325"/>
                  <a:gd name="connsiteX3" fmla="*/ 130175 w 441325"/>
                  <a:gd name="connsiteY3" fmla="*/ 111125 h 441325"/>
                  <a:gd name="connsiteX4" fmla="*/ 114300 w 441325"/>
                  <a:gd name="connsiteY4" fmla="*/ 127000 h 441325"/>
                  <a:gd name="connsiteX5" fmla="*/ 98425 w 441325"/>
                  <a:gd name="connsiteY5" fmla="*/ 149225 h 441325"/>
                  <a:gd name="connsiteX6" fmla="*/ 85725 w 441325"/>
                  <a:gd name="connsiteY6" fmla="*/ 174625 h 441325"/>
                  <a:gd name="connsiteX7" fmla="*/ 79375 w 441325"/>
                  <a:gd name="connsiteY7" fmla="*/ 200025 h 441325"/>
                  <a:gd name="connsiteX8" fmla="*/ 79375 w 441325"/>
                  <a:gd name="connsiteY8" fmla="*/ 225425 h 441325"/>
                  <a:gd name="connsiteX9" fmla="*/ 79375 w 441325"/>
                  <a:gd name="connsiteY9" fmla="*/ 247650 h 441325"/>
                  <a:gd name="connsiteX10" fmla="*/ 88900 w 441325"/>
                  <a:gd name="connsiteY10" fmla="*/ 273050 h 441325"/>
                  <a:gd name="connsiteX11" fmla="*/ 98425 w 441325"/>
                  <a:gd name="connsiteY11" fmla="*/ 295275 h 441325"/>
                  <a:gd name="connsiteX12" fmla="*/ 114300 w 441325"/>
                  <a:gd name="connsiteY12" fmla="*/ 314325 h 441325"/>
                  <a:gd name="connsiteX13" fmla="*/ 130175 w 441325"/>
                  <a:gd name="connsiteY13" fmla="*/ 333375 h 441325"/>
                  <a:gd name="connsiteX14" fmla="*/ 152400 w 441325"/>
                  <a:gd name="connsiteY14" fmla="*/ 346075 h 441325"/>
                  <a:gd name="connsiteX15" fmla="*/ 171450 w 441325"/>
                  <a:gd name="connsiteY15" fmla="*/ 355600 h 441325"/>
                  <a:gd name="connsiteX16" fmla="*/ 200025 w 441325"/>
                  <a:gd name="connsiteY16" fmla="*/ 361950 h 441325"/>
                  <a:gd name="connsiteX17" fmla="*/ 225425 w 441325"/>
                  <a:gd name="connsiteY17" fmla="*/ 361950 h 441325"/>
                  <a:gd name="connsiteX18" fmla="*/ 254000 w 441325"/>
                  <a:gd name="connsiteY18" fmla="*/ 358775 h 441325"/>
                  <a:gd name="connsiteX19" fmla="*/ 279400 w 441325"/>
                  <a:gd name="connsiteY19" fmla="*/ 349250 h 441325"/>
                  <a:gd name="connsiteX20" fmla="*/ 301625 w 441325"/>
                  <a:gd name="connsiteY20" fmla="*/ 336550 h 441325"/>
                  <a:gd name="connsiteX21" fmla="*/ 323850 w 441325"/>
                  <a:gd name="connsiteY21" fmla="*/ 317500 h 441325"/>
                  <a:gd name="connsiteX22" fmla="*/ 339725 w 441325"/>
                  <a:gd name="connsiteY22" fmla="*/ 295275 h 441325"/>
                  <a:gd name="connsiteX23" fmla="*/ 352425 w 441325"/>
                  <a:gd name="connsiteY23" fmla="*/ 269875 h 441325"/>
                  <a:gd name="connsiteX24" fmla="*/ 358775 w 441325"/>
                  <a:gd name="connsiteY24" fmla="*/ 241300 h 441325"/>
                  <a:gd name="connsiteX25" fmla="*/ 361950 w 441325"/>
                  <a:gd name="connsiteY25" fmla="*/ 215900 h 441325"/>
                  <a:gd name="connsiteX26" fmla="*/ 355600 w 441325"/>
                  <a:gd name="connsiteY26" fmla="*/ 187325 h 441325"/>
                  <a:gd name="connsiteX27" fmla="*/ 349250 w 441325"/>
                  <a:gd name="connsiteY27" fmla="*/ 161925 h 441325"/>
                  <a:gd name="connsiteX28" fmla="*/ 333375 w 441325"/>
                  <a:gd name="connsiteY28" fmla="*/ 139700 h 441325"/>
                  <a:gd name="connsiteX29" fmla="*/ 317500 w 441325"/>
                  <a:gd name="connsiteY29" fmla="*/ 117475 h 441325"/>
                  <a:gd name="connsiteX30" fmla="*/ 295275 w 441325"/>
                  <a:gd name="connsiteY30" fmla="*/ 101600 h 441325"/>
                  <a:gd name="connsiteX31" fmla="*/ 266700 w 441325"/>
                  <a:gd name="connsiteY31" fmla="*/ 88900 h 441325"/>
                  <a:gd name="connsiteX32" fmla="*/ 238125 w 441325"/>
                  <a:gd name="connsiteY32" fmla="*/ 82550 h 441325"/>
                  <a:gd name="connsiteX33" fmla="*/ 263525 w 441325"/>
                  <a:gd name="connsiteY33" fmla="*/ 0 h 441325"/>
                  <a:gd name="connsiteX34" fmla="*/ 295275 w 441325"/>
                  <a:gd name="connsiteY34" fmla="*/ 12700 h 441325"/>
                  <a:gd name="connsiteX35" fmla="*/ 327025 w 441325"/>
                  <a:gd name="connsiteY35" fmla="*/ 25400 h 441325"/>
                  <a:gd name="connsiteX36" fmla="*/ 317500 w 441325"/>
                  <a:gd name="connsiteY36" fmla="*/ 57150 h 441325"/>
                  <a:gd name="connsiteX37" fmla="*/ 333375 w 441325"/>
                  <a:gd name="connsiteY37" fmla="*/ 66675 h 441325"/>
                  <a:gd name="connsiteX38" fmla="*/ 349250 w 441325"/>
                  <a:gd name="connsiteY38" fmla="*/ 79375 h 441325"/>
                  <a:gd name="connsiteX39" fmla="*/ 361950 w 441325"/>
                  <a:gd name="connsiteY39" fmla="*/ 95250 h 441325"/>
                  <a:gd name="connsiteX40" fmla="*/ 374650 w 441325"/>
                  <a:gd name="connsiteY40" fmla="*/ 111125 h 441325"/>
                  <a:gd name="connsiteX41" fmla="*/ 406400 w 441325"/>
                  <a:gd name="connsiteY41" fmla="*/ 95250 h 441325"/>
                  <a:gd name="connsiteX42" fmla="*/ 434975 w 441325"/>
                  <a:gd name="connsiteY42" fmla="*/ 158750 h 441325"/>
                  <a:gd name="connsiteX43" fmla="*/ 406400 w 441325"/>
                  <a:gd name="connsiteY43" fmla="*/ 174625 h 441325"/>
                  <a:gd name="connsiteX44" fmla="*/ 409575 w 441325"/>
                  <a:gd name="connsiteY44" fmla="*/ 193675 h 441325"/>
                  <a:gd name="connsiteX45" fmla="*/ 412750 w 441325"/>
                  <a:gd name="connsiteY45" fmla="*/ 212725 h 441325"/>
                  <a:gd name="connsiteX46" fmla="*/ 409575 w 441325"/>
                  <a:gd name="connsiteY46" fmla="*/ 231775 h 441325"/>
                  <a:gd name="connsiteX47" fmla="*/ 409575 w 441325"/>
                  <a:gd name="connsiteY47" fmla="*/ 254000 h 441325"/>
                  <a:gd name="connsiteX48" fmla="*/ 441325 w 441325"/>
                  <a:gd name="connsiteY48" fmla="*/ 263525 h 441325"/>
                  <a:gd name="connsiteX49" fmla="*/ 415925 w 441325"/>
                  <a:gd name="connsiteY49" fmla="*/ 330200 h 441325"/>
                  <a:gd name="connsiteX50" fmla="*/ 384175 w 441325"/>
                  <a:gd name="connsiteY50" fmla="*/ 317500 h 441325"/>
                  <a:gd name="connsiteX51" fmla="*/ 374650 w 441325"/>
                  <a:gd name="connsiteY51" fmla="*/ 336550 h 441325"/>
                  <a:gd name="connsiteX52" fmla="*/ 361950 w 441325"/>
                  <a:gd name="connsiteY52" fmla="*/ 352425 h 441325"/>
                  <a:gd name="connsiteX53" fmla="*/ 346075 w 441325"/>
                  <a:gd name="connsiteY53" fmla="*/ 365125 h 441325"/>
                  <a:gd name="connsiteX54" fmla="*/ 330200 w 441325"/>
                  <a:gd name="connsiteY54" fmla="*/ 377825 h 441325"/>
                  <a:gd name="connsiteX55" fmla="*/ 346075 w 441325"/>
                  <a:gd name="connsiteY55" fmla="*/ 406400 h 441325"/>
                  <a:gd name="connsiteX56" fmla="*/ 282575 w 441325"/>
                  <a:gd name="connsiteY56" fmla="*/ 438150 h 441325"/>
                  <a:gd name="connsiteX57" fmla="*/ 266700 w 441325"/>
                  <a:gd name="connsiteY57" fmla="*/ 406400 h 441325"/>
                  <a:gd name="connsiteX58" fmla="*/ 247650 w 441325"/>
                  <a:gd name="connsiteY58" fmla="*/ 412750 h 441325"/>
                  <a:gd name="connsiteX59" fmla="*/ 228600 w 441325"/>
                  <a:gd name="connsiteY59" fmla="*/ 412750 h 441325"/>
                  <a:gd name="connsiteX60" fmla="*/ 209550 w 441325"/>
                  <a:gd name="connsiteY60" fmla="*/ 412750 h 441325"/>
                  <a:gd name="connsiteX61" fmla="*/ 187325 w 441325"/>
                  <a:gd name="connsiteY61" fmla="*/ 409575 h 441325"/>
                  <a:gd name="connsiteX62" fmla="*/ 177800 w 441325"/>
                  <a:gd name="connsiteY62" fmla="*/ 441325 h 441325"/>
                  <a:gd name="connsiteX63" fmla="*/ 152400 w 441325"/>
                  <a:gd name="connsiteY63" fmla="*/ 431800 h 441325"/>
                  <a:gd name="connsiteX64" fmla="*/ 142875 w 441325"/>
                  <a:gd name="connsiteY64" fmla="*/ 428625 h 441325"/>
                  <a:gd name="connsiteX65" fmla="*/ 111125 w 441325"/>
                  <a:gd name="connsiteY65" fmla="*/ 419100 h 441325"/>
                  <a:gd name="connsiteX66" fmla="*/ 123825 w 441325"/>
                  <a:gd name="connsiteY66" fmla="*/ 387350 h 441325"/>
                  <a:gd name="connsiteX67" fmla="*/ 104775 w 441325"/>
                  <a:gd name="connsiteY67" fmla="*/ 374650 h 441325"/>
                  <a:gd name="connsiteX68" fmla="*/ 88900 w 441325"/>
                  <a:gd name="connsiteY68" fmla="*/ 361950 h 441325"/>
                  <a:gd name="connsiteX69" fmla="*/ 76200 w 441325"/>
                  <a:gd name="connsiteY69" fmla="*/ 349250 h 441325"/>
                  <a:gd name="connsiteX70" fmla="*/ 63500 w 441325"/>
                  <a:gd name="connsiteY70" fmla="*/ 333375 h 441325"/>
                  <a:gd name="connsiteX71" fmla="*/ 34925 w 441325"/>
                  <a:gd name="connsiteY71" fmla="*/ 346075 h 441325"/>
                  <a:gd name="connsiteX72" fmla="*/ 3175 w 441325"/>
                  <a:gd name="connsiteY72" fmla="*/ 282575 h 441325"/>
                  <a:gd name="connsiteX73" fmla="*/ 34925 w 441325"/>
                  <a:gd name="connsiteY73" fmla="*/ 269875 h 441325"/>
                  <a:gd name="connsiteX74" fmla="*/ 28575 w 441325"/>
                  <a:gd name="connsiteY74" fmla="*/ 250825 h 441325"/>
                  <a:gd name="connsiteX75" fmla="*/ 28575 w 441325"/>
                  <a:gd name="connsiteY75" fmla="*/ 231775 h 441325"/>
                  <a:gd name="connsiteX76" fmla="*/ 28575 w 441325"/>
                  <a:gd name="connsiteY76" fmla="*/ 209550 h 441325"/>
                  <a:gd name="connsiteX77" fmla="*/ 31750 w 441325"/>
                  <a:gd name="connsiteY77" fmla="*/ 190500 h 441325"/>
                  <a:gd name="connsiteX78" fmla="*/ 0 w 441325"/>
                  <a:gd name="connsiteY78" fmla="*/ 177800 h 441325"/>
                  <a:gd name="connsiteX79" fmla="*/ 22225 w 441325"/>
                  <a:gd name="connsiteY79" fmla="*/ 114300 h 441325"/>
                  <a:gd name="connsiteX80" fmla="*/ 53975 w 441325"/>
                  <a:gd name="connsiteY80" fmla="*/ 123825 h 441325"/>
                  <a:gd name="connsiteX81" fmla="*/ 66675 w 441325"/>
                  <a:gd name="connsiteY81" fmla="*/ 107950 h 441325"/>
                  <a:gd name="connsiteX82" fmla="*/ 79375 w 441325"/>
                  <a:gd name="connsiteY82" fmla="*/ 92075 h 441325"/>
                  <a:gd name="connsiteX83" fmla="*/ 92075 w 441325"/>
                  <a:gd name="connsiteY83" fmla="*/ 79375 h 441325"/>
                  <a:gd name="connsiteX84" fmla="*/ 107950 w 441325"/>
                  <a:gd name="connsiteY84" fmla="*/ 66675 h 441325"/>
                  <a:gd name="connsiteX85" fmla="*/ 95250 w 441325"/>
                  <a:gd name="connsiteY85" fmla="*/ 34925 h 441325"/>
                  <a:gd name="connsiteX86" fmla="*/ 152400 w 441325"/>
                  <a:gd name="connsiteY86" fmla="*/ 9525 h 441325"/>
                  <a:gd name="connsiteX87" fmla="*/ 158750 w 441325"/>
                  <a:gd name="connsiteY87" fmla="*/ 6350 h 441325"/>
                  <a:gd name="connsiteX88" fmla="*/ 171450 w 441325"/>
                  <a:gd name="connsiteY88" fmla="*/ 34925 h 441325"/>
                  <a:gd name="connsiteX89" fmla="*/ 190500 w 441325"/>
                  <a:gd name="connsiteY89" fmla="*/ 31750 h 441325"/>
                  <a:gd name="connsiteX90" fmla="*/ 209550 w 441325"/>
                  <a:gd name="connsiteY90" fmla="*/ 28575 h 441325"/>
                  <a:gd name="connsiteX91" fmla="*/ 231775 w 441325"/>
                  <a:gd name="connsiteY91" fmla="*/ 28575 h 441325"/>
                  <a:gd name="connsiteX92" fmla="*/ 250825 w 441325"/>
                  <a:gd name="connsiteY92" fmla="*/ 31750 h 44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41325" h="441325">
                    <a:moveTo>
                      <a:pt x="209550" y="79375"/>
                    </a:moveTo>
                    <a:lnTo>
                      <a:pt x="180975" y="85725"/>
                    </a:lnTo>
                    <a:lnTo>
                      <a:pt x="152400" y="98425"/>
                    </a:lnTo>
                    <a:lnTo>
                      <a:pt x="130175" y="111125"/>
                    </a:lnTo>
                    <a:lnTo>
                      <a:pt x="114300" y="127000"/>
                    </a:lnTo>
                    <a:lnTo>
                      <a:pt x="98425" y="149225"/>
                    </a:lnTo>
                    <a:lnTo>
                      <a:pt x="85725" y="174625"/>
                    </a:lnTo>
                    <a:lnTo>
                      <a:pt x="79375" y="200025"/>
                    </a:lnTo>
                    <a:lnTo>
                      <a:pt x="79375" y="225425"/>
                    </a:lnTo>
                    <a:lnTo>
                      <a:pt x="79375" y="247650"/>
                    </a:lnTo>
                    <a:lnTo>
                      <a:pt x="88900" y="273050"/>
                    </a:lnTo>
                    <a:lnTo>
                      <a:pt x="98425" y="295275"/>
                    </a:lnTo>
                    <a:lnTo>
                      <a:pt x="114300" y="314325"/>
                    </a:lnTo>
                    <a:lnTo>
                      <a:pt x="130175" y="333375"/>
                    </a:lnTo>
                    <a:lnTo>
                      <a:pt x="152400" y="346075"/>
                    </a:lnTo>
                    <a:lnTo>
                      <a:pt x="171450" y="355600"/>
                    </a:lnTo>
                    <a:lnTo>
                      <a:pt x="200025" y="361950"/>
                    </a:lnTo>
                    <a:lnTo>
                      <a:pt x="225425" y="361950"/>
                    </a:lnTo>
                    <a:lnTo>
                      <a:pt x="254000" y="358775"/>
                    </a:lnTo>
                    <a:lnTo>
                      <a:pt x="279400" y="349250"/>
                    </a:lnTo>
                    <a:lnTo>
                      <a:pt x="301625" y="336550"/>
                    </a:lnTo>
                    <a:lnTo>
                      <a:pt x="323850" y="317500"/>
                    </a:lnTo>
                    <a:lnTo>
                      <a:pt x="339725" y="295275"/>
                    </a:lnTo>
                    <a:lnTo>
                      <a:pt x="352425" y="269875"/>
                    </a:lnTo>
                    <a:lnTo>
                      <a:pt x="358775" y="241300"/>
                    </a:lnTo>
                    <a:lnTo>
                      <a:pt x="361950" y="215900"/>
                    </a:lnTo>
                    <a:lnTo>
                      <a:pt x="355600" y="187325"/>
                    </a:lnTo>
                    <a:lnTo>
                      <a:pt x="349250" y="161925"/>
                    </a:lnTo>
                    <a:lnTo>
                      <a:pt x="333375" y="139700"/>
                    </a:lnTo>
                    <a:lnTo>
                      <a:pt x="317500" y="117475"/>
                    </a:lnTo>
                    <a:lnTo>
                      <a:pt x="295275" y="101600"/>
                    </a:lnTo>
                    <a:lnTo>
                      <a:pt x="266700" y="88900"/>
                    </a:lnTo>
                    <a:lnTo>
                      <a:pt x="238125" y="82550"/>
                    </a:lnTo>
                    <a:close/>
                    <a:moveTo>
                      <a:pt x="263525" y="0"/>
                    </a:moveTo>
                    <a:lnTo>
                      <a:pt x="295275" y="12700"/>
                    </a:lnTo>
                    <a:lnTo>
                      <a:pt x="327025" y="25400"/>
                    </a:lnTo>
                    <a:lnTo>
                      <a:pt x="317500" y="57150"/>
                    </a:lnTo>
                    <a:lnTo>
                      <a:pt x="333375" y="66675"/>
                    </a:lnTo>
                    <a:lnTo>
                      <a:pt x="349250" y="79375"/>
                    </a:lnTo>
                    <a:lnTo>
                      <a:pt x="361950" y="95250"/>
                    </a:lnTo>
                    <a:lnTo>
                      <a:pt x="374650" y="111125"/>
                    </a:lnTo>
                    <a:lnTo>
                      <a:pt x="406400" y="95250"/>
                    </a:lnTo>
                    <a:lnTo>
                      <a:pt x="434975" y="158750"/>
                    </a:lnTo>
                    <a:lnTo>
                      <a:pt x="406400" y="174625"/>
                    </a:lnTo>
                    <a:lnTo>
                      <a:pt x="409575" y="193675"/>
                    </a:lnTo>
                    <a:lnTo>
                      <a:pt x="412750" y="212725"/>
                    </a:lnTo>
                    <a:lnTo>
                      <a:pt x="409575" y="231775"/>
                    </a:lnTo>
                    <a:lnTo>
                      <a:pt x="409575" y="254000"/>
                    </a:lnTo>
                    <a:lnTo>
                      <a:pt x="441325" y="263525"/>
                    </a:lnTo>
                    <a:lnTo>
                      <a:pt x="415925" y="330200"/>
                    </a:lnTo>
                    <a:lnTo>
                      <a:pt x="384175" y="317500"/>
                    </a:lnTo>
                    <a:lnTo>
                      <a:pt x="374650" y="336550"/>
                    </a:lnTo>
                    <a:lnTo>
                      <a:pt x="361950" y="352425"/>
                    </a:lnTo>
                    <a:lnTo>
                      <a:pt x="346075" y="365125"/>
                    </a:lnTo>
                    <a:lnTo>
                      <a:pt x="330200" y="377825"/>
                    </a:lnTo>
                    <a:lnTo>
                      <a:pt x="346075" y="406400"/>
                    </a:lnTo>
                    <a:lnTo>
                      <a:pt x="282575" y="438150"/>
                    </a:lnTo>
                    <a:lnTo>
                      <a:pt x="266700" y="406400"/>
                    </a:lnTo>
                    <a:lnTo>
                      <a:pt x="247650" y="412750"/>
                    </a:lnTo>
                    <a:lnTo>
                      <a:pt x="228600" y="412750"/>
                    </a:lnTo>
                    <a:lnTo>
                      <a:pt x="209550" y="412750"/>
                    </a:lnTo>
                    <a:lnTo>
                      <a:pt x="187325" y="409575"/>
                    </a:lnTo>
                    <a:lnTo>
                      <a:pt x="177800" y="441325"/>
                    </a:lnTo>
                    <a:lnTo>
                      <a:pt x="152400" y="431800"/>
                    </a:lnTo>
                    <a:lnTo>
                      <a:pt x="142875" y="428625"/>
                    </a:lnTo>
                    <a:lnTo>
                      <a:pt x="111125" y="419100"/>
                    </a:lnTo>
                    <a:lnTo>
                      <a:pt x="123825" y="387350"/>
                    </a:lnTo>
                    <a:lnTo>
                      <a:pt x="104775" y="374650"/>
                    </a:lnTo>
                    <a:lnTo>
                      <a:pt x="88900" y="361950"/>
                    </a:lnTo>
                    <a:lnTo>
                      <a:pt x="76200" y="349250"/>
                    </a:lnTo>
                    <a:lnTo>
                      <a:pt x="63500" y="333375"/>
                    </a:lnTo>
                    <a:lnTo>
                      <a:pt x="34925" y="346075"/>
                    </a:lnTo>
                    <a:lnTo>
                      <a:pt x="3175" y="282575"/>
                    </a:lnTo>
                    <a:lnTo>
                      <a:pt x="34925" y="269875"/>
                    </a:lnTo>
                    <a:lnTo>
                      <a:pt x="28575" y="250825"/>
                    </a:lnTo>
                    <a:lnTo>
                      <a:pt x="28575" y="231775"/>
                    </a:lnTo>
                    <a:lnTo>
                      <a:pt x="28575" y="209550"/>
                    </a:lnTo>
                    <a:lnTo>
                      <a:pt x="31750" y="190500"/>
                    </a:lnTo>
                    <a:lnTo>
                      <a:pt x="0" y="177800"/>
                    </a:lnTo>
                    <a:lnTo>
                      <a:pt x="22225" y="114300"/>
                    </a:lnTo>
                    <a:lnTo>
                      <a:pt x="53975" y="123825"/>
                    </a:lnTo>
                    <a:lnTo>
                      <a:pt x="66675" y="107950"/>
                    </a:lnTo>
                    <a:lnTo>
                      <a:pt x="79375" y="92075"/>
                    </a:lnTo>
                    <a:lnTo>
                      <a:pt x="92075" y="79375"/>
                    </a:lnTo>
                    <a:lnTo>
                      <a:pt x="107950" y="66675"/>
                    </a:lnTo>
                    <a:lnTo>
                      <a:pt x="95250" y="34925"/>
                    </a:lnTo>
                    <a:lnTo>
                      <a:pt x="152400" y="9525"/>
                    </a:lnTo>
                    <a:lnTo>
                      <a:pt x="158750" y="6350"/>
                    </a:lnTo>
                    <a:lnTo>
                      <a:pt x="171450" y="34925"/>
                    </a:lnTo>
                    <a:lnTo>
                      <a:pt x="190500" y="31750"/>
                    </a:lnTo>
                    <a:lnTo>
                      <a:pt x="209550" y="28575"/>
                    </a:lnTo>
                    <a:lnTo>
                      <a:pt x="231775" y="28575"/>
                    </a:lnTo>
                    <a:lnTo>
                      <a:pt x="250825" y="31750"/>
                    </a:lnTo>
                    <a:close/>
                  </a:path>
                </a:pathLst>
              </a:custGeom>
              <a:solidFill>
                <a:srgbClr val="B03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3" name="Freeform 83">
                <a:extLst>
                  <a:ext uri="{FF2B5EF4-FFF2-40B4-BE49-F238E27FC236}">
                    <a16:creationId xmlns:a16="http://schemas.microsoft.com/office/drawing/2014/main" id="{B8D425E3-9213-450F-8645-884CDAAB73F1}"/>
                  </a:ext>
                </a:extLst>
              </p:cNvPr>
              <p:cNvSpPr>
                <a:spLocks/>
              </p:cNvSpPr>
              <p:nvPr/>
            </p:nvSpPr>
            <p:spPr bwMode="auto">
              <a:xfrm>
                <a:off x="1635125" y="3498850"/>
                <a:ext cx="879475" cy="879475"/>
              </a:xfrm>
              <a:custGeom>
                <a:avLst/>
                <a:gdLst>
                  <a:gd name="connsiteX0" fmla="*/ 434975 w 879475"/>
                  <a:gd name="connsiteY0" fmla="*/ 260350 h 879475"/>
                  <a:gd name="connsiteX1" fmla="*/ 415925 w 879475"/>
                  <a:gd name="connsiteY1" fmla="*/ 263525 h 879475"/>
                  <a:gd name="connsiteX2" fmla="*/ 387350 w 879475"/>
                  <a:gd name="connsiteY2" fmla="*/ 269875 h 879475"/>
                  <a:gd name="connsiteX3" fmla="*/ 358775 w 879475"/>
                  <a:gd name="connsiteY3" fmla="*/ 279400 h 879475"/>
                  <a:gd name="connsiteX4" fmla="*/ 336550 w 879475"/>
                  <a:gd name="connsiteY4" fmla="*/ 295275 h 879475"/>
                  <a:gd name="connsiteX5" fmla="*/ 314325 w 879475"/>
                  <a:gd name="connsiteY5" fmla="*/ 314325 h 879475"/>
                  <a:gd name="connsiteX6" fmla="*/ 298450 w 879475"/>
                  <a:gd name="connsiteY6" fmla="*/ 333375 h 879475"/>
                  <a:gd name="connsiteX7" fmla="*/ 282575 w 879475"/>
                  <a:gd name="connsiteY7" fmla="*/ 358775 h 879475"/>
                  <a:gd name="connsiteX8" fmla="*/ 269875 w 879475"/>
                  <a:gd name="connsiteY8" fmla="*/ 384175 h 879475"/>
                  <a:gd name="connsiteX9" fmla="*/ 263525 w 879475"/>
                  <a:gd name="connsiteY9" fmla="*/ 409575 h 879475"/>
                  <a:gd name="connsiteX10" fmla="*/ 260350 w 879475"/>
                  <a:gd name="connsiteY10" fmla="*/ 438150 h 879475"/>
                  <a:gd name="connsiteX11" fmla="*/ 263525 w 879475"/>
                  <a:gd name="connsiteY11" fmla="*/ 466725 h 879475"/>
                  <a:gd name="connsiteX12" fmla="*/ 273050 w 879475"/>
                  <a:gd name="connsiteY12" fmla="*/ 501650 h 879475"/>
                  <a:gd name="connsiteX13" fmla="*/ 288925 w 879475"/>
                  <a:gd name="connsiteY13" fmla="*/ 533400 h 879475"/>
                  <a:gd name="connsiteX14" fmla="*/ 307975 w 879475"/>
                  <a:gd name="connsiteY14" fmla="*/ 561975 h 879475"/>
                  <a:gd name="connsiteX15" fmla="*/ 333375 w 879475"/>
                  <a:gd name="connsiteY15" fmla="*/ 584200 h 879475"/>
                  <a:gd name="connsiteX16" fmla="*/ 365125 w 879475"/>
                  <a:gd name="connsiteY16" fmla="*/ 603250 h 879475"/>
                  <a:gd name="connsiteX17" fmla="*/ 396875 w 879475"/>
                  <a:gd name="connsiteY17" fmla="*/ 612775 h 879475"/>
                  <a:gd name="connsiteX18" fmla="*/ 431800 w 879475"/>
                  <a:gd name="connsiteY18" fmla="*/ 619125 h 879475"/>
                  <a:gd name="connsiteX19" fmla="*/ 466725 w 879475"/>
                  <a:gd name="connsiteY19" fmla="*/ 619125 h 879475"/>
                  <a:gd name="connsiteX20" fmla="*/ 501650 w 879475"/>
                  <a:gd name="connsiteY20" fmla="*/ 609600 h 879475"/>
                  <a:gd name="connsiteX21" fmla="*/ 520700 w 879475"/>
                  <a:gd name="connsiteY21" fmla="*/ 600075 h 879475"/>
                  <a:gd name="connsiteX22" fmla="*/ 546100 w 879475"/>
                  <a:gd name="connsiteY22" fmla="*/ 587375 h 879475"/>
                  <a:gd name="connsiteX23" fmla="*/ 568325 w 879475"/>
                  <a:gd name="connsiteY23" fmla="*/ 568325 h 879475"/>
                  <a:gd name="connsiteX24" fmla="*/ 584200 w 879475"/>
                  <a:gd name="connsiteY24" fmla="*/ 546100 h 879475"/>
                  <a:gd name="connsiteX25" fmla="*/ 600075 w 879475"/>
                  <a:gd name="connsiteY25" fmla="*/ 523875 h 879475"/>
                  <a:gd name="connsiteX26" fmla="*/ 609600 w 879475"/>
                  <a:gd name="connsiteY26" fmla="*/ 498475 h 879475"/>
                  <a:gd name="connsiteX27" fmla="*/ 615950 w 879475"/>
                  <a:gd name="connsiteY27" fmla="*/ 473075 h 879475"/>
                  <a:gd name="connsiteX28" fmla="*/ 619125 w 879475"/>
                  <a:gd name="connsiteY28" fmla="*/ 444500 h 879475"/>
                  <a:gd name="connsiteX29" fmla="*/ 619125 w 879475"/>
                  <a:gd name="connsiteY29" fmla="*/ 412750 h 879475"/>
                  <a:gd name="connsiteX30" fmla="*/ 609600 w 879475"/>
                  <a:gd name="connsiteY30" fmla="*/ 381000 h 879475"/>
                  <a:gd name="connsiteX31" fmla="*/ 596900 w 879475"/>
                  <a:gd name="connsiteY31" fmla="*/ 352425 h 879475"/>
                  <a:gd name="connsiteX32" fmla="*/ 577850 w 879475"/>
                  <a:gd name="connsiteY32" fmla="*/ 323850 h 879475"/>
                  <a:gd name="connsiteX33" fmla="*/ 555625 w 879475"/>
                  <a:gd name="connsiteY33" fmla="*/ 301625 h 879475"/>
                  <a:gd name="connsiteX34" fmla="*/ 527050 w 879475"/>
                  <a:gd name="connsiteY34" fmla="*/ 285750 h 879475"/>
                  <a:gd name="connsiteX35" fmla="*/ 498475 w 879475"/>
                  <a:gd name="connsiteY35" fmla="*/ 269875 h 879475"/>
                  <a:gd name="connsiteX36" fmla="*/ 466725 w 879475"/>
                  <a:gd name="connsiteY36" fmla="*/ 263525 h 879475"/>
                  <a:gd name="connsiteX37" fmla="*/ 425450 w 879475"/>
                  <a:gd name="connsiteY37" fmla="*/ 0 h 879475"/>
                  <a:gd name="connsiteX38" fmla="*/ 466725 w 879475"/>
                  <a:gd name="connsiteY38" fmla="*/ 0 h 879475"/>
                  <a:gd name="connsiteX39" fmla="*/ 508000 w 879475"/>
                  <a:gd name="connsiteY39" fmla="*/ 6350 h 879475"/>
                  <a:gd name="connsiteX40" fmla="*/ 546100 w 879475"/>
                  <a:gd name="connsiteY40" fmla="*/ 12700 h 879475"/>
                  <a:gd name="connsiteX41" fmla="*/ 530225 w 879475"/>
                  <a:gd name="connsiteY41" fmla="*/ 82550 h 879475"/>
                  <a:gd name="connsiteX42" fmla="*/ 565150 w 879475"/>
                  <a:gd name="connsiteY42" fmla="*/ 92075 h 879475"/>
                  <a:gd name="connsiteX43" fmla="*/ 600075 w 879475"/>
                  <a:gd name="connsiteY43" fmla="*/ 104775 h 879475"/>
                  <a:gd name="connsiteX44" fmla="*/ 631825 w 879475"/>
                  <a:gd name="connsiteY44" fmla="*/ 123825 h 879475"/>
                  <a:gd name="connsiteX45" fmla="*/ 660400 w 879475"/>
                  <a:gd name="connsiteY45" fmla="*/ 142875 h 879475"/>
                  <a:gd name="connsiteX46" fmla="*/ 701675 w 879475"/>
                  <a:gd name="connsiteY46" fmla="*/ 85725 h 879475"/>
                  <a:gd name="connsiteX47" fmla="*/ 736600 w 879475"/>
                  <a:gd name="connsiteY47" fmla="*/ 114300 h 879475"/>
                  <a:gd name="connsiteX48" fmla="*/ 765175 w 879475"/>
                  <a:gd name="connsiteY48" fmla="*/ 146050 h 879475"/>
                  <a:gd name="connsiteX49" fmla="*/ 793750 w 879475"/>
                  <a:gd name="connsiteY49" fmla="*/ 177800 h 879475"/>
                  <a:gd name="connsiteX50" fmla="*/ 819150 w 879475"/>
                  <a:gd name="connsiteY50" fmla="*/ 212725 h 879475"/>
                  <a:gd name="connsiteX51" fmla="*/ 758825 w 879475"/>
                  <a:gd name="connsiteY51" fmla="*/ 250825 h 879475"/>
                  <a:gd name="connsiteX52" fmla="*/ 774700 w 879475"/>
                  <a:gd name="connsiteY52" fmla="*/ 282575 h 879475"/>
                  <a:gd name="connsiteX53" fmla="*/ 787400 w 879475"/>
                  <a:gd name="connsiteY53" fmla="*/ 314325 h 879475"/>
                  <a:gd name="connsiteX54" fmla="*/ 800100 w 879475"/>
                  <a:gd name="connsiteY54" fmla="*/ 349250 h 879475"/>
                  <a:gd name="connsiteX55" fmla="*/ 806450 w 879475"/>
                  <a:gd name="connsiteY55" fmla="*/ 387350 h 879475"/>
                  <a:gd name="connsiteX56" fmla="*/ 876300 w 879475"/>
                  <a:gd name="connsiteY56" fmla="*/ 374650 h 879475"/>
                  <a:gd name="connsiteX57" fmla="*/ 879475 w 879475"/>
                  <a:gd name="connsiteY57" fmla="*/ 419100 h 879475"/>
                  <a:gd name="connsiteX58" fmla="*/ 879475 w 879475"/>
                  <a:gd name="connsiteY58" fmla="*/ 463550 h 879475"/>
                  <a:gd name="connsiteX59" fmla="*/ 876300 w 879475"/>
                  <a:gd name="connsiteY59" fmla="*/ 504825 h 879475"/>
                  <a:gd name="connsiteX60" fmla="*/ 866775 w 879475"/>
                  <a:gd name="connsiteY60" fmla="*/ 546100 h 879475"/>
                  <a:gd name="connsiteX61" fmla="*/ 800100 w 879475"/>
                  <a:gd name="connsiteY61" fmla="*/ 530225 h 879475"/>
                  <a:gd name="connsiteX62" fmla="*/ 790575 w 879475"/>
                  <a:gd name="connsiteY62" fmla="*/ 565150 h 879475"/>
                  <a:gd name="connsiteX63" fmla="*/ 774700 w 879475"/>
                  <a:gd name="connsiteY63" fmla="*/ 600075 h 879475"/>
                  <a:gd name="connsiteX64" fmla="*/ 758825 w 879475"/>
                  <a:gd name="connsiteY64" fmla="*/ 631825 h 879475"/>
                  <a:gd name="connsiteX65" fmla="*/ 739775 w 879475"/>
                  <a:gd name="connsiteY65" fmla="*/ 660400 h 879475"/>
                  <a:gd name="connsiteX66" fmla="*/ 793750 w 879475"/>
                  <a:gd name="connsiteY66" fmla="*/ 701675 h 879475"/>
                  <a:gd name="connsiteX67" fmla="*/ 768350 w 879475"/>
                  <a:gd name="connsiteY67" fmla="*/ 736600 h 879475"/>
                  <a:gd name="connsiteX68" fmla="*/ 736600 w 879475"/>
                  <a:gd name="connsiteY68" fmla="*/ 765175 h 879475"/>
                  <a:gd name="connsiteX69" fmla="*/ 704850 w 879475"/>
                  <a:gd name="connsiteY69" fmla="*/ 793750 h 879475"/>
                  <a:gd name="connsiteX70" fmla="*/ 666750 w 879475"/>
                  <a:gd name="connsiteY70" fmla="*/ 819150 h 879475"/>
                  <a:gd name="connsiteX71" fmla="*/ 631825 w 879475"/>
                  <a:gd name="connsiteY71" fmla="*/ 758825 h 879475"/>
                  <a:gd name="connsiteX72" fmla="*/ 609600 w 879475"/>
                  <a:gd name="connsiteY72" fmla="*/ 771525 h 879475"/>
                  <a:gd name="connsiteX73" fmla="*/ 574675 w 879475"/>
                  <a:gd name="connsiteY73" fmla="*/ 787400 h 879475"/>
                  <a:gd name="connsiteX74" fmla="*/ 536575 w 879475"/>
                  <a:gd name="connsiteY74" fmla="*/ 796925 h 879475"/>
                  <a:gd name="connsiteX75" fmla="*/ 495300 w 879475"/>
                  <a:gd name="connsiteY75" fmla="*/ 806450 h 879475"/>
                  <a:gd name="connsiteX76" fmla="*/ 504825 w 879475"/>
                  <a:gd name="connsiteY76" fmla="*/ 876300 h 879475"/>
                  <a:gd name="connsiteX77" fmla="*/ 460375 w 879475"/>
                  <a:gd name="connsiteY77" fmla="*/ 879475 h 879475"/>
                  <a:gd name="connsiteX78" fmla="*/ 419100 w 879475"/>
                  <a:gd name="connsiteY78" fmla="*/ 879475 h 879475"/>
                  <a:gd name="connsiteX79" fmla="*/ 374650 w 879475"/>
                  <a:gd name="connsiteY79" fmla="*/ 876300 h 879475"/>
                  <a:gd name="connsiteX80" fmla="*/ 333375 w 879475"/>
                  <a:gd name="connsiteY80" fmla="*/ 866775 h 879475"/>
                  <a:gd name="connsiteX81" fmla="*/ 352425 w 879475"/>
                  <a:gd name="connsiteY81" fmla="*/ 800100 h 879475"/>
                  <a:gd name="connsiteX82" fmla="*/ 317500 w 879475"/>
                  <a:gd name="connsiteY82" fmla="*/ 790575 h 879475"/>
                  <a:gd name="connsiteX83" fmla="*/ 282575 w 879475"/>
                  <a:gd name="connsiteY83" fmla="*/ 774700 h 879475"/>
                  <a:gd name="connsiteX84" fmla="*/ 250825 w 879475"/>
                  <a:gd name="connsiteY84" fmla="*/ 758825 h 879475"/>
                  <a:gd name="connsiteX85" fmla="*/ 219075 w 879475"/>
                  <a:gd name="connsiteY85" fmla="*/ 736600 h 879475"/>
                  <a:gd name="connsiteX86" fmla="*/ 177800 w 879475"/>
                  <a:gd name="connsiteY86" fmla="*/ 793750 h 879475"/>
                  <a:gd name="connsiteX87" fmla="*/ 146050 w 879475"/>
                  <a:gd name="connsiteY87" fmla="*/ 768350 h 879475"/>
                  <a:gd name="connsiteX88" fmla="*/ 114300 w 879475"/>
                  <a:gd name="connsiteY88" fmla="*/ 736600 h 879475"/>
                  <a:gd name="connsiteX89" fmla="*/ 88900 w 879475"/>
                  <a:gd name="connsiteY89" fmla="*/ 704850 h 879475"/>
                  <a:gd name="connsiteX90" fmla="*/ 63500 w 879475"/>
                  <a:gd name="connsiteY90" fmla="*/ 666750 h 879475"/>
                  <a:gd name="connsiteX91" fmla="*/ 123825 w 879475"/>
                  <a:gd name="connsiteY91" fmla="*/ 631825 h 879475"/>
                  <a:gd name="connsiteX92" fmla="*/ 107950 w 879475"/>
                  <a:gd name="connsiteY92" fmla="*/ 600075 h 879475"/>
                  <a:gd name="connsiteX93" fmla="*/ 92075 w 879475"/>
                  <a:gd name="connsiteY93" fmla="*/ 565150 h 879475"/>
                  <a:gd name="connsiteX94" fmla="*/ 82550 w 879475"/>
                  <a:gd name="connsiteY94" fmla="*/ 530225 h 879475"/>
                  <a:gd name="connsiteX95" fmla="*/ 76200 w 879475"/>
                  <a:gd name="connsiteY95" fmla="*/ 495300 h 879475"/>
                  <a:gd name="connsiteX96" fmla="*/ 6350 w 879475"/>
                  <a:gd name="connsiteY96" fmla="*/ 504825 h 879475"/>
                  <a:gd name="connsiteX97" fmla="*/ 0 w 879475"/>
                  <a:gd name="connsiteY97" fmla="*/ 460375 h 879475"/>
                  <a:gd name="connsiteX98" fmla="*/ 0 w 879475"/>
                  <a:gd name="connsiteY98" fmla="*/ 419100 h 879475"/>
                  <a:gd name="connsiteX99" fmla="*/ 6350 w 879475"/>
                  <a:gd name="connsiteY99" fmla="*/ 374650 h 879475"/>
                  <a:gd name="connsiteX100" fmla="*/ 12700 w 879475"/>
                  <a:gd name="connsiteY100" fmla="*/ 333375 h 879475"/>
                  <a:gd name="connsiteX101" fmla="*/ 82550 w 879475"/>
                  <a:gd name="connsiteY101" fmla="*/ 352425 h 879475"/>
                  <a:gd name="connsiteX102" fmla="*/ 92075 w 879475"/>
                  <a:gd name="connsiteY102" fmla="*/ 317500 h 879475"/>
                  <a:gd name="connsiteX103" fmla="*/ 107950 w 879475"/>
                  <a:gd name="connsiteY103" fmla="*/ 282575 h 879475"/>
                  <a:gd name="connsiteX104" fmla="*/ 123825 w 879475"/>
                  <a:gd name="connsiteY104" fmla="*/ 250825 h 879475"/>
                  <a:gd name="connsiteX105" fmla="*/ 142875 w 879475"/>
                  <a:gd name="connsiteY105" fmla="*/ 219075 h 879475"/>
                  <a:gd name="connsiteX106" fmla="*/ 88900 w 879475"/>
                  <a:gd name="connsiteY106" fmla="*/ 177800 h 879475"/>
                  <a:gd name="connsiteX107" fmla="*/ 114300 w 879475"/>
                  <a:gd name="connsiteY107" fmla="*/ 146050 h 879475"/>
                  <a:gd name="connsiteX108" fmla="*/ 146050 w 879475"/>
                  <a:gd name="connsiteY108" fmla="*/ 114300 h 879475"/>
                  <a:gd name="connsiteX109" fmla="*/ 177800 w 879475"/>
                  <a:gd name="connsiteY109" fmla="*/ 88900 h 879475"/>
                  <a:gd name="connsiteX110" fmla="*/ 215900 w 879475"/>
                  <a:gd name="connsiteY110" fmla="*/ 63500 h 879475"/>
                  <a:gd name="connsiteX111" fmla="*/ 250825 w 879475"/>
                  <a:gd name="connsiteY111" fmla="*/ 123825 h 879475"/>
                  <a:gd name="connsiteX112" fmla="*/ 273050 w 879475"/>
                  <a:gd name="connsiteY112" fmla="*/ 111125 h 879475"/>
                  <a:gd name="connsiteX113" fmla="*/ 298450 w 879475"/>
                  <a:gd name="connsiteY113" fmla="*/ 98425 h 879475"/>
                  <a:gd name="connsiteX114" fmla="*/ 327025 w 879475"/>
                  <a:gd name="connsiteY114" fmla="*/ 88900 h 879475"/>
                  <a:gd name="connsiteX115" fmla="*/ 355600 w 879475"/>
                  <a:gd name="connsiteY115" fmla="*/ 79375 h 879475"/>
                  <a:gd name="connsiteX116" fmla="*/ 387350 w 879475"/>
                  <a:gd name="connsiteY116" fmla="*/ 76200 h 879475"/>
                  <a:gd name="connsiteX117" fmla="*/ 374650 w 879475"/>
                  <a:gd name="connsiteY117" fmla="*/ 6350 h 879475"/>
                  <a:gd name="connsiteX118" fmla="*/ 384175 w 879475"/>
                  <a:gd name="connsiteY118" fmla="*/ 3175 h 879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879475" h="879475">
                    <a:moveTo>
                      <a:pt x="434975" y="260350"/>
                    </a:moveTo>
                    <a:lnTo>
                      <a:pt x="415925" y="263525"/>
                    </a:lnTo>
                    <a:lnTo>
                      <a:pt x="387350" y="269875"/>
                    </a:lnTo>
                    <a:lnTo>
                      <a:pt x="358775" y="279400"/>
                    </a:lnTo>
                    <a:lnTo>
                      <a:pt x="336550" y="295275"/>
                    </a:lnTo>
                    <a:lnTo>
                      <a:pt x="314325" y="314325"/>
                    </a:lnTo>
                    <a:lnTo>
                      <a:pt x="298450" y="333375"/>
                    </a:lnTo>
                    <a:lnTo>
                      <a:pt x="282575" y="358775"/>
                    </a:lnTo>
                    <a:lnTo>
                      <a:pt x="269875" y="384175"/>
                    </a:lnTo>
                    <a:lnTo>
                      <a:pt x="263525" y="409575"/>
                    </a:lnTo>
                    <a:lnTo>
                      <a:pt x="260350" y="438150"/>
                    </a:lnTo>
                    <a:lnTo>
                      <a:pt x="263525" y="466725"/>
                    </a:lnTo>
                    <a:lnTo>
                      <a:pt x="273050" y="501650"/>
                    </a:lnTo>
                    <a:lnTo>
                      <a:pt x="288925" y="533400"/>
                    </a:lnTo>
                    <a:lnTo>
                      <a:pt x="307975" y="561975"/>
                    </a:lnTo>
                    <a:lnTo>
                      <a:pt x="333375" y="584200"/>
                    </a:lnTo>
                    <a:lnTo>
                      <a:pt x="365125" y="603250"/>
                    </a:lnTo>
                    <a:lnTo>
                      <a:pt x="396875" y="612775"/>
                    </a:lnTo>
                    <a:lnTo>
                      <a:pt x="431800" y="619125"/>
                    </a:lnTo>
                    <a:lnTo>
                      <a:pt x="466725" y="619125"/>
                    </a:lnTo>
                    <a:lnTo>
                      <a:pt x="501650" y="609600"/>
                    </a:lnTo>
                    <a:lnTo>
                      <a:pt x="520700" y="600075"/>
                    </a:lnTo>
                    <a:lnTo>
                      <a:pt x="546100" y="587375"/>
                    </a:lnTo>
                    <a:lnTo>
                      <a:pt x="568325" y="568325"/>
                    </a:lnTo>
                    <a:lnTo>
                      <a:pt x="584200" y="546100"/>
                    </a:lnTo>
                    <a:lnTo>
                      <a:pt x="600075" y="523875"/>
                    </a:lnTo>
                    <a:lnTo>
                      <a:pt x="609600" y="498475"/>
                    </a:lnTo>
                    <a:lnTo>
                      <a:pt x="615950" y="473075"/>
                    </a:lnTo>
                    <a:lnTo>
                      <a:pt x="619125" y="444500"/>
                    </a:lnTo>
                    <a:lnTo>
                      <a:pt x="619125" y="412750"/>
                    </a:lnTo>
                    <a:lnTo>
                      <a:pt x="609600" y="381000"/>
                    </a:lnTo>
                    <a:lnTo>
                      <a:pt x="596900" y="352425"/>
                    </a:lnTo>
                    <a:lnTo>
                      <a:pt x="577850" y="323850"/>
                    </a:lnTo>
                    <a:lnTo>
                      <a:pt x="555625" y="301625"/>
                    </a:lnTo>
                    <a:lnTo>
                      <a:pt x="527050" y="285750"/>
                    </a:lnTo>
                    <a:lnTo>
                      <a:pt x="498475" y="269875"/>
                    </a:lnTo>
                    <a:lnTo>
                      <a:pt x="466725" y="263525"/>
                    </a:lnTo>
                    <a:close/>
                    <a:moveTo>
                      <a:pt x="425450" y="0"/>
                    </a:moveTo>
                    <a:lnTo>
                      <a:pt x="466725" y="0"/>
                    </a:lnTo>
                    <a:lnTo>
                      <a:pt x="508000" y="6350"/>
                    </a:lnTo>
                    <a:lnTo>
                      <a:pt x="546100" y="12700"/>
                    </a:lnTo>
                    <a:lnTo>
                      <a:pt x="530225" y="82550"/>
                    </a:lnTo>
                    <a:lnTo>
                      <a:pt x="565150" y="92075"/>
                    </a:lnTo>
                    <a:lnTo>
                      <a:pt x="600075" y="104775"/>
                    </a:lnTo>
                    <a:lnTo>
                      <a:pt x="631825" y="123825"/>
                    </a:lnTo>
                    <a:lnTo>
                      <a:pt x="660400" y="142875"/>
                    </a:lnTo>
                    <a:lnTo>
                      <a:pt x="701675" y="85725"/>
                    </a:lnTo>
                    <a:lnTo>
                      <a:pt x="736600" y="114300"/>
                    </a:lnTo>
                    <a:lnTo>
                      <a:pt x="765175" y="146050"/>
                    </a:lnTo>
                    <a:lnTo>
                      <a:pt x="793750" y="177800"/>
                    </a:lnTo>
                    <a:lnTo>
                      <a:pt x="819150" y="212725"/>
                    </a:lnTo>
                    <a:lnTo>
                      <a:pt x="758825" y="250825"/>
                    </a:lnTo>
                    <a:lnTo>
                      <a:pt x="774700" y="282575"/>
                    </a:lnTo>
                    <a:lnTo>
                      <a:pt x="787400" y="314325"/>
                    </a:lnTo>
                    <a:lnTo>
                      <a:pt x="800100" y="349250"/>
                    </a:lnTo>
                    <a:lnTo>
                      <a:pt x="806450" y="387350"/>
                    </a:lnTo>
                    <a:lnTo>
                      <a:pt x="876300" y="374650"/>
                    </a:lnTo>
                    <a:lnTo>
                      <a:pt x="879475" y="419100"/>
                    </a:lnTo>
                    <a:lnTo>
                      <a:pt x="879475" y="463550"/>
                    </a:lnTo>
                    <a:lnTo>
                      <a:pt x="876300" y="504825"/>
                    </a:lnTo>
                    <a:lnTo>
                      <a:pt x="866775" y="546100"/>
                    </a:lnTo>
                    <a:lnTo>
                      <a:pt x="800100" y="530225"/>
                    </a:lnTo>
                    <a:lnTo>
                      <a:pt x="790575" y="565150"/>
                    </a:lnTo>
                    <a:lnTo>
                      <a:pt x="774700" y="600075"/>
                    </a:lnTo>
                    <a:lnTo>
                      <a:pt x="758825" y="631825"/>
                    </a:lnTo>
                    <a:lnTo>
                      <a:pt x="739775" y="660400"/>
                    </a:lnTo>
                    <a:lnTo>
                      <a:pt x="793750" y="701675"/>
                    </a:lnTo>
                    <a:lnTo>
                      <a:pt x="768350" y="736600"/>
                    </a:lnTo>
                    <a:lnTo>
                      <a:pt x="736600" y="765175"/>
                    </a:lnTo>
                    <a:lnTo>
                      <a:pt x="704850" y="793750"/>
                    </a:lnTo>
                    <a:lnTo>
                      <a:pt x="666750" y="819150"/>
                    </a:lnTo>
                    <a:lnTo>
                      <a:pt x="631825" y="758825"/>
                    </a:lnTo>
                    <a:lnTo>
                      <a:pt x="609600" y="771525"/>
                    </a:lnTo>
                    <a:lnTo>
                      <a:pt x="574675" y="787400"/>
                    </a:lnTo>
                    <a:lnTo>
                      <a:pt x="536575" y="796925"/>
                    </a:lnTo>
                    <a:lnTo>
                      <a:pt x="495300" y="806450"/>
                    </a:lnTo>
                    <a:lnTo>
                      <a:pt x="504825" y="876300"/>
                    </a:lnTo>
                    <a:lnTo>
                      <a:pt x="460375" y="879475"/>
                    </a:lnTo>
                    <a:lnTo>
                      <a:pt x="419100" y="879475"/>
                    </a:lnTo>
                    <a:lnTo>
                      <a:pt x="374650" y="876300"/>
                    </a:lnTo>
                    <a:lnTo>
                      <a:pt x="333375" y="866775"/>
                    </a:lnTo>
                    <a:lnTo>
                      <a:pt x="352425" y="800100"/>
                    </a:lnTo>
                    <a:lnTo>
                      <a:pt x="317500" y="790575"/>
                    </a:lnTo>
                    <a:lnTo>
                      <a:pt x="282575" y="774700"/>
                    </a:lnTo>
                    <a:lnTo>
                      <a:pt x="250825" y="758825"/>
                    </a:lnTo>
                    <a:lnTo>
                      <a:pt x="219075" y="736600"/>
                    </a:lnTo>
                    <a:lnTo>
                      <a:pt x="177800" y="793750"/>
                    </a:lnTo>
                    <a:lnTo>
                      <a:pt x="146050" y="768350"/>
                    </a:lnTo>
                    <a:lnTo>
                      <a:pt x="114300" y="736600"/>
                    </a:lnTo>
                    <a:lnTo>
                      <a:pt x="88900" y="704850"/>
                    </a:lnTo>
                    <a:lnTo>
                      <a:pt x="63500" y="666750"/>
                    </a:lnTo>
                    <a:lnTo>
                      <a:pt x="123825" y="631825"/>
                    </a:lnTo>
                    <a:lnTo>
                      <a:pt x="107950" y="600075"/>
                    </a:lnTo>
                    <a:lnTo>
                      <a:pt x="92075" y="565150"/>
                    </a:lnTo>
                    <a:lnTo>
                      <a:pt x="82550" y="530225"/>
                    </a:lnTo>
                    <a:lnTo>
                      <a:pt x="76200" y="495300"/>
                    </a:lnTo>
                    <a:lnTo>
                      <a:pt x="6350" y="504825"/>
                    </a:lnTo>
                    <a:lnTo>
                      <a:pt x="0" y="460375"/>
                    </a:lnTo>
                    <a:lnTo>
                      <a:pt x="0" y="419100"/>
                    </a:lnTo>
                    <a:lnTo>
                      <a:pt x="6350" y="374650"/>
                    </a:lnTo>
                    <a:lnTo>
                      <a:pt x="12700" y="333375"/>
                    </a:lnTo>
                    <a:lnTo>
                      <a:pt x="82550" y="352425"/>
                    </a:lnTo>
                    <a:lnTo>
                      <a:pt x="92075" y="317500"/>
                    </a:lnTo>
                    <a:lnTo>
                      <a:pt x="107950" y="282575"/>
                    </a:lnTo>
                    <a:lnTo>
                      <a:pt x="123825" y="250825"/>
                    </a:lnTo>
                    <a:lnTo>
                      <a:pt x="142875" y="219075"/>
                    </a:lnTo>
                    <a:lnTo>
                      <a:pt x="88900" y="177800"/>
                    </a:lnTo>
                    <a:lnTo>
                      <a:pt x="114300" y="146050"/>
                    </a:lnTo>
                    <a:lnTo>
                      <a:pt x="146050" y="114300"/>
                    </a:lnTo>
                    <a:lnTo>
                      <a:pt x="177800" y="88900"/>
                    </a:lnTo>
                    <a:lnTo>
                      <a:pt x="215900" y="63500"/>
                    </a:lnTo>
                    <a:lnTo>
                      <a:pt x="250825" y="123825"/>
                    </a:lnTo>
                    <a:lnTo>
                      <a:pt x="273050" y="111125"/>
                    </a:lnTo>
                    <a:lnTo>
                      <a:pt x="298450" y="98425"/>
                    </a:lnTo>
                    <a:lnTo>
                      <a:pt x="327025" y="88900"/>
                    </a:lnTo>
                    <a:lnTo>
                      <a:pt x="355600" y="79375"/>
                    </a:lnTo>
                    <a:lnTo>
                      <a:pt x="387350" y="76200"/>
                    </a:lnTo>
                    <a:lnTo>
                      <a:pt x="374650" y="6350"/>
                    </a:lnTo>
                    <a:lnTo>
                      <a:pt x="384175" y="3175"/>
                    </a:lnTo>
                    <a:close/>
                  </a:path>
                </a:pathLst>
              </a:custGeom>
              <a:solidFill>
                <a:srgbClr val="ED33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4" name="Freeform 84">
                <a:extLst>
                  <a:ext uri="{FF2B5EF4-FFF2-40B4-BE49-F238E27FC236}">
                    <a16:creationId xmlns:a16="http://schemas.microsoft.com/office/drawing/2014/main" id="{8054F200-E637-46AF-AC68-3C722C27CD0A}"/>
                  </a:ext>
                </a:extLst>
              </p:cNvPr>
              <p:cNvSpPr>
                <a:spLocks/>
              </p:cNvSpPr>
              <p:nvPr/>
            </p:nvSpPr>
            <p:spPr bwMode="auto">
              <a:xfrm>
                <a:off x="2187575" y="4235450"/>
                <a:ext cx="917575" cy="917575"/>
              </a:xfrm>
              <a:custGeom>
                <a:avLst/>
                <a:gdLst>
                  <a:gd name="connsiteX0" fmla="*/ 460375 w 917575"/>
                  <a:gd name="connsiteY0" fmla="*/ 269875 h 917575"/>
                  <a:gd name="connsiteX1" fmla="*/ 434975 w 917575"/>
                  <a:gd name="connsiteY1" fmla="*/ 273050 h 917575"/>
                  <a:gd name="connsiteX2" fmla="*/ 412750 w 917575"/>
                  <a:gd name="connsiteY2" fmla="*/ 276225 h 917575"/>
                  <a:gd name="connsiteX3" fmla="*/ 390525 w 917575"/>
                  <a:gd name="connsiteY3" fmla="*/ 285750 h 917575"/>
                  <a:gd name="connsiteX4" fmla="*/ 371475 w 917575"/>
                  <a:gd name="connsiteY4" fmla="*/ 295275 h 917575"/>
                  <a:gd name="connsiteX5" fmla="*/ 342900 w 917575"/>
                  <a:gd name="connsiteY5" fmla="*/ 314325 h 917575"/>
                  <a:gd name="connsiteX6" fmla="*/ 317500 w 917575"/>
                  <a:gd name="connsiteY6" fmla="*/ 336550 h 917575"/>
                  <a:gd name="connsiteX7" fmla="*/ 295275 w 917575"/>
                  <a:gd name="connsiteY7" fmla="*/ 365125 h 917575"/>
                  <a:gd name="connsiteX8" fmla="*/ 282575 w 917575"/>
                  <a:gd name="connsiteY8" fmla="*/ 400050 h 917575"/>
                  <a:gd name="connsiteX9" fmla="*/ 276225 w 917575"/>
                  <a:gd name="connsiteY9" fmla="*/ 422275 h 917575"/>
                  <a:gd name="connsiteX10" fmla="*/ 273050 w 917575"/>
                  <a:gd name="connsiteY10" fmla="*/ 447675 h 917575"/>
                  <a:gd name="connsiteX11" fmla="*/ 273050 w 917575"/>
                  <a:gd name="connsiteY11" fmla="*/ 469900 h 917575"/>
                  <a:gd name="connsiteX12" fmla="*/ 273050 w 917575"/>
                  <a:gd name="connsiteY12" fmla="*/ 492125 h 917575"/>
                  <a:gd name="connsiteX13" fmla="*/ 279400 w 917575"/>
                  <a:gd name="connsiteY13" fmla="*/ 514350 h 917575"/>
                  <a:gd name="connsiteX14" fmla="*/ 288925 w 917575"/>
                  <a:gd name="connsiteY14" fmla="*/ 536575 h 917575"/>
                  <a:gd name="connsiteX15" fmla="*/ 298450 w 917575"/>
                  <a:gd name="connsiteY15" fmla="*/ 555625 h 917575"/>
                  <a:gd name="connsiteX16" fmla="*/ 311150 w 917575"/>
                  <a:gd name="connsiteY16" fmla="*/ 574675 h 917575"/>
                  <a:gd name="connsiteX17" fmla="*/ 330200 w 917575"/>
                  <a:gd name="connsiteY17" fmla="*/ 593725 h 917575"/>
                  <a:gd name="connsiteX18" fmla="*/ 349250 w 917575"/>
                  <a:gd name="connsiteY18" fmla="*/ 612775 h 917575"/>
                  <a:gd name="connsiteX19" fmla="*/ 374650 w 917575"/>
                  <a:gd name="connsiteY19" fmla="*/ 625475 h 917575"/>
                  <a:gd name="connsiteX20" fmla="*/ 400050 w 917575"/>
                  <a:gd name="connsiteY20" fmla="*/ 638175 h 917575"/>
                  <a:gd name="connsiteX21" fmla="*/ 428625 w 917575"/>
                  <a:gd name="connsiteY21" fmla="*/ 644525 h 917575"/>
                  <a:gd name="connsiteX22" fmla="*/ 460375 w 917575"/>
                  <a:gd name="connsiteY22" fmla="*/ 647700 h 917575"/>
                  <a:gd name="connsiteX23" fmla="*/ 488950 w 917575"/>
                  <a:gd name="connsiteY23" fmla="*/ 644525 h 917575"/>
                  <a:gd name="connsiteX24" fmla="*/ 517525 w 917575"/>
                  <a:gd name="connsiteY24" fmla="*/ 638175 h 917575"/>
                  <a:gd name="connsiteX25" fmla="*/ 542925 w 917575"/>
                  <a:gd name="connsiteY25" fmla="*/ 625475 h 917575"/>
                  <a:gd name="connsiteX26" fmla="*/ 568325 w 917575"/>
                  <a:gd name="connsiteY26" fmla="*/ 612775 h 917575"/>
                  <a:gd name="connsiteX27" fmla="*/ 590550 w 917575"/>
                  <a:gd name="connsiteY27" fmla="*/ 593725 h 917575"/>
                  <a:gd name="connsiteX28" fmla="*/ 609600 w 917575"/>
                  <a:gd name="connsiteY28" fmla="*/ 571500 h 917575"/>
                  <a:gd name="connsiteX29" fmla="*/ 625475 w 917575"/>
                  <a:gd name="connsiteY29" fmla="*/ 546100 h 917575"/>
                  <a:gd name="connsiteX30" fmla="*/ 638175 w 917575"/>
                  <a:gd name="connsiteY30" fmla="*/ 517525 h 917575"/>
                  <a:gd name="connsiteX31" fmla="*/ 641350 w 917575"/>
                  <a:gd name="connsiteY31" fmla="*/ 498475 h 917575"/>
                  <a:gd name="connsiteX32" fmla="*/ 644525 w 917575"/>
                  <a:gd name="connsiteY32" fmla="*/ 482600 h 917575"/>
                  <a:gd name="connsiteX33" fmla="*/ 647700 w 917575"/>
                  <a:gd name="connsiteY33" fmla="*/ 444500 h 917575"/>
                  <a:gd name="connsiteX34" fmla="*/ 641350 w 917575"/>
                  <a:gd name="connsiteY34" fmla="*/ 409575 h 917575"/>
                  <a:gd name="connsiteX35" fmla="*/ 625475 w 917575"/>
                  <a:gd name="connsiteY35" fmla="*/ 374650 h 917575"/>
                  <a:gd name="connsiteX36" fmla="*/ 606425 w 917575"/>
                  <a:gd name="connsiteY36" fmla="*/ 346075 h 917575"/>
                  <a:gd name="connsiteX37" fmla="*/ 584200 w 917575"/>
                  <a:gd name="connsiteY37" fmla="*/ 317500 h 917575"/>
                  <a:gd name="connsiteX38" fmla="*/ 552450 w 917575"/>
                  <a:gd name="connsiteY38" fmla="*/ 295275 h 917575"/>
                  <a:gd name="connsiteX39" fmla="*/ 536575 w 917575"/>
                  <a:gd name="connsiteY39" fmla="*/ 288925 h 917575"/>
                  <a:gd name="connsiteX40" fmla="*/ 517525 w 917575"/>
                  <a:gd name="connsiteY40" fmla="*/ 282575 h 917575"/>
                  <a:gd name="connsiteX41" fmla="*/ 488950 w 917575"/>
                  <a:gd name="connsiteY41" fmla="*/ 273050 h 917575"/>
                  <a:gd name="connsiteX42" fmla="*/ 425450 w 917575"/>
                  <a:gd name="connsiteY42" fmla="*/ 0 h 917575"/>
                  <a:gd name="connsiteX43" fmla="*/ 428625 w 917575"/>
                  <a:gd name="connsiteY43" fmla="*/ 12700 h 917575"/>
                  <a:gd name="connsiteX44" fmla="*/ 431800 w 917575"/>
                  <a:gd name="connsiteY44" fmla="*/ 73025 h 917575"/>
                  <a:gd name="connsiteX45" fmla="*/ 460375 w 917575"/>
                  <a:gd name="connsiteY45" fmla="*/ 69850 h 917575"/>
                  <a:gd name="connsiteX46" fmla="*/ 488950 w 917575"/>
                  <a:gd name="connsiteY46" fmla="*/ 73025 h 917575"/>
                  <a:gd name="connsiteX47" fmla="*/ 520700 w 917575"/>
                  <a:gd name="connsiteY47" fmla="*/ 76200 h 917575"/>
                  <a:gd name="connsiteX48" fmla="*/ 552450 w 917575"/>
                  <a:gd name="connsiteY48" fmla="*/ 82550 h 917575"/>
                  <a:gd name="connsiteX49" fmla="*/ 581025 w 917575"/>
                  <a:gd name="connsiteY49" fmla="*/ 92075 h 917575"/>
                  <a:gd name="connsiteX50" fmla="*/ 606425 w 917575"/>
                  <a:gd name="connsiteY50" fmla="*/ 22225 h 917575"/>
                  <a:gd name="connsiteX51" fmla="*/ 647700 w 917575"/>
                  <a:gd name="connsiteY51" fmla="*/ 38100 h 917575"/>
                  <a:gd name="connsiteX52" fmla="*/ 688975 w 917575"/>
                  <a:gd name="connsiteY52" fmla="*/ 60325 h 917575"/>
                  <a:gd name="connsiteX53" fmla="*/ 727075 w 917575"/>
                  <a:gd name="connsiteY53" fmla="*/ 82550 h 917575"/>
                  <a:gd name="connsiteX54" fmla="*/ 762000 w 917575"/>
                  <a:gd name="connsiteY54" fmla="*/ 111125 h 917575"/>
                  <a:gd name="connsiteX55" fmla="*/ 714375 w 917575"/>
                  <a:gd name="connsiteY55" fmla="*/ 165100 h 917575"/>
                  <a:gd name="connsiteX56" fmla="*/ 739775 w 917575"/>
                  <a:gd name="connsiteY56" fmla="*/ 193675 h 917575"/>
                  <a:gd name="connsiteX57" fmla="*/ 765175 w 917575"/>
                  <a:gd name="connsiteY57" fmla="*/ 222250 h 917575"/>
                  <a:gd name="connsiteX58" fmla="*/ 787400 w 917575"/>
                  <a:gd name="connsiteY58" fmla="*/ 254000 h 917575"/>
                  <a:gd name="connsiteX59" fmla="*/ 806450 w 917575"/>
                  <a:gd name="connsiteY59" fmla="*/ 285750 h 917575"/>
                  <a:gd name="connsiteX60" fmla="*/ 869950 w 917575"/>
                  <a:gd name="connsiteY60" fmla="*/ 254000 h 917575"/>
                  <a:gd name="connsiteX61" fmla="*/ 889000 w 917575"/>
                  <a:gd name="connsiteY61" fmla="*/ 295275 h 917575"/>
                  <a:gd name="connsiteX62" fmla="*/ 904875 w 917575"/>
                  <a:gd name="connsiteY62" fmla="*/ 336550 h 917575"/>
                  <a:gd name="connsiteX63" fmla="*/ 914400 w 917575"/>
                  <a:gd name="connsiteY63" fmla="*/ 381000 h 917575"/>
                  <a:gd name="connsiteX64" fmla="*/ 917575 w 917575"/>
                  <a:gd name="connsiteY64" fmla="*/ 425450 h 917575"/>
                  <a:gd name="connsiteX65" fmla="*/ 844550 w 917575"/>
                  <a:gd name="connsiteY65" fmla="*/ 431800 h 917575"/>
                  <a:gd name="connsiteX66" fmla="*/ 847725 w 917575"/>
                  <a:gd name="connsiteY66" fmla="*/ 469900 h 917575"/>
                  <a:gd name="connsiteX67" fmla="*/ 844550 w 917575"/>
                  <a:gd name="connsiteY67" fmla="*/ 508000 h 917575"/>
                  <a:gd name="connsiteX68" fmla="*/ 838200 w 917575"/>
                  <a:gd name="connsiteY68" fmla="*/ 542925 h 917575"/>
                  <a:gd name="connsiteX69" fmla="*/ 825500 w 917575"/>
                  <a:gd name="connsiteY69" fmla="*/ 581025 h 917575"/>
                  <a:gd name="connsiteX70" fmla="*/ 895350 w 917575"/>
                  <a:gd name="connsiteY70" fmla="*/ 606425 h 917575"/>
                  <a:gd name="connsiteX71" fmla="*/ 879475 w 917575"/>
                  <a:gd name="connsiteY71" fmla="*/ 647700 h 917575"/>
                  <a:gd name="connsiteX72" fmla="*/ 857250 w 917575"/>
                  <a:gd name="connsiteY72" fmla="*/ 688975 h 917575"/>
                  <a:gd name="connsiteX73" fmla="*/ 835025 w 917575"/>
                  <a:gd name="connsiteY73" fmla="*/ 727075 h 917575"/>
                  <a:gd name="connsiteX74" fmla="*/ 806450 w 917575"/>
                  <a:gd name="connsiteY74" fmla="*/ 762000 h 917575"/>
                  <a:gd name="connsiteX75" fmla="*/ 752475 w 917575"/>
                  <a:gd name="connsiteY75" fmla="*/ 714375 h 917575"/>
                  <a:gd name="connsiteX76" fmla="*/ 723900 w 917575"/>
                  <a:gd name="connsiteY76" fmla="*/ 739775 h 917575"/>
                  <a:gd name="connsiteX77" fmla="*/ 695325 w 917575"/>
                  <a:gd name="connsiteY77" fmla="*/ 765175 h 917575"/>
                  <a:gd name="connsiteX78" fmla="*/ 666750 w 917575"/>
                  <a:gd name="connsiteY78" fmla="*/ 787400 h 917575"/>
                  <a:gd name="connsiteX79" fmla="*/ 631825 w 917575"/>
                  <a:gd name="connsiteY79" fmla="*/ 806450 h 917575"/>
                  <a:gd name="connsiteX80" fmla="*/ 663575 w 917575"/>
                  <a:gd name="connsiteY80" fmla="*/ 869950 h 917575"/>
                  <a:gd name="connsiteX81" fmla="*/ 622300 w 917575"/>
                  <a:gd name="connsiteY81" fmla="*/ 889000 h 917575"/>
                  <a:gd name="connsiteX82" fmla="*/ 581025 w 917575"/>
                  <a:gd name="connsiteY82" fmla="*/ 904875 h 917575"/>
                  <a:gd name="connsiteX83" fmla="*/ 536575 w 917575"/>
                  <a:gd name="connsiteY83" fmla="*/ 914400 h 917575"/>
                  <a:gd name="connsiteX84" fmla="*/ 492125 w 917575"/>
                  <a:gd name="connsiteY84" fmla="*/ 917575 h 917575"/>
                  <a:gd name="connsiteX85" fmla="*/ 485775 w 917575"/>
                  <a:gd name="connsiteY85" fmla="*/ 844550 h 917575"/>
                  <a:gd name="connsiteX86" fmla="*/ 460375 w 917575"/>
                  <a:gd name="connsiteY86" fmla="*/ 847725 h 917575"/>
                  <a:gd name="connsiteX87" fmla="*/ 428625 w 917575"/>
                  <a:gd name="connsiteY87" fmla="*/ 844550 h 917575"/>
                  <a:gd name="connsiteX88" fmla="*/ 396875 w 917575"/>
                  <a:gd name="connsiteY88" fmla="*/ 841375 h 917575"/>
                  <a:gd name="connsiteX89" fmla="*/ 368300 w 917575"/>
                  <a:gd name="connsiteY89" fmla="*/ 835025 h 917575"/>
                  <a:gd name="connsiteX90" fmla="*/ 336550 w 917575"/>
                  <a:gd name="connsiteY90" fmla="*/ 825500 h 917575"/>
                  <a:gd name="connsiteX91" fmla="*/ 314325 w 917575"/>
                  <a:gd name="connsiteY91" fmla="*/ 895350 h 917575"/>
                  <a:gd name="connsiteX92" fmla="*/ 282575 w 917575"/>
                  <a:gd name="connsiteY92" fmla="*/ 885825 h 917575"/>
                  <a:gd name="connsiteX93" fmla="*/ 250825 w 917575"/>
                  <a:gd name="connsiteY93" fmla="*/ 869950 h 917575"/>
                  <a:gd name="connsiteX94" fmla="*/ 203200 w 917575"/>
                  <a:gd name="connsiteY94" fmla="*/ 841375 h 917575"/>
                  <a:gd name="connsiteX95" fmla="*/ 155575 w 917575"/>
                  <a:gd name="connsiteY95" fmla="*/ 806450 h 917575"/>
                  <a:gd name="connsiteX96" fmla="*/ 206375 w 917575"/>
                  <a:gd name="connsiteY96" fmla="*/ 752475 h 917575"/>
                  <a:gd name="connsiteX97" fmla="*/ 177800 w 917575"/>
                  <a:gd name="connsiteY97" fmla="*/ 723900 h 917575"/>
                  <a:gd name="connsiteX98" fmla="*/ 152400 w 917575"/>
                  <a:gd name="connsiteY98" fmla="*/ 695325 h 917575"/>
                  <a:gd name="connsiteX99" fmla="*/ 130175 w 917575"/>
                  <a:gd name="connsiteY99" fmla="*/ 666750 h 917575"/>
                  <a:gd name="connsiteX100" fmla="*/ 111125 w 917575"/>
                  <a:gd name="connsiteY100" fmla="*/ 631825 h 917575"/>
                  <a:gd name="connsiteX101" fmla="*/ 47625 w 917575"/>
                  <a:gd name="connsiteY101" fmla="*/ 663575 h 917575"/>
                  <a:gd name="connsiteX102" fmla="*/ 28575 w 917575"/>
                  <a:gd name="connsiteY102" fmla="*/ 622300 h 917575"/>
                  <a:gd name="connsiteX103" fmla="*/ 15875 w 917575"/>
                  <a:gd name="connsiteY103" fmla="*/ 581025 h 917575"/>
                  <a:gd name="connsiteX104" fmla="*/ 3175 w 917575"/>
                  <a:gd name="connsiteY104" fmla="*/ 536575 h 917575"/>
                  <a:gd name="connsiteX105" fmla="*/ 0 w 917575"/>
                  <a:gd name="connsiteY105" fmla="*/ 492125 h 917575"/>
                  <a:gd name="connsiteX106" fmla="*/ 73025 w 917575"/>
                  <a:gd name="connsiteY106" fmla="*/ 485775 h 917575"/>
                  <a:gd name="connsiteX107" fmla="*/ 73025 w 917575"/>
                  <a:gd name="connsiteY107" fmla="*/ 447675 h 917575"/>
                  <a:gd name="connsiteX108" fmla="*/ 73025 w 917575"/>
                  <a:gd name="connsiteY108" fmla="*/ 412750 h 917575"/>
                  <a:gd name="connsiteX109" fmla="*/ 79375 w 917575"/>
                  <a:gd name="connsiteY109" fmla="*/ 374650 h 917575"/>
                  <a:gd name="connsiteX110" fmla="*/ 92075 w 917575"/>
                  <a:gd name="connsiteY110" fmla="*/ 336550 h 917575"/>
                  <a:gd name="connsiteX111" fmla="*/ 22225 w 917575"/>
                  <a:gd name="connsiteY111" fmla="*/ 314325 h 917575"/>
                  <a:gd name="connsiteX112" fmla="*/ 38100 w 917575"/>
                  <a:gd name="connsiteY112" fmla="*/ 269875 h 917575"/>
                  <a:gd name="connsiteX113" fmla="*/ 60325 w 917575"/>
                  <a:gd name="connsiteY113" fmla="*/ 228600 h 917575"/>
                  <a:gd name="connsiteX114" fmla="*/ 82550 w 917575"/>
                  <a:gd name="connsiteY114" fmla="*/ 190500 h 917575"/>
                  <a:gd name="connsiteX115" fmla="*/ 111125 w 917575"/>
                  <a:gd name="connsiteY115" fmla="*/ 155575 h 917575"/>
                  <a:gd name="connsiteX116" fmla="*/ 165100 w 917575"/>
                  <a:gd name="connsiteY116" fmla="*/ 206375 h 917575"/>
                  <a:gd name="connsiteX117" fmla="*/ 193675 w 917575"/>
                  <a:gd name="connsiteY117" fmla="*/ 177800 h 917575"/>
                  <a:gd name="connsiteX118" fmla="*/ 222250 w 917575"/>
                  <a:gd name="connsiteY118" fmla="*/ 152400 h 917575"/>
                  <a:gd name="connsiteX119" fmla="*/ 254000 w 917575"/>
                  <a:gd name="connsiteY119" fmla="*/ 130175 h 917575"/>
                  <a:gd name="connsiteX120" fmla="*/ 285750 w 917575"/>
                  <a:gd name="connsiteY120" fmla="*/ 111125 h 917575"/>
                  <a:gd name="connsiteX121" fmla="*/ 254000 w 917575"/>
                  <a:gd name="connsiteY121" fmla="*/ 47625 h 917575"/>
                  <a:gd name="connsiteX122" fmla="*/ 295275 w 917575"/>
                  <a:gd name="connsiteY122" fmla="*/ 28575 h 917575"/>
                  <a:gd name="connsiteX123" fmla="*/ 336550 w 917575"/>
                  <a:gd name="connsiteY123" fmla="*/ 15875 h 917575"/>
                  <a:gd name="connsiteX124" fmla="*/ 381000 w 917575"/>
                  <a:gd name="connsiteY124" fmla="*/ 3175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917575" h="917575">
                    <a:moveTo>
                      <a:pt x="460375" y="269875"/>
                    </a:moveTo>
                    <a:lnTo>
                      <a:pt x="434975" y="273050"/>
                    </a:lnTo>
                    <a:lnTo>
                      <a:pt x="412750" y="276225"/>
                    </a:lnTo>
                    <a:lnTo>
                      <a:pt x="390525" y="285750"/>
                    </a:lnTo>
                    <a:lnTo>
                      <a:pt x="371475" y="295275"/>
                    </a:lnTo>
                    <a:lnTo>
                      <a:pt x="342900" y="314325"/>
                    </a:lnTo>
                    <a:lnTo>
                      <a:pt x="317500" y="336550"/>
                    </a:lnTo>
                    <a:lnTo>
                      <a:pt x="295275" y="365125"/>
                    </a:lnTo>
                    <a:lnTo>
                      <a:pt x="282575" y="400050"/>
                    </a:lnTo>
                    <a:lnTo>
                      <a:pt x="276225" y="422275"/>
                    </a:lnTo>
                    <a:lnTo>
                      <a:pt x="273050" y="447675"/>
                    </a:lnTo>
                    <a:lnTo>
                      <a:pt x="273050" y="469900"/>
                    </a:lnTo>
                    <a:lnTo>
                      <a:pt x="273050" y="492125"/>
                    </a:lnTo>
                    <a:lnTo>
                      <a:pt x="279400" y="514350"/>
                    </a:lnTo>
                    <a:lnTo>
                      <a:pt x="288925" y="536575"/>
                    </a:lnTo>
                    <a:lnTo>
                      <a:pt x="298450" y="555625"/>
                    </a:lnTo>
                    <a:lnTo>
                      <a:pt x="311150" y="574675"/>
                    </a:lnTo>
                    <a:lnTo>
                      <a:pt x="330200" y="593725"/>
                    </a:lnTo>
                    <a:lnTo>
                      <a:pt x="349250" y="612775"/>
                    </a:lnTo>
                    <a:lnTo>
                      <a:pt x="374650" y="625475"/>
                    </a:lnTo>
                    <a:lnTo>
                      <a:pt x="400050" y="638175"/>
                    </a:lnTo>
                    <a:lnTo>
                      <a:pt x="428625" y="644525"/>
                    </a:lnTo>
                    <a:lnTo>
                      <a:pt x="460375" y="647700"/>
                    </a:lnTo>
                    <a:lnTo>
                      <a:pt x="488950" y="644525"/>
                    </a:lnTo>
                    <a:lnTo>
                      <a:pt x="517525" y="638175"/>
                    </a:lnTo>
                    <a:lnTo>
                      <a:pt x="542925" y="625475"/>
                    </a:lnTo>
                    <a:lnTo>
                      <a:pt x="568325" y="612775"/>
                    </a:lnTo>
                    <a:lnTo>
                      <a:pt x="590550" y="593725"/>
                    </a:lnTo>
                    <a:lnTo>
                      <a:pt x="609600" y="571500"/>
                    </a:lnTo>
                    <a:lnTo>
                      <a:pt x="625475" y="546100"/>
                    </a:lnTo>
                    <a:lnTo>
                      <a:pt x="638175" y="517525"/>
                    </a:lnTo>
                    <a:lnTo>
                      <a:pt x="641350" y="498475"/>
                    </a:lnTo>
                    <a:lnTo>
                      <a:pt x="644525" y="482600"/>
                    </a:lnTo>
                    <a:lnTo>
                      <a:pt x="647700" y="444500"/>
                    </a:lnTo>
                    <a:lnTo>
                      <a:pt x="641350" y="409575"/>
                    </a:lnTo>
                    <a:lnTo>
                      <a:pt x="625475" y="374650"/>
                    </a:lnTo>
                    <a:lnTo>
                      <a:pt x="606425" y="346075"/>
                    </a:lnTo>
                    <a:lnTo>
                      <a:pt x="584200" y="317500"/>
                    </a:lnTo>
                    <a:lnTo>
                      <a:pt x="552450" y="295275"/>
                    </a:lnTo>
                    <a:lnTo>
                      <a:pt x="536575" y="288925"/>
                    </a:lnTo>
                    <a:lnTo>
                      <a:pt x="517525" y="282575"/>
                    </a:lnTo>
                    <a:lnTo>
                      <a:pt x="488950" y="273050"/>
                    </a:lnTo>
                    <a:close/>
                    <a:moveTo>
                      <a:pt x="425450" y="0"/>
                    </a:moveTo>
                    <a:lnTo>
                      <a:pt x="428625" y="12700"/>
                    </a:lnTo>
                    <a:lnTo>
                      <a:pt x="431800" y="73025"/>
                    </a:lnTo>
                    <a:lnTo>
                      <a:pt x="460375" y="69850"/>
                    </a:lnTo>
                    <a:lnTo>
                      <a:pt x="488950" y="73025"/>
                    </a:lnTo>
                    <a:lnTo>
                      <a:pt x="520700" y="76200"/>
                    </a:lnTo>
                    <a:lnTo>
                      <a:pt x="552450" y="82550"/>
                    </a:lnTo>
                    <a:lnTo>
                      <a:pt x="581025" y="92075"/>
                    </a:lnTo>
                    <a:lnTo>
                      <a:pt x="606425" y="22225"/>
                    </a:lnTo>
                    <a:lnTo>
                      <a:pt x="647700" y="38100"/>
                    </a:lnTo>
                    <a:lnTo>
                      <a:pt x="688975" y="60325"/>
                    </a:lnTo>
                    <a:lnTo>
                      <a:pt x="727075" y="82550"/>
                    </a:lnTo>
                    <a:lnTo>
                      <a:pt x="762000" y="111125"/>
                    </a:lnTo>
                    <a:lnTo>
                      <a:pt x="714375" y="165100"/>
                    </a:lnTo>
                    <a:lnTo>
                      <a:pt x="739775" y="193675"/>
                    </a:lnTo>
                    <a:lnTo>
                      <a:pt x="765175" y="222250"/>
                    </a:lnTo>
                    <a:lnTo>
                      <a:pt x="787400" y="254000"/>
                    </a:lnTo>
                    <a:lnTo>
                      <a:pt x="806450" y="285750"/>
                    </a:lnTo>
                    <a:lnTo>
                      <a:pt x="869950" y="254000"/>
                    </a:lnTo>
                    <a:lnTo>
                      <a:pt x="889000" y="295275"/>
                    </a:lnTo>
                    <a:lnTo>
                      <a:pt x="904875" y="336550"/>
                    </a:lnTo>
                    <a:lnTo>
                      <a:pt x="914400" y="381000"/>
                    </a:lnTo>
                    <a:lnTo>
                      <a:pt x="917575" y="425450"/>
                    </a:lnTo>
                    <a:lnTo>
                      <a:pt x="844550" y="431800"/>
                    </a:lnTo>
                    <a:lnTo>
                      <a:pt x="847725" y="469900"/>
                    </a:lnTo>
                    <a:lnTo>
                      <a:pt x="844550" y="508000"/>
                    </a:lnTo>
                    <a:lnTo>
                      <a:pt x="838200" y="542925"/>
                    </a:lnTo>
                    <a:lnTo>
                      <a:pt x="825500" y="581025"/>
                    </a:lnTo>
                    <a:lnTo>
                      <a:pt x="895350" y="606425"/>
                    </a:lnTo>
                    <a:lnTo>
                      <a:pt x="879475" y="647700"/>
                    </a:lnTo>
                    <a:lnTo>
                      <a:pt x="857250" y="688975"/>
                    </a:lnTo>
                    <a:lnTo>
                      <a:pt x="835025" y="727075"/>
                    </a:lnTo>
                    <a:lnTo>
                      <a:pt x="806450" y="762000"/>
                    </a:lnTo>
                    <a:lnTo>
                      <a:pt x="752475" y="714375"/>
                    </a:lnTo>
                    <a:lnTo>
                      <a:pt x="723900" y="739775"/>
                    </a:lnTo>
                    <a:lnTo>
                      <a:pt x="695325" y="765175"/>
                    </a:lnTo>
                    <a:lnTo>
                      <a:pt x="666750" y="787400"/>
                    </a:lnTo>
                    <a:lnTo>
                      <a:pt x="631825" y="806450"/>
                    </a:lnTo>
                    <a:lnTo>
                      <a:pt x="663575" y="869950"/>
                    </a:lnTo>
                    <a:lnTo>
                      <a:pt x="622300" y="889000"/>
                    </a:lnTo>
                    <a:lnTo>
                      <a:pt x="581025" y="904875"/>
                    </a:lnTo>
                    <a:lnTo>
                      <a:pt x="536575" y="914400"/>
                    </a:lnTo>
                    <a:lnTo>
                      <a:pt x="492125" y="917575"/>
                    </a:lnTo>
                    <a:lnTo>
                      <a:pt x="485775" y="844550"/>
                    </a:lnTo>
                    <a:lnTo>
                      <a:pt x="460375" y="847725"/>
                    </a:lnTo>
                    <a:lnTo>
                      <a:pt x="428625" y="844550"/>
                    </a:lnTo>
                    <a:lnTo>
                      <a:pt x="396875" y="841375"/>
                    </a:lnTo>
                    <a:lnTo>
                      <a:pt x="368300" y="835025"/>
                    </a:lnTo>
                    <a:lnTo>
                      <a:pt x="336550" y="825500"/>
                    </a:lnTo>
                    <a:lnTo>
                      <a:pt x="314325" y="895350"/>
                    </a:lnTo>
                    <a:lnTo>
                      <a:pt x="282575" y="885825"/>
                    </a:lnTo>
                    <a:lnTo>
                      <a:pt x="250825" y="869950"/>
                    </a:lnTo>
                    <a:lnTo>
                      <a:pt x="203200" y="841375"/>
                    </a:lnTo>
                    <a:lnTo>
                      <a:pt x="155575" y="806450"/>
                    </a:lnTo>
                    <a:lnTo>
                      <a:pt x="206375" y="752475"/>
                    </a:lnTo>
                    <a:lnTo>
                      <a:pt x="177800" y="723900"/>
                    </a:lnTo>
                    <a:lnTo>
                      <a:pt x="152400" y="695325"/>
                    </a:lnTo>
                    <a:lnTo>
                      <a:pt x="130175" y="666750"/>
                    </a:lnTo>
                    <a:lnTo>
                      <a:pt x="111125" y="631825"/>
                    </a:lnTo>
                    <a:lnTo>
                      <a:pt x="47625" y="663575"/>
                    </a:lnTo>
                    <a:lnTo>
                      <a:pt x="28575" y="622300"/>
                    </a:lnTo>
                    <a:lnTo>
                      <a:pt x="15875" y="581025"/>
                    </a:lnTo>
                    <a:lnTo>
                      <a:pt x="3175" y="536575"/>
                    </a:lnTo>
                    <a:lnTo>
                      <a:pt x="0" y="492125"/>
                    </a:lnTo>
                    <a:lnTo>
                      <a:pt x="73025" y="485775"/>
                    </a:lnTo>
                    <a:lnTo>
                      <a:pt x="73025" y="447675"/>
                    </a:lnTo>
                    <a:lnTo>
                      <a:pt x="73025" y="412750"/>
                    </a:lnTo>
                    <a:lnTo>
                      <a:pt x="79375" y="374650"/>
                    </a:lnTo>
                    <a:lnTo>
                      <a:pt x="92075" y="336550"/>
                    </a:lnTo>
                    <a:lnTo>
                      <a:pt x="22225" y="314325"/>
                    </a:lnTo>
                    <a:lnTo>
                      <a:pt x="38100" y="269875"/>
                    </a:lnTo>
                    <a:lnTo>
                      <a:pt x="60325" y="228600"/>
                    </a:lnTo>
                    <a:lnTo>
                      <a:pt x="82550" y="190500"/>
                    </a:lnTo>
                    <a:lnTo>
                      <a:pt x="111125" y="155575"/>
                    </a:lnTo>
                    <a:lnTo>
                      <a:pt x="165100" y="206375"/>
                    </a:lnTo>
                    <a:lnTo>
                      <a:pt x="193675" y="177800"/>
                    </a:lnTo>
                    <a:lnTo>
                      <a:pt x="222250" y="152400"/>
                    </a:lnTo>
                    <a:lnTo>
                      <a:pt x="254000" y="130175"/>
                    </a:lnTo>
                    <a:lnTo>
                      <a:pt x="285750" y="111125"/>
                    </a:lnTo>
                    <a:lnTo>
                      <a:pt x="254000" y="47625"/>
                    </a:lnTo>
                    <a:lnTo>
                      <a:pt x="295275" y="28575"/>
                    </a:lnTo>
                    <a:lnTo>
                      <a:pt x="336550" y="15875"/>
                    </a:lnTo>
                    <a:lnTo>
                      <a:pt x="381000" y="3175"/>
                    </a:lnTo>
                    <a:close/>
                  </a:path>
                </a:pathLst>
              </a:custGeom>
              <a:solidFill>
                <a:srgbClr val="FAB0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5" name="Freeform 85">
                <a:extLst>
                  <a:ext uri="{FF2B5EF4-FFF2-40B4-BE49-F238E27FC236}">
                    <a16:creationId xmlns:a16="http://schemas.microsoft.com/office/drawing/2014/main" id="{26081875-65E6-4A3B-B073-5D28DE38C6FD}"/>
                  </a:ext>
                </a:extLst>
              </p:cNvPr>
              <p:cNvSpPr>
                <a:spLocks/>
              </p:cNvSpPr>
              <p:nvPr/>
            </p:nvSpPr>
            <p:spPr bwMode="auto">
              <a:xfrm>
                <a:off x="3140075" y="4318000"/>
                <a:ext cx="644525" cy="641350"/>
              </a:xfrm>
              <a:custGeom>
                <a:avLst/>
                <a:gdLst>
                  <a:gd name="connsiteX0" fmla="*/ 304800 w 644525"/>
                  <a:gd name="connsiteY0" fmla="*/ 187325 h 641350"/>
                  <a:gd name="connsiteX1" fmla="*/ 279400 w 644525"/>
                  <a:gd name="connsiteY1" fmla="*/ 193675 h 641350"/>
                  <a:gd name="connsiteX2" fmla="*/ 257175 w 644525"/>
                  <a:gd name="connsiteY2" fmla="*/ 203200 h 641350"/>
                  <a:gd name="connsiteX3" fmla="*/ 234950 w 644525"/>
                  <a:gd name="connsiteY3" fmla="*/ 219075 h 641350"/>
                  <a:gd name="connsiteX4" fmla="*/ 215900 w 644525"/>
                  <a:gd name="connsiteY4" fmla="*/ 241300 h 641350"/>
                  <a:gd name="connsiteX5" fmla="*/ 200025 w 644525"/>
                  <a:gd name="connsiteY5" fmla="*/ 266700 h 641350"/>
                  <a:gd name="connsiteX6" fmla="*/ 190500 w 644525"/>
                  <a:gd name="connsiteY6" fmla="*/ 295275 h 641350"/>
                  <a:gd name="connsiteX7" fmla="*/ 190500 w 644525"/>
                  <a:gd name="connsiteY7" fmla="*/ 317500 h 641350"/>
                  <a:gd name="connsiteX8" fmla="*/ 190500 w 644525"/>
                  <a:gd name="connsiteY8" fmla="*/ 342900 h 641350"/>
                  <a:gd name="connsiteX9" fmla="*/ 196850 w 644525"/>
                  <a:gd name="connsiteY9" fmla="*/ 365125 h 641350"/>
                  <a:gd name="connsiteX10" fmla="*/ 206375 w 644525"/>
                  <a:gd name="connsiteY10" fmla="*/ 384175 h 641350"/>
                  <a:gd name="connsiteX11" fmla="*/ 215900 w 644525"/>
                  <a:gd name="connsiteY11" fmla="*/ 403225 h 641350"/>
                  <a:gd name="connsiteX12" fmla="*/ 231775 w 644525"/>
                  <a:gd name="connsiteY12" fmla="*/ 419100 h 641350"/>
                  <a:gd name="connsiteX13" fmla="*/ 250825 w 644525"/>
                  <a:gd name="connsiteY13" fmla="*/ 431800 h 641350"/>
                  <a:gd name="connsiteX14" fmla="*/ 269875 w 644525"/>
                  <a:gd name="connsiteY14" fmla="*/ 444500 h 641350"/>
                  <a:gd name="connsiteX15" fmla="*/ 298450 w 644525"/>
                  <a:gd name="connsiteY15" fmla="*/ 450850 h 641350"/>
                  <a:gd name="connsiteX16" fmla="*/ 317500 w 644525"/>
                  <a:gd name="connsiteY16" fmla="*/ 454025 h 641350"/>
                  <a:gd name="connsiteX17" fmla="*/ 339725 w 644525"/>
                  <a:gd name="connsiteY17" fmla="*/ 454025 h 641350"/>
                  <a:gd name="connsiteX18" fmla="*/ 361950 w 644525"/>
                  <a:gd name="connsiteY18" fmla="*/ 447675 h 641350"/>
                  <a:gd name="connsiteX19" fmla="*/ 381000 w 644525"/>
                  <a:gd name="connsiteY19" fmla="*/ 441325 h 641350"/>
                  <a:gd name="connsiteX20" fmla="*/ 396875 w 644525"/>
                  <a:gd name="connsiteY20" fmla="*/ 431800 h 641350"/>
                  <a:gd name="connsiteX21" fmla="*/ 412750 w 644525"/>
                  <a:gd name="connsiteY21" fmla="*/ 419100 h 641350"/>
                  <a:gd name="connsiteX22" fmla="*/ 428625 w 644525"/>
                  <a:gd name="connsiteY22" fmla="*/ 403225 h 641350"/>
                  <a:gd name="connsiteX23" fmla="*/ 438150 w 644525"/>
                  <a:gd name="connsiteY23" fmla="*/ 387350 h 641350"/>
                  <a:gd name="connsiteX24" fmla="*/ 447675 w 644525"/>
                  <a:gd name="connsiteY24" fmla="*/ 368300 h 641350"/>
                  <a:gd name="connsiteX25" fmla="*/ 454025 w 644525"/>
                  <a:gd name="connsiteY25" fmla="*/ 346075 h 641350"/>
                  <a:gd name="connsiteX26" fmla="*/ 457200 w 644525"/>
                  <a:gd name="connsiteY26" fmla="*/ 317500 h 641350"/>
                  <a:gd name="connsiteX27" fmla="*/ 454025 w 644525"/>
                  <a:gd name="connsiteY27" fmla="*/ 292100 h 641350"/>
                  <a:gd name="connsiteX28" fmla="*/ 444500 w 644525"/>
                  <a:gd name="connsiteY28" fmla="*/ 269875 h 641350"/>
                  <a:gd name="connsiteX29" fmla="*/ 431800 w 644525"/>
                  <a:gd name="connsiteY29" fmla="*/ 244475 h 641350"/>
                  <a:gd name="connsiteX30" fmla="*/ 415925 w 644525"/>
                  <a:gd name="connsiteY30" fmla="*/ 225425 h 641350"/>
                  <a:gd name="connsiteX31" fmla="*/ 396875 w 644525"/>
                  <a:gd name="connsiteY31" fmla="*/ 209550 h 641350"/>
                  <a:gd name="connsiteX32" fmla="*/ 374650 w 644525"/>
                  <a:gd name="connsiteY32" fmla="*/ 196850 h 641350"/>
                  <a:gd name="connsiteX33" fmla="*/ 349250 w 644525"/>
                  <a:gd name="connsiteY33" fmla="*/ 190500 h 641350"/>
                  <a:gd name="connsiteX34" fmla="*/ 327025 w 644525"/>
                  <a:gd name="connsiteY34" fmla="*/ 187325 h 641350"/>
                  <a:gd name="connsiteX35" fmla="*/ 247650 w 644525"/>
                  <a:gd name="connsiteY35" fmla="*/ 0 h 641350"/>
                  <a:gd name="connsiteX36" fmla="*/ 257175 w 644525"/>
                  <a:gd name="connsiteY36" fmla="*/ 0 h 641350"/>
                  <a:gd name="connsiteX37" fmla="*/ 266700 w 644525"/>
                  <a:gd name="connsiteY37" fmla="*/ 50800 h 641350"/>
                  <a:gd name="connsiteX38" fmla="*/ 285750 w 644525"/>
                  <a:gd name="connsiteY38" fmla="*/ 47625 h 641350"/>
                  <a:gd name="connsiteX39" fmla="*/ 330200 w 644525"/>
                  <a:gd name="connsiteY39" fmla="*/ 44450 h 641350"/>
                  <a:gd name="connsiteX40" fmla="*/ 374650 w 644525"/>
                  <a:gd name="connsiteY40" fmla="*/ 50800 h 641350"/>
                  <a:gd name="connsiteX41" fmla="*/ 384175 w 644525"/>
                  <a:gd name="connsiteY41" fmla="*/ 0 h 641350"/>
                  <a:gd name="connsiteX42" fmla="*/ 415925 w 644525"/>
                  <a:gd name="connsiteY42" fmla="*/ 6350 h 641350"/>
                  <a:gd name="connsiteX43" fmla="*/ 447675 w 644525"/>
                  <a:gd name="connsiteY43" fmla="*/ 15875 h 641350"/>
                  <a:gd name="connsiteX44" fmla="*/ 476250 w 644525"/>
                  <a:gd name="connsiteY44" fmla="*/ 31750 h 641350"/>
                  <a:gd name="connsiteX45" fmla="*/ 504825 w 644525"/>
                  <a:gd name="connsiteY45" fmla="*/ 47625 h 641350"/>
                  <a:gd name="connsiteX46" fmla="*/ 473075 w 644525"/>
                  <a:gd name="connsiteY46" fmla="*/ 88900 h 641350"/>
                  <a:gd name="connsiteX47" fmla="*/ 495300 w 644525"/>
                  <a:gd name="connsiteY47" fmla="*/ 107950 h 641350"/>
                  <a:gd name="connsiteX48" fmla="*/ 517525 w 644525"/>
                  <a:gd name="connsiteY48" fmla="*/ 123825 h 641350"/>
                  <a:gd name="connsiteX49" fmla="*/ 533400 w 644525"/>
                  <a:gd name="connsiteY49" fmla="*/ 146050 h 641350"/>
                  <a:gd name="connsiteX50" fmla="*/ 552450 w 644525"/>
                  <a:gd name="connsiteY50" fmla="*/ 165100 h 641350"/>
                  <a:gd name="connsiteX51" fmla="*/ 593725 w 644525"/>
                  <a:gd name="connsiteY51" fmla="*/ 136525 h 641350"/>
                  <a:gd name="connsiteX52" fmla="*/ 609600 w 644525"/>
                  <a:gd name="connsiteY52" fmla="*/ 165100 h 641350"/>
                  <a:gd name="connsiteX53" fmla="*/ 625475 w 644525"/>
                  <a:gd name="connsiteY53" fmla="*/ 193675 h 641350"/>
                  <a:gd name="connsiteX54" fmla="*/ 635000 w 644525"/>
                  <a:gd name="connsiteY54" fmla="*/ 222250 h 641350"/>
                  <a:gd name="connsiteX55" fmla="*/ 644525 w 644525"/>
                  <a:gd name="connsiteY55" fmla="*/ 254000 h 641350"/>
                  <a:gd name="connsiteX56" fmla="*/ 593725 w 644525"/>
                  <a:gd name="connsiteY56" fmla="*/ 266700 h 641350"/>
                  <a:gd name="connsiteX57" fmla="*/ 596900 w 644525"/>
                  <a:gd name="connsiteY57" fmla="*/ 292100 h 641350"/>
                  <a:gd name="connsiteX58" fmla="*/ 596900 w 644525"/>
                  <a:gd name="connsiteY58" fmla="*/ 317500 h 641350"/>
                  <a:gd name="connsiteX59" fmla="*/ 596900 w 644525"/>
                  <a:gd name="connsiteY59" fmla="*/ 346075 h 641350"/>
                  <a:gd name="connsiteX60" fmla="*/ 593725 w 644525"/>
                  <a:gd name="connsiteY60" fmla="*/ 371475 h 641350"/>
                  <a:gd name="connsiteX61" fmla="*/ 644525 w 644525"/>
                  <a:gd name="connsiteY61" fmla="*/ 384175 h 641350"/>
                  <a:gd name="connsiteX62" fmla="*/ 638175 w 644525"/>
                  <a:gd name="connsiteY62" fmla="*/ 415925 h 641350"/>
                  <a:gd name="connsiteX63" fmla="*/ 625475 w 644525"/>
                  <a:gd name="connsiteY63" fmla="*/ 444500 h 641350"/>
                  <a:gd name="connsiteX64" fmla="*/ 612775 w 644525"/>
                  <a:gd name="connsiteY64" fmla="*/ 473075 h 641350"/>
                  <a:gd name="connsiteX65" fmla="*/ 596900 w 644525"/>
                  <a:gd name="connsiteY65" fmla="*/ 501650 h 641350"/>
                  <a:gd name="connsiteX66" fmla="*/ 552450 w 644525"/>
                  <a:gd name="connsiteY66" fmla="*/ 473075 h 641350"/>
                  <a:gd name="connsiteX67" fmla="*/ 536575 w 644525"/>
                  <a:gd name="connsiteY67" fmla="*/ 495300 h 641350"/>
                  <a:gd name="connsiteX68" fmla="*/ 517525 w 644525"/>
                  <a:gd name="connsiteY68" fmla="*/ 514350 h 641350"/>
                  <a:gd name="connsiteX69" fmla="*/ 498475 w 644525"/>
                  <a:gd name="connsiteY69" fmla="*/ 533400 h 641350"/>
                  <a:gd name="connsiteX70" fmla="*/ 476250 w 644525"/>
                  <a:gd name="connsiteY70" fmla="*/ 549275 h 641350"/>
                  <a:gd name="connsiteX71" fmla="*/ 504825 w 644525"/>
                  <a:gd name="connsiteY71" fmla="*/ 593725 h 641350"/>
                  <a:gd name="connsiteX72" fmla="*/ 479425 w 644525"/>
                  <a:gd name="connsiteY72" fmla="*/ 609600 h 641350"/>
                  <a:gd name="connsiteX73" fmla="*/ 450850 w 644525"/>
                  <a:gd name="connsiteY73" fmla="*/ 622300 h 641350"/>
                  <a:gd name="connsiteX74" fmla="*/ 419100 w 644525"/>
                  <a:gd name="connsiteY74" fmla="*/ 635000 h 641350"/>
                  <a:gd name="connsiteX75" fmla="*/ 387350 w 644525"/>
                  <a:gd name="connsiteY75" fmla="*/ 641350 h 641350"/>
                  <a:gd name="connsiteX76" fmla="*/ 377825 w 644525"/>
                  <a:gd name="connsiteY76" fmla="*/ 590550 h 641350"/>
                  <a:gd name="connsiteX77" fmla="*/ 358775 w 644525"/>
                  <a:gd name="connsiteY77" fmla="*/ 593725 h 641350"/>
                  <a:gd name="connsiteX78" fmla="*/ 317500 w 644525"/>
                  <a:gd name="connsiteY78" fmla="*/ 596900 h 641350"/>
                  <a:gd name="connsiteX79" fmla="*/ 279400 w 644525"/>
                  <a:gd name="connsiteY79" fmla="*/ 593725 h 641350"/>
                  <a:gd name="connsiteX80" fmla="*/ 269875 w 644525"/>
                  <a:gd name="connsiteY80" fmla="*/ 590550 h 641350"/>
                  <a:gd name="connsiteX81" fmla="*/ 260350 w 644525"/>
                  <a:gd name="connsiteY81" fmla="*/ 641350 h 641350"/>
                  <a:gd name="connsiteX82" fmla="*/ 228600 w 644525"/>
                  <a:gd name="connsiteY82" fmla="*/ 635000 h 641350"/>
                  <a:gd name="connsiteX83" fmla="*/ 196850 w 644525"/>
                  <a:gd name="connsiteY83" fmla="*/ 625475 h 641350"/>
                  <a:gd name="connsiteX84" fmla="*/ 168275 w 644525"/>
                  <a:gd name="connsiteY84" fmla="*/ 609600 h 641350"/>
                  <a:gd name="connsiteX85" fmla="*/ 142875 w 644525"/>
                  <a:gd name="connsiteY85" fmla="*/ 593725 h 641350"/>
                  <a:gd name="connsiteX86" fmla="*/ 171450 w 644525"/>
                  <a:gd name="connsiteY86" fmla="*/ 552450 h 641350"/>
                  <a:gd name="connsiteX87" fmla="*/ 149225 w 644525"/>
                  <a:gd name="connsiteY87" fmla="*/ 533400 h 641350"/>
                  <a:gd name="connsiteX88" fmla="*/ 127000 w 644525"/>
                  <a:gd name="connsiteY88" fmla="*/ 517525 h 641350"/>
                  <a:gd name="connsiteX89" fmla="*/ 111125 w 644525"/>
                  <a:gd name="connsiteY89" fmla="*/ 495300 h 641350"/>
                  <a:gd name="connsiteX90" fmla="*/ 95250 w 644525"/>
                  <a:gd name="connsiteY90" fmla="*/ 476250 h 641350"/>
                  <a:gd name="connsiteX91" fmla="*/ 50800 w 644525"/>
                  <a:gd name="connsiteY91" fmla="*/ 504825 h 641350"/>
                  <a:gd name="connsiteX92" fmla="*/ 34925 w 644525"/>
                  <a:gd name="connsiteY92" fmla="*/ 476250 h 641350"/>
                  <a:gd name="connsiteX93" fmla="*/ 19050 w 644525"/>
                  <a:gd name="connsiteY93" fmla="*/ 447675 h 641350"/>
                  <a:gd name="connsiteX94" fmla="*/ 9525 w 644525"/>
                  <a:gd name="connsiteY94" fmla="*/ 419100 h 641350"/>
                  <a:gd name="connsiteX95" fmla="*/ 0 w 644525"/>
                  <a:gd name="connsiteY95" fmla="*/ 387350 h 641350"/>
                  <a:gd name="connsiteX96" fmla="*/ 50800 w 644525"/>
                  <a:gd name="connsiteY96" fmla="*/ 374650 h 641350"/>
                  <a:gd name="connsiteX97" fmla="*/ 47625 w 644525"/>
                  <a:gd name="connsiteY97" fmla="*/ 349250 h 641350"/>
                  <a:gd name="connsiteX98" fmla="*/ 47625 w 644525"/>
                  <a:gd name="connsiteY98" fmla="*/ 323850 h 641350"/>
                  <a:gd name="connsiteX99" fmla="*/ 47625 w 644525"/>
                  <a:gd name="connsiteY99" fmla="*/ 295275 h 641350"/>
                  <a:gd name="connsiteX100" fmla="*/ 50800 w 644525"/>
                  <a:gd name="connsiteY100" fmla="*/ 269875 h 641350"/>
                  <a:gd name="connsiteX101" fmla="*/ 0 w 644525"/>
                  <a:gd name="connsiteY101" fmla="*/ 257175 h 641350"/>
                  <a:gd name="connsiteX102" fmla="*/ 9525 w 644525"/>
                  <a:gd name="connsiteY102" fmla="*/ 225425 h 641350"/>
                  <a:gd name="connsiteX103" fmla="*/ 19050 w 644525"/>
                  <a:gd name="connsiteY103" fmla="*/ 196850 h 641350"/>
                  <a:gd name="connsiteX104" fmla="*/ 31750 w 644525"/>
                  <a:gd name="connsiteY104" fmla="*/ 168275 h 641350"/>
                  <a:gd name="connsiteX105" fmla="*/ 47625 w 644525"/>
                  <a:gd name="connsiteY105" fmla="*/ 139700 h 641350"/>
                  <a:gd name="connsiteX106" fmla="*/ 92075 w 644525"/>
                  <a:gd name="connsiteY106" fmla="*/ 168275 h 641350"/>
                  <a:gd name="connsiteX107" fmla="*/ 107950 w 644525"/>
                  <a:gd name="connsiteY107" fmla="*/ 146050 h 641350"/>
                  <a:gd name="connsiteX108" fmla="*/ 127000 w 644525"/>
                  <a:gd name="connsiteY108" fmla="*/ 127000 h 641350"/>
                  <a:gd name="connsiteX109" fmla="*/ 146050 w 644525"/>
                  <a:gd name="connsiteY109" fmla="*/ 107950 h 641350"/>
                  <a:gd name="connsiteX110" fmla="*/ 168275 w 644525"/>
                  <a:gd name="connsiteY110" fmla="*/ 92075 h 641350"/>
                  <a:gd name="connsiteX111" fmla="*/ 139700 w 644525"/>
                  <a:gd name="connsiteY111" fmla="*/ 47625 h 641350"/>
                  <a:gd name="connsiteX112" fmla="*/ 165100 w 644525"/>
                  <a:gd name="connsiteY112" fmla="*/ 34925 h 641350"/>
                  <a:gd name="connsiteX113" fmla="*/ 190500 w 644525"/>
                  <a:gd name="connsiteY113" fmla="*/ 19050 h 641350"/>
                  <a:gd name="connsiteX114" fmla="*/ 219075 w 644525"/>
                  <a:gd name="connsiteY114" fmla="*/ 9525 h 64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644525" h="641350">
                    <a:moveTo>
                      <a:pt x="304800" y="187325"/>
                    </a:moveTo>
                    <a:lnTo>
                      <a:pt x="279400" y="193675"/>
                    </a:lnTo>
                    <a:lnTo>
                      <a:pt x="257175" y="203200"/>
                    </a:lnTo>
                    <a:lnTo>
                      <a:pt x="234950" y="219075"/>
                    </a:lnTo>
                    <a:lnTo>
                      <a:pt x="215900" y="241300"/>
                    </a:lnTo>
                    <a:lnTo>
                      <a:pt x="200025" y="266700"/>
                    </a:lnTo>
                    <a:lnTo>
                      <a:pt x="190500" y="295275"/>
                    </a:lnTo>
                    <a:lnTo>
                      <a:pt x="190500" y="317500"/>
                    </a:lnTo>
                    <a:lnTo>
                      <a:pt x="190500" y="342900"/>
                    </a:lnTo>
                    <a:lnTo>
                      <a:pt x="196850" y="365125"/>
                    </a:lnTo>
                    <a:lnTo>
                      <a:pt x="206375" y="384175"/>
                    </a:lnTo>
                    <a:lnTo>
                      <a:pt x="215900" y="403225"/>
                    </a:lnTo>
                    <a:lnTo>
                      <a:pt x="231775" y="419100"/>
                    </a:lnTo>
                    <a:lnTo>
                      <a:pt x="250825" y="431800"/>
                    </a:lnTo>
                    <a:lnTo>
                      <a:pt x="269875" y="444500"/>
                    </a:lnTo>
                    <a:lnTo>
                      <a:pt x="298450" y="450850"/>
                    </a:lnTo>
                    <a:lnTo>
                      <a:pt x="317500" y="454025"/>
                    </a:lnTo>
                    <a:lnTo>
                      <a:pt x="339725" y="454025"/>
                    </a:lnTo>
                    <a:lnTo>
                      <a:pt x="361950" y="447675"/>
                    </a:lnTo>
                    <a:lnTo>
                      <a:pt x="381000" y="441325"/>
                    </a:lnTo>
                    <a:lnTo>
                      <a:pt x="396875" y="431800"/>
                    </a:lnTo>
                    <a:lnTo>
                      <a:pt x="412750" y="419100"/>
                    </a:lnTo>
                    <a:lnTo>
                      <a:pt x="428625" y="403225"/>
                    </a:lnTo>
                    <a:lnTo>
                      <a:pt x="438150" y="387350"/>
                    </a:lnTo>
                    <a:lnTo>
                      <a:pt x="447675" y="368300"/>
                    </a:lnTo>
                    <a:lnTo>
                      <a:pt x="454025" y="346075"/>
                    </a:lnTo>
                    <a:lnTo>
                      <a:pt x="457200" y="317500"/>
                    </a:lnTo>
                    <a:lnTo>
                      <a:pt x="454025" y="292100"/>
                    </a:lnTo>
                    <a:lnTo>
                      <a:pt x="444500" y="269875"/>
                    </a:lnTo>
                    <a:lnTo>
                      <a:pt x="431800" y="244475"/>
                    </a:lnTo>
                    <a:lnTo>
                      <a:pt x="415925" y="225425"/>
                    </a:lnTo>
                    <a:lnTo>
                      <a:pt x="396875" y="209550"/>
                    </a:lnTo>
                    <a:lnTo>
                      <a:pt x="374650" y="196850"/>
                    </a:lnTo>
                    <a:lnTo>
                      <a:pt x="349250" y="190500"/>
                    </a:lnTo>
                    <a:lnTo>
                      <a:pt x="327025" y="187325"/>
                    </a:lnTo>
                    <a:close/>
                    <a:moveTo>
                      <a:pt x="247650" y="0"/>
                    </a:moveTo>
                    <a:lnTo>
                      <a:pt x="257175" y="0"/>
                    </a:lnTo>
                    <a:lnTo>
                      <a:pt x="266700" y="50800"/>
                    </a:lnTo>
                    <a:lnTo>
                      <a:pt x="285750" y="47625"/>
                    </a:lnTo>
                    <a:lnTo>
                      <a:pt x="330200" y="44450"/>
                    </a:lnTo>
                    <a:lnTo>
                      <a:pt x="374650" y="50800"/>
                    </a:lnTo>
                    <a:lnTo>
                      <a:pt x="384175" y="0"/>
                    </a:lnTo>
                    <a:lnTo>
                      <a:pt x="415925" y="6350"/>
                    </a:lnTo>
                    <a:lnTo>
                      <a:pt x="447675" y="15875"/>
                    </a:lnTo>
                    <a:lnTo>
                      <a:pt x="476250" y="31750"/>
                    </a:lnTo>
                    <a:lnTo>
                      <a:pt x="504825" y="47625"/>
                    </a:lnTo>
                    <a:lnTo>
                      <a:pt x="473075" y="88900"/>
                    </a:lnTo>
                    <a:lnTo>
                      <a:pt x="495300" y="107950"/>
                    </a:lnTo>
                    <a:lnTo>
                      <a:pt x="517525" y="123825"/>
                    </a:lnTo>
                    <a:lnTo>
                      <a:pt x="533400" y="146050"/>
                    </a:lnTo>
                    <a:lnTo>
                      <a:pt x="552450" y="165100"/>
                    </a:lnTo>
                    <a:lnTo>
                      <a:pt x="593725" y="136525"/>
                    </a:lnTo>
                    <a:lnTo>
                      <a:pt x="609600" y="165100"/>
                    </a:lnTo>
                    <a:lnTo>
                      <a:pt x="625475" y="193675"/>
                    </a:lnTo>
                    <a:lnTo>
                      <a:pt x="635000" y="222250"/>
                    </a:lnTo>
                    <a:lnTo>
                      <a:pt x="644525" y="254000"/>
                    </a:lnTo>
                    <a:lnTo>
                      <a:pt x="593725" y="266700"/>
                    </a:lnTo>
                    <a:lnTo>
                      <a:pt x="596900" y="292100"/>
                    </a:lnTo>
                    <a:lnTo>
                      <a:pt x="596900" y="317500"/>
                    </a:lnTo>
                    <a:lnTo>
                      <a:pt x="596900" y="346075"/>
                    </a:lnTo>
                    <a:lnTo>
                      <a:pt x="593725" y="371475"/>
                    </a:lnTo>
                    <a:lnTo>
                      <a:pt x="644525" y="384175"/>
                    </a:lnTo>
                    <a:lnTo>
                      <a:pt x="638175" y="415925"/>
                    </a:lnTo>
                    <a:lnTo>
                      <a:pt x="625475" y="444500"/>
                    </a:lnTo>
                    <a:lnTo>
                      <a:pt x="612775" y="473075"/>
                    </a:lnTo>
                    <a:lnTo>
                      <a:pt x="596900" y="501650"/>
                    </a:lnTo>
                    <a:lnTo>
                      <a:pt x="552450" y="473075"/>
                    </a:lnTo>
                    <a:lnTo>
                      <a:pt x="536575" y="495300"/>
                    </a:lnTo>
                    <a:lnTo>
                      <a:pt x="517525" y="514350"/>
                    </a:lnTo>
                    <a:lnTo>
                      <a:pt x="498475" y="533400"/>
                    </a:lnTo>
                    <a:lnTo>
                      <a:pt x="476250" y="549275"/>
                    </a:lnTo>
                    <a:lnTo>
                      <a:pt x="504825" y="593725"/>
                    </a:lnTo>
                    <a:lnTo>
                      <a:pt x="479425" y="609600"/>
                    </a:lnTo>
                    <a:lnTo>
                      <a:pt x="450850" y="622300"/>
                    </a:lnTo>
                    <a:lnTo>
                      <a:pt x="419100" y="635000"/>
                    </a:lnTo>
                    <a:lnTo>
                      <a:pt x="387350" y="641350"/>
                    </a:lnTo>
                    <a:lnTo>
                      <a:pt x="377825" y="590550"/>
                    </a:lnTo>
                    <a:lnTo>
                      <a:pt x="358775" y="593725"/>
                    </a:lnTo>
                    <a:lnTo>
                      <a:pt x="317500" y="596900"/>
                    </a:lnTo>
                    <a:lnTo>
                      <a:pt x="279400" y="593725"/>
                    </a:lnTo>
                    <a:lnTo>
                      <a:pt x="269875" y="590550"/>
                    </a:lnTo>
                    <a:lnTo>
                      <a:pt x="260350" y="641350"/>
                    </a:lnTo>
                    <a:lnTo>
                      <a:pt x="228600" y="635000"/>
                    </a:lnTo>
                    <a:lnTo>
                      <a:pt x="196850" y="625475"/>
                    </a:lnTo>
                    <a:lnTo>
                      <a:pt x="168275" y="609600"/>
                    </a:lnTo>
                    <a:lnTo>
                      <a:pt x="142875" y="593725"/>
                    </a:lnTo>
                    <a:lnTo>
                      <a:pt x="171450" y="552450"/>
                    </a:lnTo>
                    <a:lnTo>
                      <a:pt x="149225" y="533400"/>
                    </a:lnTo>
                    <a:lnTo>
                      <a:pt x="127000" y="517525"/>
                    </a:lnTo>
                    <a:lnTo>
                      <a:pt x="111125" y="495300"/>
                    </a:lnTo>
                    <a:lnTo>
                      <a:pt x="95250" y="476250"/>
                    </a:lnTo>
                    <a:lnTo>
                      <a:pt x="50800" y="504825"/>
                    </a:lnTo>
                    <a:lnTo>
                      <a:pt x="34925" y="476250"/>
                    </a:lnTo>
                    <a:lnTo>
                      <a:pt x="19050" y="447675"/>
                    </a:lnTo>
                    <a:lnTo>
                      <a:pt x="9525" y="419100"/>
                    </a:lnTo>
                    <a:lnTo>
                      <a:pt x="0" y="387350"/>
                    </a:lnTo>
                    <a:lnTo>
                      <a:pt x="50800" y="374650"/>
                    </a:lnTo>
                    <a:lnTo>
                      <a:pt x="47625" y="349250"/>
                    </a:lnTo>
                    <a:lnTo>
                      <a:pt x="47625" y="323850"/>
                    </a:lnTo>
                    <a:lnTo>
                      <a:pt x="47625" y="295275"/>
                    </a:lnTo>
                    <a:lnTo>
                      <a:pt x="50800" y="269875"/>
                    </a:lnTo>
                    <a:lnTo>
                      <a:pt x="0" y="257175"/>
                    </a:lnTo>
                    <a:lnTo>
                      <a:pt x="9525" y="225425"/>
                    </a:lnTo>
                    <a:lnTo>
                      <a:pt x="19050" y="196850"/>
                    </a:lnTo>
                    <a:lnTo>
                      <a:pt x="31750" y="168275"/>
                    </a:lnTo>
                    <a:lnTo>
                      <a:pt x="47625" y="139700"/>
                    </a:lnTo>
                    <a:lnTo>
                      <a:pt x="92075" y="168275"/>
                    </a:lnTo>
                    <a:lnTo>
                      <a:pt x="107950" y="146050"/>
                    </a:lnTo>
                    <a:lnTo>
                      <a:pt x="127000" y="127000"/>
                    </a:lnTo>
                    <a:lnTo>
                      <a:pt x="146050" y="107950"/>
                    </a:lnTo>
                    <a:lnTo>
                      <a:pt x="168275" y="92075"/>
                    </a:lnTo>
                    <a:lnTo>
                      <a:pt x="139700" y="47625"/>
                    </a:lnTo>
                    <a:lnTo>
                      <a:pt x="165100" y="34925"/>
                    </a:lnTo>
                    <a:lnTo>
                      <a:pt x="190500" y="19050"/>
                    </a:lnTo>
                    <a:lnTo>
                      <a:pt x="219075" y="9525"/>
                    </a:lnTo>
                    <a:close/>
                  </a:path>
                </a:pathLst>
              </a:custGeom>
              <a:solidFill>
                <a:srgbClr val="C7CB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6" name="Freeform 86">
                <a:extLst>
                  <a:ext uri="{FF2B5EF4-FFF2-40B4-BE49-F238E27FC236}">
                    <a16:creationId xmlns:a16="http://schemas.microsoft.com/office/drawing/2014/main" id="{D901DE8B-1D40-4ACB-8092-AB97568D14BA}"/>
                  </a:ext>
                </a:extLst>
              </p:cNvPr>
              <p:cNvSpPr>
                <a:spLocks/>
              </p:cNvSpPr>
              <p:nvPr/>
            </p:nvSpPr>
            <p:spPr bwMode="auto">
              <a:xfrm>
                <a:off x="485775" y="3273425"/>
                <a:ext cx="666750" cy="666750"/>
              </a:xfrm>
              <a:custGeom>
                <a:avLst/>
                <a:gdLst>
                  <a:gd name="connsiteX0" fmla="*/ 314325 w 666750"/>
                  <a:gd name="connsiteY0" fmla="*/ 212725 h 666750"/>
                  <a:gd name="connsiteX1" fmla="*/ 295275 w 666750"/>
                  <a:gd name="connsiteY1" fmla="*/ 215900 h 666750"/>
                  <a:gd name="connsiteX2" fmla="*/ 279400 w 666750"/>
                  <a:gd name="connsiteY2" fmla="*/ 225425 h 666750"/>
                  <a:gd name="connsiteX3" fmla="*/ 260350 w 666750"/>
                  <a:gd name="connsiteY3" fmla="*/ 234950 h 666750"/>
                  <a:gd name="connsiteX4" fmla="*/ 247650 w 666750"/>
                  <a:gd name="connsiteY4" fmla="*/ 244475 h 666750"/>
                  <a:gd name="connsiteX5" fmla="*/ 234950 w 666750"/>
                  <a:gd name="connsiteY5" fmla="*/ 260350 h 666750"/>
                  <a:gd name="connsiteX6" fmla="*/ 225425 w 666750"/>
                  <a:gd name="connsiteY6" fmla="*/ 276225 h 666750"/>
                  <a:gd name="connsiteX7" fmla="*/ 215900 w 666750"/>
                  <a:gd name="connsiteY7" fmla="*/ 295275 h 666750"/>
                  <a:gd name="connsiteX8" fmla="*/ 212725 w 666750"/>
                  <a:gd name="connsiteY8" fmla="*/ 317500 h 666750"/>
                  <a:gd name="connsiteX9" fmla="*/ 209550 w 666750"/>
                  <a:gd name="connsiteY9" fmla="*/ 342900 h 666750"/>
                  <a:gd name="connsiteX10" fmla="*/ 215900 w 666750"/>
                  <a:gd name="connsiteY10" fmla="*/ 365125 h 666750"/>
                  <a:gd name="connsiteX11" fmla="*/ 222250 w 666750"/>
                  <a:gd name="connsiteY11" fmla="*/ 387350 h 666750"/>
                  <a:gd name="connsiteX12" fmla="*/ 234950 w 666750"/>
                  <a:gd name="connsiteY12" fmla="*/ 406400 h 666750"/>
                  <a:gd name="connsiteX13" fmla="*/ 250825 w 666750"/>
                  <a:gd name="connsiteY13" fmla="*/ 425450 h 666750"/>
                  <a:gd name="connsiteX14" fmla="*/ 269875 w 666750"/>
                  <a:gd name="connsiteY14" fmla="*/ 438150 h 666750"/>
                  <a:gd name="connsiteX15" fmla="*/ 295275 w 666750"/>
                  <a:gd name="connsiteY15" fmla="*/ 447675 h 666750"/>
                  <a:gd name="connsiteX16" fmla="*/ 314325 w 666750"/>
                  <a:gd name="connsiteY16" fmla="*/ 454025 h 666750"/>
                  <a:gd name="connsiteX17" fmla="*/ 333375 w 666750"/>
                  <a:gd name="connsiteY17" fmla="*/ 454025 h 666750"/>
                  <a:gd name="connsiteX18" fmla="*/ 349250 w 666750"/>
                  <a:gd name="connsiteY18" fmla="*/ 454025 h 666750"/>
                  <a:gd name="connsiteX19" fmla="*/ 368300 w 666750"/>
                  <a:gd name="connsiteY19" fmla="*/ 450850 h 666750"/>
                  <a:gd name="connsiteX20" fmla="*/ 393700 w 666750"/>
                  <a:gd name="connsiteY20" fmla="*/ 438150 h 666750"/>
                  <a:gd name="connsiteX21" fmla="*/ 415925 w 666750"/>
                  <a:gd name="connsiteY21" fmla="*/ 422275 h 666750"/>
                  <a:gd name="connsiteX22" fmla="*/ 434975 w 666750"/>
                  <a:gd name="connsiteY22" fmla="*/ 400050 h 666750"/>
                  <a:gd name="connsiteX23" fmla="*/ 441325 w 666750"/>
                  <a:gd name="connsiteY23" fmla="*/ 387350 h 666750"/>
                  <a:gd name="connsiteX24" fmla="*/ 447675 w 666750"/>
                  <a:gd name="connsiteY24" fmla="*/ 371475 h 666750"/>
                  <a:gd name="connsiteX25" fmla="*/ 454025 w 666750"/>
                  <a:gd name="connsiteY25" fmla="*/ 349250 h 666750"/>
                  <a:gd name="connsiteX26" fmla="*/ 454025 w 666750"/>
                  <a:gd name="connsiteY26" fmla="*/ 323850 h 666750"/>
                  <a:gd name="connsiteX27" fmla="*/ 450850 w 666750"/>
                  <a:gd name="connsiteY27" fmla="*/ 301625 h 666750"/>
                  <a:gd name="connsiteX28" fmla="*/ 441325 w 666750"/>
                  <a:gd name="connsiteY28" fmla="*/ 279400 h 666750"/>
                  <a:gd name="connsiteX29" fmla="*/ 428625 w 666750"/>
                  <a:gd name="connsiteY29" fmla="*/ 260350 h 666750"/>
                  <a:gd name="connsiteX30" fmla="*/ 412750 w 666750"/>
                  <a:gd name="connsiteY30" fmla="*/ 241300 h 666750"/>
                  <a:gd name="connsiteX31" fmla="*/ 393700 w 666750"/>
                  <a:gd name="connsiteY31" fmla="*/ 228600 h 666750"/>
                  <a:gd name="connsiteX32" fmla="*/ 371475 w 666750"/>
                  <a:gd name="connsiteY32" fmla="*/ 215900 h 666750"/>
                  <a:gd name="connsiteX33" fmla="*/ 368300 w 666750"/>
                  <a:gd name="connsiteY33" fmla="*/ 215900 h 666750"/>
                  <a:gd name="connsiteX34" fmla="*/ 349250 w 666750"/>
                  <a:gd name="connsiteY34" fmla="*/ 212725 h 666750"/>
                  <a:gd name="connsiteX35" fmla="*/ 333375 w 666750"/>
                  <a:gd name="connsiteY35" fmla="*/ 212725 h 666750"/>
                  <a:gd name="connsiteX36" fmla="*/ 307975 w 666750"/>
                  <a:gd name="connsiteY36" fmla="*/ 0 h 666750"/>
                  <a:gd name="connsiteX37" fmla="*/ 311150 w 666750"/>
                  <a:gd name="connsiteY37" fmla="*/ 53975 h 666750"/>
                  <a:gd name="connsiteX38" fmla="*/ 333375 w 666750"/>
                  <a:gd name="connsiteY38" fmla="*/ 53975 h 666750"/>
                  <a:gd name="connsiteX39" fmla="*/ 368300 w 666750"/>
                  <a:gd name="connsiteY39" fmla="*/ 53975 h 666750"/>
                  <a:gd name="connsiteX40" fmla="*/ 393700 w 666750"/>
                  <a:gd name="connsiteY40" fmla="*/ 60325 h 666750"/>
                  <a:gd name="connsiteX41" fmla="*/ 422275 w 666750"/>
                  <a:gd name="connsiteY41" fmla="*/ 66675 h 666750"/>
                  <a:gd name="connsiteX42" fmla="*/ 438150 w 666750"/>
                  <a:gd name="connsiteY42" fmla="*/ 15875 h 666750"/>
                  <a:gd name="connsiteX43" fmla="*/ 469900 w 666750"/>
                  <a:gd name="connsiteY43" fmla="*/ 28575 h 666750"/>
                  <a:gd name="connsiteX44" fmla="*/ 498475 w 666750"/>
                  <a:gd name="connsiteY44" fmla="*/ 44450 h 666750"/>
                  <a:gd name="connsiteX45" fmla="*/ 527050 w 666750"/>
                  <a:gd name="connsiteY45" fmla="*/ 60325 h 666750"/>
                  <a:gd name="connsiteX46" fmla="*/ 552450 w 666750"/>
                  <a:gd name="connsiteY46" fmla="*/ 82550 h 666750"/>
                  <a:gd name="connsiteX47" fmla="*/ 517525 w 666750"/>
                  <a:gd name="connsiteY47" fmla="*/ 120650 h 666750"/>
                  <a:gd name="connsiteX48" fmla="*/ 536575 w 666750"/>
                  <a:gd name="connsiteY48" fmla="*/ 139700 h 666750"/>
                  <a:gd name="connsiteX49" fmla="*/ 555625 w 666750"/>
                  <a:gd name="connsiteY49" fmla="*/ 161925 h 666750"/>
                  <a:gd name="connsiteX50" fmla="*/ 571500 w 666750"/>
                  <a:gd name="connsiteY50" fmla="*/ 184150 h 666750"/>
                  <a:gd name="connsiteX51" fmla="*/ 584200 w 666750"/>
                  <a:gd name="connsiteY51" fmla="*/ 206375 h 666750"/>
                  <a:gd name="connsiteX52" fmla="*/ 631825 w 666750"/>
                  <a:gd name="connsiteY52" fmla="*/ 184150 h 666750"/>
                  <a:gd name="connsiteX53" fmla="*/ 644525 w 666750"/>
                  <a:gd name="connsiteY53" fmla="*/ 212725 h 666750"/>
                  <a:gd name="connsiteX54" fmla="*/ 654050 w 666750"/>
                  <a:gd name="connsiteY54" fmla="*/ 244475 h 666750"/>
                  <a:gd name="connsiteX55" fmla="*/ 660400 w 666750"/>
                  <a:gd name="connsiteY55" fmla="*/ 276225 h 666750"/>
                  <a:gd name="connsiteX56" fmla="*/ 666750 w 666750"/>
                  <a:gd name="connsiteY56" fmla="*/ 311150 h 666750"/>
                  <a:gd name="connsiteX57" fmla="*/ 612775 w 666750"/>
                  <a:gd name="connsiteY57" fmla="*/ 314325 h 666750"/>
                  <a:gd name="connsiteX58" fmla="*/ 612775 w 666750"/>
                  <a:gd name="connsiteY58" fmla="*/ 339725 h 666750"/>
                  <a:gd name="connsiteX59" fmla="*/ 609600 w 666750"/>
                  <a:gd name="connsiteY59" fmla="*/ 368300 h 666750"/>
                  <a:gd name="connsiteX60" fmla="*/ 606425 w 666750"/>
                  <a:gd name="connsiteY60" fmla="*/ 393700 h 666750"/>
                  <a:gd name="connsiteX61" fmla="*/ 600075 w 666750"/>
                  <a:gd name="connsiteY61" fmla="*/ 422275 h 666750"/>
                  <a:gd name="connsiteX62" fmla="*/ 647700 w 666750"/>
                  <a:gd name="connsiteY62" fmla="*/ 438150 h 666750"/>
                  <a:gd name="connsiteX63" fmla="*/ 638175 w 666750"/>
                  <a:gd name="connsiteY63" fmla="*/ 469900 h 666750"/>
                  <a:gd name="connsiteX64" fmla="*/ 622300 w 666750"/>
                  <a:gd name="connsiteY64" fmla="*/ 498475 h 666750"/>
                  <a:gd name="connsiteX65" fmla="*/ 603250 w 666750"/>
                  <a:gd name="connsiteY65" fmla="*/ 527050 h 666750"/>
                  <a:gd name="connsiteX66" fmla="*/ 584200 w 666750"/>
                  <a:gd name="connsiteY66" fmla="*/ 552450 h 666750"/>
                  <a:gd name="connsiteX67" fmla="*/ 542925 w 666750"/>
                  <a:gd name="connsiteY67" fmla="*/ 517525 h 666750"/>
                  <a:gd name="connsiteX68" fmla="*/ 523875 w 666750"/>
                  <a:gd name="connsiteY68" fmla="*/ 536575 h 666750"/>
                  <a:gd name="connsiteX69" fmla="*/ 504825 w 666750"/>
                  <a:gd name="connsiteY69" fmla="*/ 555625 h 666750"/>
                  <a:gd name="connsiteX70" fmla="*/ 482600 w 666750"/>
                  <a:gd name="connsiteY70" fmla="*/ 571500 h 666750"/>
                  <a:gd name="connsiteX71" fmla="*/ 457200 w 666750"/>
                  <a:gd name="connsiteY71" fmla="*/ 584200 h 666750"/>
                  <a:gd name="connsiteX72" fmla="*/ 482600 w 666750"/>
                  <a:gd name="connsiteY72" fmla="*/ 631825 h 666750"/>
                  <a:gd name="connsiteX73" fmla="*/ 454025 w 666750"/>
                  <a:gd name="connsiteY73" fmla="*/ 644525 h 666750"/>
                  <a:gd name="connsiteX74" fmla="*/ 425450 w 666750"/>
                  <a:gd name="connsiteY74" fmla="*/ 654050 h 666750"/>
                  <a:gd name="connsiteX75" fmla="*/ 396875 w 666750"/>
                  <a:gd name="connsiteY75" fmla="*/ 660400 h 666750"/>
                  <a:gd name="connsiteX76" fmla="*/ 368300 w 666750"/>
                  <a:gd name="connsiteY76" fmla="*/ 663575 h 666750"/>
                  <a:gd name="connsiteX77" fmla="*/ 355600 w 666750"/>
                  <a:gd name="connsiteY77" fmla="*/ 666750 h 666750"/>
                  <a:gd name="connsiteX78" fmla="*/ 352425 w 666750"/>
                  <a:gd name="connsiteY78" fmla="*/ 612775 h 666750"/>
                  <a:gd name="connsiteX79" fmla="*/ 333375 w 666750"/>
                  <a:gd name="connsiteY79" fmla="*/ 612775 h 666750"/>
                  <a:gd name="connsiteX80" fmla="*/ 288925 w 666750"/>
                  <a:gd name="connsiteY80" fmla="*/ 609600 h 666750"/>
                  <a:gd name="connsiteX81" fmla="*/ 244475 w 666750"/>
                  <a:gd name="connsiteY81" fmla="*/ 600075 h 666750"/>
                  <a:gd name="connsiteX82" fmla="*/ 225425 w 666750"/>
                  <a:gd name="connsiteY82" fmla="*/ 650875 h 666750"/>
                  <a:gd name="connsiteX83" fmla="*/ 196850 w 666750"/>
                  <a:gd name="connsiteY83" fmla="*/ 638175 h 666750"/>
                  <a:gd name="connsiteX84" fmla="*/ 165100 w 666750"/>
                  <a:gd name="connsiteY84" fmla="*/ 622300 h 666750"/>
                  <a:gd name="connsiteX85" fmla="*/ 139700 w 666750"/>
                  <a:gd name="connsiteY85" fmla="*/ 606425 h 666750"/>
                  <a:gd name="connsiteX86" fmla="*/ 114300 w 666750"/>
                  <a:gd name="connsiteY86" fmla="*/ 584200 h 666750"/>
                  <a:gd name="connsiteX87" fmla="*/ 149225 w 666750"/>
                  <a:gd name="connsiteY87" fmla="*/ 546100 h 666750"/>
                  <a:gd name="connsiteX88" fmla="*/ 127000 w 666750"/>
                  <a:gd name="connsiteY88" fmla="*/ 527050 h 666750"/>
                  <a:gd name="connsiteX89" fmla="*/ 111125 w 666750"/>
                  <a:gd name="connsiteY89" fmla="*/ 504825 h 666750"/>
                  <a:gd name="connsiteX90" fmla="*/ 95250 w 666750"/>
                  <a:gd name="connsiteY90" fmla="*/ 482600 h 666750"/>
                  <a:gd name="connsiteX91" fmla="*/ 82550 w 666750"/>
                  <a:gd name="connsiteY91" fmla="*/ 457200 h 666750"/>
                  <a:gd name="connsiteX92" fmla="*/ 34925 w 666750"/>
                  <a:gd name="connsiteY92" fmla="*/ 482600 h 666750"/>
                  <a:gd name="connsiteX93" fmla="*/ 22225 w 666750"/>
                  <a:gd name="connsiteY93" fmla="*/ 454025 h 666750"/>
                  <a:gd name="connsiteX94" fmla="*/ 9525 w 666750"/>
                  <a:gd name="connsiteY94" fmla="*/ 422275 h 666750"/>
                  <a:gd name="connsiteX95" fmla="*/ 3175 w 666750"/>
                  <a:gd name="connsiteY95" fmla="*/ 390525 h 666750"/>
                  <a:gd name="connsiteX96" fmla="*/ 0 w 666750"/>
                  <a:gd name="connsiteY96" fmla="*/ 355600 h 666750"/>
                  <a:gd name="connsiteX97" fmla="*/ 53975 w 666750"/>
                  <a:gd name="connsiteY97" fmla="*/ 352425 h 666750"/>
                  <a:gd name="connsiteX98" fmla="*/ 50800 w 666750"/>
                  <a:gd name="connsiteY98" fmla="*/ 327025 h 666750"/>
                  <a:gd name="connsiteX99" fmla="*/ 53975 w 666750"/>
                  <a:gd name="connsiteY99" fmla="*/ 298450 h 666750"/>
                  <a:gd name="connsiteX100" fmla="*/ 57150 w 666750"/>
                  <a:gd name="connsiteY100" fmla="*/ 273050 h 666750"/>
                  <a:gd name="connsiteX101" fmla="*/ 66675 w 666750"/>
                  <a:gd name="connsiteY101" fmla="*/ 244475 h 666750"/>
                  <a:gd name="connsiteX102" fmla="*/ 15875 w 666750"/>
                  <a:gd name="connsiteY102" fmla="*/ 228600 h 666750"/>
                  <a:gd name="connsiteX103" fmla="*/ 28575 w 666750"/>
                  <a:gd name="connsiteY103" fmla="*/ 196850 h 666750"/>
                  <a:gd name="connsiteX104" fmla="*/ 44450 w 666750"/>
                  <a:gd name="connsiteY104" fmla="*/ 168275 h 666750"/>
                  <a:gd name="connsiteX105" fmla="*/ 60325 w 666750"/>
                  <a:gd name="connsiteY105" fmla="*/ 139700 h 666750"/>
                  <a:gd name="connsiteX106" fmla="*/ 79375 w 666750"/>
                  <a:gd name="connsiteY106" fmla="*/ 114300 h 666750"/>
                  <a:gd name="connsiteX107" fmla="*/ 120650 w 666750"/>
                  <a:gd name="connsiteY107" fmla="*/ 149225 h 666750"/>
                  <a:gd name="connsiteX108" fmla="*/ 139700 w 666750"/>
                  <a:gd name="connsiteY108" fmla="*/ 130175 h 666750"/>
                  <a:gd name="connsiteX109" fmla="*/ 161925 w 666750"/>
                  <a:gd name="connsiteY109" fmla="*/ 111125 h 666750"/>
                  <a:gd name="connsiteX110" fmla="*/ 184150 w 666750"/>
                  <a:gd name="connsiteY110" fmla="*/ 95250 h 666750"/>
                  <a:gd name="connsiteX111" fmla="*/ 206375 w 666750"/>
                  <a:gd name="connsiteY111" fmla="*/ 82550 h 666750"/>
                  <a:gd name="connsiteX112" fmla="*/ 184150 w 666750"/>
                  <a:gd name="connsiteY112" fmla="*/ 34925 h 666750"/>
                  <a:gd name="connsiteX113" fmla="*/ 212725 w 666750"/>
                  <a:gd name="connsiteY113" fmla="*/ 22225 h 666750"/>
                  <a:gd name="connsiteX114" fmla="*/ 244475 w 666750"/>
                  <a:gd name="connsiteY114" fmla="*/ 12700 h 666750"/>
                  <a:gd name="connsiteX115" fmla="*/ 276225 w 666750"/>
                  <a:gd name="connsiteY115" fmla="*/ 3175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666750" h="666750">
                    <a:moveTo>
                      <a:pt x="314325" y="212725"/>
                    </a:moveTo>
                    <a:lnTo>
                      <a:pt x="295275" y="215900"/>
                    </a:lnTo>
                    <a:lnTo>
                      <a:pt x="279400" y="225425"/>
                    </a:lnTo>
                    <a:lnTo>
                      <a:pt x="260350" y="234950"/>
                    </a:lnTo>
                    <a:lnTo>
                      <a:pt x="247650" y="244475"/>
                    </a:lnTo>
                    <a:lnTo>
                      <a:pt x="234950" y="260350"/>
                    </a:lnTo>
                    <a:lnTo>
                      <a:pt x="225425" y="276225"/>
                    </a:lnTo>
                    <a:lnTo>
                      <a:pt x="215900" y="295275"/>
                    </a:lnTo>
                    <a:lnTo>
                      <a:pt x="212725" y="317500"/>
                    </a:lnTo>
                    <a:lnTo>
                      <a:pt x="209550" y="342900"/>
                    </a:lnTo>
                    <a:lnTo>
                      <a:pt x="215900" y="365125"/>
                    </a:lnTo>
                    <a:lnTo>
                      <a:pt x="222250" y="387350"/>
                    </a:lnTo>
                    <a:lnTo>
                      <a:pt x="234950" y="406400"/>
                    </a:lnTo>
                    <a:lnTo>
                      <a:pt x="250825" y="425450"/>
                    </a:lnTo>
                    <a:lnTo>
                      <a:pt x="269875" y="438150"/>
                    </a:lnTo>
                    <a:lnTo>
                      <a:pt x="295275" y="447675"/>
                    </a:lnTo>
                    <a:lnTo>
                      <a:pt x="314325" y="454025"/>
                    </a:lnTo>
                    <a:lnTo>
                      <a:pt x="333375" y="454025"/>
                    </a:lnTo>
                    <a:lnTo>
                      <a:pt x="349250" y="454025"/>
                    </a:lnTo>
                    <a:lnTo>
                      <a:pt x="368300" y="450850"/>
                    </a:lnTo>
                    <a:lnTo>
                      <a:pt x="393700" y="438150"/>
                    </a:lnTo>
                    <a:lnTo>
                      <a:pt x="415925" y="422275"/>
                    </a:lnTo>
                    <a:lnTo>
                      <a:pt x="434975" y="400050"/>
                    </a:lnTo>
                    <a:lnTo>
                      <a:pt x="441325" y="387350"/>
                    </a:lnTo>
                    <a:lnTo>
                      <a:pt x="447675" y="371475"/>
                    </a:lnTo>
                    <a:lnTo>
                      <a:pt x="454025" y="349250"/>
                    </a:lnTo>
                    <a:lnTo>
                      <a:pt x="454025" y="323850"/>
                    </a:lnTo>
                    <a:lnTo>
                      <a:pt x="450850" y="301625"/>
                    </a:lnTo>
                    <a:lnTo>
                      <a:pt x="441325" y="279400"/>
                    </a:lnTo>
                    <a:lnTo>
                      <a:pt x="428625" y="260350"/>
                    </a:lnTo>
                    <a:lnTo>
                      <a:pt x="412750" y="241300"/>
                    </a:lnTo>
                    <a:lnTo>
                      <a:pt x="393700" y="228600"/>
                    </a:lnTo>
                    <a:lnTo>
                      <a:pt x="371475" y="215900"/>
                    </a:lnTo>
                    <a:lnTo>
                      <a:pt x="368300" y="215900"/>
                    </a:lnTo>
                    <a:lnTo>
                      <a:pt x="349250" y="212725"/>
                    </a:lnTo>
                    <a:lnTo>
                      <a:pt x="333375" y="212725"/>
                    </a:lnTo>
                    <a:close/>
                    <a:moveTo>
                      <a:pt x="307975" y="0"/>
                    </a:moveTo>
                    <a:lnTo>
                      <a:pt x="311150" y="53975"/>
                    </a:lnTo>
                    <a:lnTo>
                      <a:pt x="333375" y="53975"/>
                    </a:lnTo>
                    <a:lnTo>
                      <a:pt x="368300" y="53975"/>
                    </a:lnTo>
                    <a:lnTo>
                      <a:pt x="393700" y="60325"/>
                    </a:lnTo>
                    <a:lnTo>
                      <a:pt x="422275" y="66675"/>
                    </a:lnTo>
                    <a:lnTo>
                      <a:pt x="438150" y="15875"/>
                    </a:lnTo>
                    <a:lnTo>
                      <a:pt x="469900" y="28575"/>
                    </a:lnTo>
                    <a:lnTo>
                      <a:pt x="498475" y="44450"/>
                    </a:lnTo>
                    <a:lnTo>
                      <a:pt x="527050" y="60325"/>
                    </a:lnTo>
                    <a:lnTo>
                      <a:pt x="552450" y="82550"/>
                    </a:lnTo>
                    <a:lnTo>
                      <a:pt x="517525" y="120650"/>
                    </a:lnTo>
                    <a:lnTo>
                      <a:pt x="536575" y="139700"/>
                    </a:lnTo>
                    <a:lnTo>
                      <a:pt x="555625" y="161925"/>
                    </a:lnTo>
                    <a:lnTo>
                      <a:pt x="571500" y="184150"/>
                    </a:lnTo>
                    <a:lnTo>
                      <a:pt x="584200" y="206375"/>
                    </a:lnTo>
                    <a:lnTo>
                      <a:pt x="631825" y="184150"/>
                    </a:lnTo>
                    <a:lnTo>
                      <a:pt x="644525" y="212725"/>
                    </a:lnTo>
                    <a:lnTo>
                      <a:pt x="654050" y="244475"/>
                    </a:lnTo>
                    <a:lnTo>
                      <a:pt x="660400" y="276225"/>
                    </a:lnTo>
                    <a:lnTo>
                      <a:pt x="666750" y="311150"/>
                    </a:lnTo>
                    <a:lnTo>
                      <a:pt x="612775" y="314325"/>
                    </a:lnTo>
                    <a:lnTo>
                      <a:pt x="612775" y="339725"/>
                    </a:lnTo>
                    <a:lnTo>
                      <a:pt x="609600" y="368300"/>
                    </a:lnTo>
                    <a:lnTo>
                      <a:pt x="606425" y="393700"/>
                    </a:lnTo>
                    <a:lnTo>
                      <a:pt x="600075" y="422275"/>
                    </a:lnTo>
                    <a:lnTo>
                      <a:pt x="647700" y="438150"/>
                    </a:lnTo>
                    <a:lnTo>
                      <a:pt x="638175" y="469900"/>
                    </a:lnTo>
                    <a:lnTo>
                      <a:pt x="622300" y="498475"/>
                    </a:lnTo>
                    <a:lnTo>
                      <a:pt x="603250" y="527050"/>
                    </a:lnTo>
                    <a:lnTo>
                      <a:pt x="584200" y="552450"/>
                    </a:lnTo>
                    <a:lnTo>
                      <a:pt x="542925" y="517525"/>
                    </a:lnTo>
                    <a:lnTo>
                      <a:pt x="523875" y="536575"/>
                    </a:lnTo>
                    <a:lnTo>
                      <a:pt x="504825" y="555625"/>
                    </a:lnTo>
                    <a:lnTo>
                      <a:pt x="482600" y="571500"/>
                    </a:lnTo>
                    <a:lnTo>
                      <a:pt x="457200" y="584200"/>
                    </a:lnTo>
                    <a:lnTo>
                      <a:pt x="482600" y="631825"/>
                    </a:lnTo>
                    <a:lnTo>
                      <a:pt x="454025" y="644525"/>
                    </a:lnTo>
                    <a:lnTo>
                      <a:pt x="425450" y="654050"/>
                    </a:lnTo>
                    <a:lnTo>
                      <a:pt x="396875" y="660400"/>
                    </a:lnTo>
                    <a:lnTo>
                      <a:pt x="368300" y="663575"/>
                    </a:lnTo>
                    <a:lnTo>
                      <a:pt x="355600" y="666750"/>
                    </a:lnTo>
                    <a:lnTo>
                      <a:pt x="352425" y="612775"/>
                    </a:lnTo>
                    <a:lnTo>
                      <a:pt x="333375" y="612775"/>
                    </a:lnTo>
                    <a:lnTo>
                      <a:pt x="288925" y="609600"/>
                    </a:lnTo>
                    <a:lnTo>
                      <a:pt x="244475" y="600075"/>
                    </a:lnTo>
                    <a:lnTo>
                      <a:pt x="225425" y="650875"/>
                    </a:lnTo>
                    <a:lnTo>
                      <a:pt x="196850" y="638175"/>
                    </a:lnTo>
                    <a:lnTo>
                      <a:pt x="165100" y="622300"/>
                    </a:lnTo>
                    <a:lnTo>
                      <a:pt x="139700" y="606425"/>
                    </a:lnTo>
                    <a:lnTo>
                      <a:pt x="114300" y="584200"/>
                    </a:lnTo>
                    <a:lnTo>
                      <a:pt x="149225" y="546100"/>
                    </a:lnTo>
                    <a:lnTo>
                      <a:pt x="127000" y="527050"/>
                    </a:lnTo>
                    <a:lnTo>
                      <a:pt x="111125" y="504825"/>
                    </a:lnTo>
                    <a:lnTo>
                      <a:pt x="95250" y="482600"/>
                    </a:lnTo>
                    <a:lnTo>
                      <a:pt x="82550" y="457200"/>
                    </a:lnTo>
                    <a:lnTo>
                      <a:pt x="34925" y="482600"/>
                    </a:lnTo>
                    <a:lnTo>
                      <a:pt x="22225" y="454025"/>
                    </a:lnTo>
                    <a:lnTo>
                      <a:pt x="9525" y="422275"/>
                    </a:lnTo>
                    <a:lnTo>
                      <a:pt x="3175" y="390525"/>
                    </a:lnTo>
                    <a:lnTo>
                      <a:pt x="0" y="355600"/>
                    </a:lnTo>
                    <a:lnTo>
                      <a:pt x="53975" y="352425"/>
                    </a:lnTo>
                    <a:lnTo>
                      <a:pt x="50800" y="327025"/>
                    </a:lnTo>
                    <a:lnTo>
                      <a:pt x="53975" y="298450"/>
                    </a:lnTo>
                    <a:lnTo>
                      <a:pt x="57150" y="273050"/>
                    </a:lnTo>
                    <a:lnTo>
                      <a:pt x="66675" y="244475"/>
                    </a:lnTo>
                    <a:lnTo>
                      <a:pt x="15875" y="228600"/>
                    </a:lnTo>
                    <a:lnTo>
                      <a:pt x="28575" y="196850"/>
                    </a:lnTo>
                    <a:lnTo>
                      <a:pt x="44450" y="168275"/>
                    </a:lnTo>
                    <a:lnTo>
                      <a:pt x="60325" y="139700"/>
                    </a:lnTo>
                    <a:lnTo>
                      <a:pt x="79375" y="114300"/>
                    </a:lnTo>
                    <a:lnTo>
                      <a:pt x="120650" y="149225"/>
                    </a:lnTo>
                    <a:lnTo>
                      <a:pt x="139700" y="130175"/>
                    </a:lnTo>
                    <a:lnTo>
                      <a:pt x="161925" y="111125"/>
                    </a:lnTo>
                    <a:lnTo>
                      <a:pt x="184150" y="95250"/>
                    </a:lnTo>
                    <a:lnTo>
                      <a:pt x="206375" y="82550"/>
                    </a:lnTo>
                    <a:lnTo>
                      <a:pt x="184150" y="34925"/>
                    </a:lnTo>
                    <a:lnTo>
                      <a:pt x="212725" y="22225"/>
                    </a:lnTo>
                    <a:lnTo>
                      <a:pt x="244475" y="12700"/>
                    </a:lnTo>
                    <a:lnTo>
                      <a:pt x="276225" y="3175"/>
                    </a:lnTo>
                    <a:close/>
                  </a:path>
                </a:pathLst>
              </a:custGeom>
              <a:solidFill>
                <a:srgbClr val="FAB0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7" name="Freeform 87">
                <a:extLst>
                  <a:ext uri="{FF2B5EF4-FFF2-40B4-BE49-F238E27FC236}">
                    <a16:creationId xmlns:a16="http://schemas.microsoft.com/office/drawing/2014/main" id="{4DD8C546-FCDE-412A-B00E-F58A6E38AD1C}"/>
                  </a:ext>
                </a:extLst>
              </p:cNvPr>
              <p:cNvSpPr>
                <a:spLocks/>
              </p:cNvSpPr>
              <p:nvPr/>
            </p:nvSpPr>
            <p:spPr bwMode="auto">
              <a:xfrm>
                <a:off x="2041525" y="2613025"/>
                <a:ext cx="765175" cy="765175"/>
              </a:xfrm>
              <a:custGeom>
                <a:avLst/>
                <a:gdLst>
                  <a:gd name="connsiteX0" fmla="*/ 371475 w 765175"/>
                  <a:gd name="connsiteY0" fmla="*/ 225425 h 765175"/>
                  <a:gd name="connsiteX1" fmla="*/ 339725 w 765175"/>
                  <a:gd name="connsiteY1" fmla="*/ 231775 h 765175"/>
                  <a:gd name="connsiteX2" fmla="*/ 307975 w 765175"/>
                  <a:gd name="connsiteY2" fmla="*/ 241300 h 765175"/>
                  <a:gd name="connsiteX3" fmla="*/ 282575 w 765175"/>
                  <a:gd name="connsiteY3" fmla="*/ 260350 h 765175"/>
                  <a:gd name="connsiteX4" fmla="*/ 260350 w 765175"/>
                  <a:gd name="connsiteY4" fmla="*/ 285750 h 765175"/>
                  <a:gd name="connsiteX5" fmla="*/ 241300 w 765175"/>
                  <a:gd name="connsiteY5" fmla="*/ 311150 h 765175"/>
                  <a:gd name="connsiteX6" fmla="*/ 231775 w 765175"/>
                  <a:gd name="connsiteY6" fmla="*/ 342900 h 765175"/>
                  <a:gd name="connsiteX7" fmla="*/ 225425 w 765175"/>
                  <a:gd name="connsiteY7" fmla="*/ 374650 h 765175"/>
                  <a:gd name="connsiteX8" fmla="*/ 228600 w 765175"/>
                  <a:gd name="connsiteY8" fmla="*/ 406400 h 765175"/>
                  <a:gd name="connsiteX9" fmla="*/ 234950 w 765175"/>
                  <a:gd name="connsiteY9" fmla="*/ 434975 h 765175"/>
                  <a:gd name="connsiteX10" fmla="*/ 247650 w 765175"/>
                  <a:gd name="connsiteY10" fmla="*/ 463550 h 765175"/>
                  <a:gd name="connsiteX11" fmla="*/ 266700 w 765175"/>
                  <a:gd name="connsiteY11" fmla="*/ 485775 h 765175"/>
                  <a:gd name="connsiteX12" fmla="*/ 288925 w 765175"/>
                  <a:gd name="connsiteY12" fmla="*/ 508000 h 765175"/>
                  <a:gd name="connsiteX13" fmla="*/ 314325 w 765175"/>
                  <a:gd name="connsiteY13" fmla="*/ 523875 h 765175"/>
                  <a:gd name="connsiteX14" fmla="*/ 342900 w 765175"/>
                  <a:gd name="connsiteY14" fmla="*/ 533400 h 765175"/>
                  <a:gd name="connsiteX15" fmla="*/ 346075 w 765175"/>
                  <a:gd name="connsiteY15" fmla="*/ 533400 h 765175"/>
                  <a:gd name="connsiteX16" fmla="*/ 371475 w 765175"/>
                  <a:gd name="connsiteY16" fmla="*/ 539750 h 765175"/>
                  <a:gd name="connsiteX17" fmla="*/ 396875 w 765175"/>
                  <a:gd name="connsiteY17" fmla="*/ 539750 h 765175"/>
                  <a:gd name="connsiteX18" fmla="*/ 419100 w 765175"/>
                  <a:gd name="connsiteY18" fmla="*/ 533400 h 765175"/>
                  <a:gd name="connsiteX19" fmla="*/ 444500 w 765175"/>
                  <a:gd name="connsiteY19" fmla="*/ 527050 h 765175"/>
                  <a:gd name="connsiteX20" fmla="*/ 466725 w 765175"/>
                  <a:gd name="connsiteY20" fmla="*/ 517525 h 765175"/>
                  <a:gd name="connsiteX21" fmla="*/ 485775 w 765175"/>
                  <a:gd name="connsiteY21" fmla="*/ 501650 h 765175"/>
                  <a:gd name="connsiteX22" fmla="*/ 501650 w 765175"/>
                  <a:gd name="connsiteY22" fmla="*/ 485775 h 765175"/>
                  <a:gd name="connsiteX23" fmla="*/ 517525 w 765175"/>
                  <a:gd name="connsiteY23" fmla="*/ 466725 h 765175"/>
                  <a:gd name="connsiteX24" fmla="*/ 527050 w 765175"/>
                  <a:gd name="connsiteY24" fmla="*/ 444500 h 765175"/>
                  <a:gd name="connsiteX25" fmla="*/ 536575 w 765175"/>
                  <a:gd name="connsiteY25" fmla="*/ 419100 h 765175"/>
                  <a:gd name="connsiteX26" fmla="*/ 539750 w 765175"/>
                  <a:gd name="connsiteY26" fmla="*/ 387350 h 765175"/>
                  <a:gd name="connsiteX27" fmla="*/ 539750 w 765175"/>
                  <a:gd name="connsiteY27" fmla="*/ 355600 h 765175"/>
                  <a:gd name="connsiteX28" fmla="*/ 530225 w 765175"/>
                  <a:gd name="connsiteY28" fmla="*/ 327025 h 765175"/>
                  <a:gd name="connsiteX29" fmla="*/ 517525 w 765175"/>
                  <a:gd name="connsiteY29" fmla="*/ 298450 h 765175"/>
                  <a:gd name="connsiteX30" fmla="*/ 498475 w 765175"/>
                  <a:gd name="connsiteY30" fmla="*/ 276225 h 765175"/>
                  <a:gd name="connsiteX31" fmla="*/ 476250 w 765175"/>
                  <a:gd name="connsiteY31" fmla="*/ 254000 h 765175"/>
                  <a:gd name="connsiteX32" fmla="*/ 450850 w 765175"/>
                  <a:gd name="connsiteY32" fmla="*/ 238125 h 765175"/>
                  <a:gd name="connsiteX33" fmla="*/ 419100 w 765175"/>
                  <a:gd name="connsiteY33" fmla="*/ 228600 h 765175"/>
                  <a:gd name="connsiteX34" fmla="*/ 393700 w 765175"/>
                  <a:gd name="connsiteY34" fmla="*/ 225425 h 765175"/>
                  <a:gd name="connsiteX35" fmla="*/ 323850 w 765175"/>
                  <a:gd name="connsiteY35" fmla="*/ 0 h 765175"/>
                  <a:gd name="connsiteX36" fmla="*/ 333375 w 765175"/>
                  <a:gd name="connsiteY36" fmla="*/ 60325 h 765175"/>
                  <a:gd name="connsiteX37" fmla="*/ 355600 w 765175"/>
                  <a:gd name="connsiteY37" fmla="*/ 57150 h 765175"/>
                  <a:gd name="connsiteX38" fmla="*/ 381000 w 765175"/>
                  <a:gd name="connsiteY38" fmla="*/ 57150 h 765175"/>
                  <a:gd name="connsiteX39" fmla="*/ 406400 w 765175"/>
                  <a:gd name="connsiteY39" fmla="*/ 57150 h 765175"/>
                  <a:gd name="connsiteX40" fmla="*/ 434975 w 765175"/>
                  <a:gd name="connsiteY40" fmla="*/ 60325 h 765175"/>
                  <a:gd name="connsiteX41" fmla="*/ 460375 w 765175"/>
                  <a:gd name="connsiteY41" fmla="*/ 66675 h 765175"/>
                  <a:gd name="connsiteX42" fmla="*/ 476250 w 765175"/>
                  <a:gd name="connsiteY42" fmla="*/ 6350 h 765175"/>
                  <a:gd name="connsiteX43" fmla="*/ 511175 w 765175"/>
                  <a:gd name="connsiteY43" fmla="*/ 15875 h 765175"/>
                  <a:gd name="connsiteX44" fmla="*/ 546100 w 765175"/>
                  <a:gd name="connsiteY44" fmla="*/ 31750 h 765175"/>
                  <a:gd name="connsiteX45" fmla="*/ 581025 w 765175"/>
                  <a:gd name="connsiteY45" fmla="*/ 47625 h 765175"/>
                  <a:gd name="connsiteX46" fmla="*/ 612775 w 765175"/>
                  <a:gd name="connsiteY46" fmla="*/ 69850 h 765175"/>
                  <a:gd name="connsiteX47" fmla="*/ 574675 w 765175"/>
                  <a:gd name="connsiteY47" fmla="*/ 117475 h 765175"/>
                  <a:gd name="connsiteX48" fmla="*/ 600075 w 765175"/>
                  <a:gd name="connsiteY48" fmla="*/ 139700 h 765175"/>
                  <a:gd name="connsiteX49" fmla="*/ 622300 w 765175"/>
                  <a:gd name="connsiteY49" fmla="*/ 161925 h 765175"/>
                  <a:gd name="connsiteX50" fmla="*/ 644525 w 765175"/>
                  <a:gd name="connsiteY50" fmla="*/ 187325 h 765175"/>
                  <a:gd name="connsiteX51" fmla="*/ 660400 w 765175"/>
                  <a:gd name="connsiteY51" fmla="*/ 212725 h 765175"/>
                  <a:gd name="connsiteX52" fmla="*/ 714375 w 765175"/>
                  <a:gd name="connsiteY52" fmla="*/ 180975 h 765175"/>
                  <a:gd name="connsiteX53" fmla="*/ 730250 w 765175"/>
                  <a:gd name="connsiteY53" fmla="*/ 212725 h 765175"/>
                  <a:gd name="connsiteX54" fmla="*/ 746125 w 765175"/>
                  <a:gd name="connsiteY54" fmla="*/ 247650 h 765175"/>
                  <a:gd name="connsiteX55" fmla="*/ 758825 w 765175"/>
                  <a:gd name="connsiteY55" fmla="*/ 285750 h 765175"/>
                  <a:gd name="connsiteX56" fmla="*/ 765175 w 765175"/>
                  <a:gd name="connsiteY56" fmla="*/ 323850 h 765175"/>
                  <a:gd name="connsiteX57" fmla="*/ 704850 w 765175"/>
                  <a:gd name="connsiteY57" fmla="*/ 330200 h 765175"/>
                  <a:gd name="connsiteX58" fmla="*/ 708025 w 765175"/>
                  <a:gd name="connsiteY58" fmla="*/ 361950 h 765175"/>
                  <a:gd name="connsiteX59" fmla="*/ 708025 w 765175"/>
                  <a:gd name="connsiteY59" fmla="*/ 393700 h 765175"/>
                  <a:gd name="connsiteX60" fmla="*/ 704850 w 765175"/>
                  <a:gd name="connsiteY60" fmla="*/ 425450 h 765175"/>
                  <a:gd name="connsiteX61" fmla="*/ 698500 w 765175"/>
                  <a:gd name="connsiteY61" fmla="*/ 457200 h 765175"/>
                  <a:gd name="connsiteX62" fmla="*/ 758825 w 765175"/>
                  <a:gd name="connsiteY62" fmla="*/ 473075 h 765175"/>
                  <a:gd name="connsiteX63" fmla="*/ 749300 w 765175"/>
                  <a:gd name="connsiteY63" fmla="*/ 511175 h 765175"/>
                  <a:gd name="connsiteX64" fmla="*/ 733425 w 765175"/>
                  <a:gd name="connsiteY64" fmla="*/ 546100 h 765175"/>
                  <a:gd name="connsiteX65" fmla="*/ 717550 w 765175"/>
                  <a:gd name="connsiteY65" fmla="*/ 577850 h 765175"/>
                  <a:gd name="connsiteX66" fmla="*/ 695325 w 765175"/>
                  <a:gd name="connsiteY66" fmla="*/ 609600 h 765175"/>
                  <a:gd name="connsiteX67" fmla="*/ 644525 w 765175"/>
                  <a:gd name="connsiteY67" fmla="*/ 574675 h 765175"/>
                  <a:gd name="connsiteX68" fmla="*/ 625475 w 765175"/>
                  <a:gd name="connsiteY68" fmla="*/ 600075 h 765175"/>
                  <a:gd name="connsiteX69" fmla="*/ 603250 w 765175"/>
                  <a:gd name="connsiteY69" fmla="*/ 622300 h 765175"/>
                  <a:gd name="connsiteX70" fmla="*/ 577850 w 765175"/>
                  <a:gd name="connsiteY70" fmla="*/ 641350 h 765175"/>
                  <a:gd name="connsiteX71" fmla="*/ 552450 w 765175"/>
                  <a:gd name="connsiteY71" fmla="*/ 660400 h 765175"/>
                  <a:gd name="connsiteX72" fmla="*/ 584200 w 765175"/>
                  <a:gd name="connsiteY72" fmla="*/ 711200 h 765175"/>
                  <a:gd name="connsiteX73" fmla="*/ 552450 w 765175"/>
                  <a:gd name="connsiteY73" fmla="*/ 730250 h 765175"/>
                  <a:gd name="connsiteX74" fmla="*/ 517525 w 765175"/>
                  <a:gd name="connsiteY74" fmla="*/ 746125 h 765175"/>
                  <a:gd name="connsiteX75" fmla="*/ 479425 w 765175"/>
                  <a:gd name="connsiteY75" fmla="*/ 755650 h 765175"/>
                  <a:gd name="connsiteX76" fmla="*/ 441325 w 765175"/>
                  <a:gd name="connsiteY76" fmla="*/ 765175 h 765175"/>
                  <a:gd name="connsiteX77" fmla="*/ 431800 w 765175"/>
                  <a:gd name="connsiteY77" fmla="*/ 704850 h 765175"/>
                  <a:gd name="connsiteX78" fmla="*/ 409575 w 765175"/>
                  <a:gd name="connsiteY78" fmla="*/ 704850 h 765175"/>
                  <a:gd name="connsiteX79" fmla="*/ 361950 w 765175"/>
                  <a:gd name="connsiteY79" fmla="*/ 704850 h 765175"/>
                  <a:gd name="connsiteX80" fmla="*/ 333375 w 765175"/>
                  <a:gd name="connsiteY80" fmla="*/ 704850 h 765175"/>
                  <a:gd name="connsiteX81" fmla="*/ 304800 w 765175"/>
                  <a:gd name="connsiteY81" fmla="*/ 698500 h 765175"/>
                  <a:gd name="connsiteX82" fmla="*/ 292100 w 765175"/>
                  <a:gd name="connsiteY82" fmla="*/ 758825 h 765175"/>
                  <a:gd name="connsiteX83" fmla="*/ 254000 w 765175"/>
                  <a:gd name="connsiteY83" fmla="*/ 746125 h 765175"/>
                  <a:gd name="connsiteX84" fmla="*/ 219075 w 765175"/>
                  <a:gd name="connsiteY84" fmla="*/ 733425 h 765175"/>
                  <a:gd name="connsiteX85" fmla="*/ 187325 w 765175"/>
                  <a:gd name="connsiteY85" fmla="*/ 714375 h 765175"/>
                  <a:gd name="connsiteX86" fmla="*/ 155575 w 765175"/>
                  <a:gd name="connsiteY86" fmla="*/ 695325 h 765175"/>
                  <a:gd name="connsiteX87" fmla="*/ 190500 w 765175"/>
                  <a:gd name="connsiteY87" fmla="*/ 644525 h 765175"/>
                  <a:gd name="connsiteX88" fmla="*/ 165100 w 765175"/>
                  <a:gd name="connsiteY88" fmla="*/ 625475 h 765175"/>
                  <a:gd name="connsiteX89" fmla="*/ 142875 w 765175"/>
                  <a:gd name="connsiteY89" fmla="*/ 600075 h 765175"/>
                  <a:gd name="connsiteX90" fmla="*/ 123825 w 765175"/>
                  <a:gd name="connsiteY90" fmla="*/ 577850 h 765175"/>
                  <a:gd name="connsiteX91" fmla="*/ 104775 w 765175"/>
                  <a:gd name="connsiteY91" fmla="*/ 549275 h 765175"/>
                  <a:gd name="connsiteX92" fmla="*/ 53975 w 765175"/>
                  <a:gd name="connsiteY92" fmla="*/ 584200 h 765175"/>
                  <a:gd name="connsiteX93" fmla="*/ 34925 w 765175"/>
                  <a:gd name="connsiteY93" fmla="*/ 549275 h 765175"/>
                  <a:gd name="connsiteX94" fmla="*/ 19050 w 765175"/>
                  <a:gd name="connsiteY94" fmla="*/ 514350 h 765175"/>
                  <a:gd name="connsiteX95" fmla="*/ 9525 w 765175"/>
                  <a:gd name="connsiteY95" fmla="*/ 479425 h 765175"/>
                  <a:gd name="connsiteX96" fmla="*/ 0 w 765175"/>
                  <a:gd name="connsiteY96" fmla="*/ 441325 h 765175"/>
                  <a:gd name="connsiteX97" fmla="*/ 60325 w 765175"/>
                  <a:gd name="connsiteY97" fmla="*/ 431800 h 765175"/>
                  <a:gd name="connsiteX98" fmla="*/ 57150 w 765175"/>
                  <a:gd name="connsiteY98" fmla="*/ 400050 h 765175"/>
                  <a:gd name="connsiteX99" fmla="*/ 57150 w 765175"/>
                  <a:gd name="connsiteY99" fmla="*/ 368300 h 765175"/>
                  <a:gd name="connsiteX100" fmla="*/ 60325 w 765175"/>
                  <a:gd name="connsiteY100" fmla="*/ 336550 h 765175"/>
                  <a:gd name="connsiteX101" fmla="*/ 66675 w 765175"/>
                  <a:gd name="connsiteY101" fmla="*/ 304800 h 765175"/>
                  <a:gd name="connsiteX102" fmla="*/ 6350 w 765175"/>
                  <a:gd name="connsiteY102" fmla="*/ 288925 h 765175"/>
                  <a:gd name="connsiteX103" fmla="*/ 19050 w 765175"/>
                  <a:gd name="connsiteY103" fmla="*/ 254000 h 765175"/>
                  <a:gd name="connsiteX104" fmla="*/ 31750 w 765175"/>
                  <a:gd name="connsiteY104" fmla="*/ 219075 h 765175"/>
                  <a:gd name="connsiteX105" fmla="*/ 50800 w 765175"/>
                  <a:gd name="connsiteY105" fmla="*/ 184150 h 765175"/>
                  <a:gd name="connsiteX106" fmla="*/ 69850 w 765175"/>
                  <a:gd name="connsiteY106" fmla="*/ 152400 h 765175"/>
                  <a:gd name="connsiteX107" fmla="*/ 120650 w 765175"/>
                  <a:gd name="connsiteY107" fmla="*/ 190500 h 765175"/>
                  <a:gd name="connsiteX108" fmla="*/ 139700 w 765175"/>
                  <a:gd name="connsiteY108" fmla="*/ 165100 h 765175"/>
                  <a:gd name="connsiteX109" fmla="*/ 161925 w 765175"/>
                  <a:gd name="connsiteY109" fmla="*/ 142875 h 765175"/>
                  <a:gd name="connsiteX110" fmla="*/ 187325 w 765175"/>
                  <a:gd name="connsiteY110" fmla="*/ 120650 h 765175"/>
                  <a:gd name="connsiteX111" fmla="*/ 212725 w 765175"/>
                  <a:gd name="connsiteY111" fmla="*/ 104775 h 765175"/>
                  <a:gd name="connsiteX112" fmla="*/ 180975 w 765175"/>
                  <a:gd name="connsiteY112" fmla="*/ 50800 h 765175"/>
                  <a:gd name="connsiteX113" fmla="*/ 206375 w 765175"/>
                  <a:gd name="connsiteY113" fmla="*/ 38100 h 765175"/>
                  <a:gd name="connsiteX114" fmla="*/ 231775 w 765175"/>
                  <a:gd name="connsiteY114" fmla="*/ 25400 h 765175"/>
                  <a:gd name="connsiteX115" fmla="*/ 257175 w 765175"/>
                  <a:gd name="connsiteY115" fmla="*/ 15875 h 765175"/>
                  <a:gd name="connsiteX116" fmla="*/ 282575 w 765175"/>
                  <a:gd name="connsiteY116" fmla="*/ 9525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765175" h="765175">
                    <a:moveTo>
                      <a:pt x="371475" y="225425"/>
                    </a:moveTo>
                    <a:lnTo>
                      <a:pt x="339725" y="231775"/>
                    </a:lnTo>
                    <a:lnTo>
                      <a:pt x="307975" y="241300"/>
                    </a:lnTo>
                    <a:lnTo>
                      <a:pt x="282575" y="260350"/>
                    </a:lnTo>
                    <a:lnTo>
                      <a:pt x="260350" y="285750"/>
                    </a:lnTo>
                    <a:lnTo>
                      <a:pt x="241300" y="311150"/>
                    </a:lnTo>
                    <a:lnTo>
                      <a:pt x="231775" y="342900"/>
                    </a:lnTo>
                    <a:lnTo>
                      <a:pt x="225425" y="374650"/>
                    </a:lnTo>
                    <a:lnTo>
                      <a:pt x="228600" y="406400"/>
                    </a:lnTo>
                    <a:lnTo>
                      <a:pt x="234950" y="434975"/>
                    </a:lnTo>
                    <a:lnTo>
                      <a:pt x="247650" y="463550"/>
                    </a:lnTo>
                    <a:lnTo>
                      <a:pt x="266700" y="485775"/>
                    </a:lnTo>
                    <a:lnTo>
                      <a:pt x="288925" y="508000"/>
                    </a:lnTo>
                    <a:lnTo>
                      <a:pt x="314325" y="523875"/>
                    </a:lnTo>
                    <a:lnTo>
                      <a:pt x="342900" y="533400"/>
                    </a:lnTo>
                    <a:lnTo>
                      <a:pt x="346075" y="533400"/>
                    </a:lnTo>
                    <a:lnTo>
                      <a:pt x="371475" y="539750"/>
                    </a:lnTo>
                    <a:lnTo>
                      <a:pt x="396875" y="539750"/>
                    </a:lnTo>
                    <a:lnTo>
                      <a:pt x="419100" y="533400"/>
                    </a:lnTo>
                    <a:lnTo>
                      <a:pt x="444500" y="527050"/>
                    </a:lnTo>
                    <a:lnTo>
                      <a:pt x="466725" y="517525"/>
                    </a:lnTo>
                    <a:lnTo>
                      <a:pt x="485775" y="501650"/>
                    </a:lnTo>
                    <a:lnTo>
                      <a:pt x="501650" y="485775"/>
                    </a:lnTo>
                    <a:lnTo>
                      <a:pt x="517525" y="466725"/>
                    </a:lnTo>
                    <a:lnTo>
                      <a:pt x="527050" y="444500"/>
                    </a:lnTo>
                    <a:lnTo>
                      <a:pt x="536575" y="419100"/>
                    </a:lnTo>
                    <a:lnTo>
                      <a:pt x="539750" y="387350"/>
                    </a:lnTo>
                    <a:lnTo>
                      <a:pt x="539750" y="355600"/>
                    </a:lnTo>
                    <a:lnTo>
                      <a:pt x="530225" y="327025"/>
                    </a:lnTo>
                    <a:lnTo>
                      <a:pt x="517525" y="298450"/>
                    </a:lnTo>
                    <a:lnTo>
                      <a:pt x="498475" y="276225"/>
                    </a:lnTo>
                    <a:lnTo>
                      <a:pt x="476250" y="254000"/>
                    </a:lnTo>
                    <a:lnTo>
                      <a:pt x="450850" y="238125"/>
                    </a:lnTo>
                    <a:lnTo>
                      <a:pt x="419100" y="228600"/>
                    </a:lnTo>
                    <a:lnTo>
                      <a:pt x="393700" y="225425"/>
                    </a:lnTo>
                    <a:close/>
                    <a:moveTo>
                      <a:pt x="323850" y="0"/>
                    </a:moveTo>
                    <a:lnTo>
                      <a:pt x="333375" y="60325"/>
                    </a:lnTo>
                    <a:lnTo>
                      <a:pt x="355600" y="57150"/>
                    </a:lnTo>
                    <a:lnTo>
                      <a:pt x="381000" y="57150"/>
                    </a:lnTo>
                    <a:lnTo>
                      <a:pt x="406400" y="57150"/>
                    </a:lnTo>
                    <a:lnTo>
                      <a:pt x="434975" y="60325"/>
                    </a:lnTo>
                    <a:lnTo>
                      <a:pt x="460375" y="66675"/>
                    </a:lnTo>
                    <a:lnTo>
                      <a:pt x="476250" y="6350"/>
                    </a:lnTo>
                    <a:lnTo>
                      <a:pt x="511175" y="15875"/>
                    </a:lnTo>
                    <a:lnTo>
                      <a:pt x="546100" y="31750"/>
                    </a:lnTo>
                    <a:lnTo>
                      <a:pt x="581025" y="47625"/>
                    </a:lnTo>
                    <a:lnTo>
                      <a:pt x="612775" y="69850"/>
                    </a:lnTo>
                    <a:lnTo>
                      <a:pt x="574675" y="117475"/>
                    </a:lnTo>
                    <a:lnTo>
                      <a:pt x="600075" y="139700"/>
                    </a:lnTo>
                    <a:lnTo>
                      <a:pt x="622300" y="161925"/>
                    </a:lnTo>
                    <a:lnTo>
                      <a:pt x="644525" y="187325"/>
                    </a:lnTo>
                    <a:lnTo>
                      <a:pt x="660400" y="212725"/>
                    </a:lnTo>
                    <a:lnTo>
                      <a:pt x="714375" y="180975"/>
                    </a:lnTo>
                    <a:lnTo>
                      <a:pt x="730250" y="212725"/>
                    </a:lnTo>
                    <a:lnTo>
                      <a:pt x="746125" y="247650"/>
                    </a:lnTo>
                    <a:lnTo>
                      <a:pt x="758825" y="285750"/>
                    </a:lnTo>
                    <a:lnTo>
                      <a:pt x="765175" y="323850"/>
                    </a:lnTo>
                    <a:lnTo>
                      <a:pt x="704850" y="330200"/>
                    </a:lnTo>
                    <a:lnTo>
                      <a:pt x="708025" y="361950"/>
                    </a:lnTo>
                    <a:lnTo>
                      <a:pt x="708025" y="393700"/>
                    </a:lnTo>
                    <a:lnTo>
                      <a:pt x="704850" y="425450"/>
                    </a:lnTo>
                    <a:lnTo>
                      <a:pt x="698500" y="457200"/>
                    </a:lnTo>
                    <a:lnTo>
                      <a:pt x="758825" y="473075"/>
                    </a:lnTo>
                    <a:lnTo>
                      <a:pt x="749300" y="511175"/>
                    </a:lnTo>
                    <a:lnTo>
                      <a:pt x="733425" y="546100"/>
                    </a:lnTo>
                    <a:lnTo>
                      <a:pt x="717550" y="577850"/>
                    </a:lnTo>
                    <a:lnTo>
                      <a:pt x="695325" y="609600"/>
                    </a:lnTo>
                    <a:lnTo>
                      <a:pt x="644525" y="574675"/>
                    </a:lnTo>
                    <a:lnTo>
                      <a:pt x="625475" y="600075"/>
                    </a:lnTo>
                    <a:lnTo>
                      <a:pt x="603250" y="622300"/>
                    </a:lnTo>
                    <a:lnTo>
                      <a:pt x="577850" y="641350"/>
                    </a:lnTo>
                    <a:lnTo>
                      <a:pt x="552450" y="660400"/>
                    </a:lnTo>
                    <a:lnTo>
                      <a:pt x="584200" y="711200"/>
                    </a:lnTo>
                    <a:lnTo>
                      <a:pt x="552450" y="730250"/>
                    </a:lnTo>
                    <a:lnTo>
                      <a:pt x="517525" y="746125"/>
                    </a:lnTo>
                    <a:lnTo>
                      <a:pt x="479425" y="755650"/>
                    </a:lnTo>
                    <a:lnTo>
                      <a:pt x="441325" y="765175"/>
                    </a:lnTo>
                    <a:lnTo>
                      <a:pt x="431800" y="704850"/>
                    </a:lnTo>
                    <a:lnTo>
                      <a:pt x="409575" y="704850"/>
                    </a:lnTo>
                    <a:lnTo>
                      <a:pt x="361950" y="704850"/>
                    </a:lnTo>
                    <a:lnTo>
                      <a:pt x="333375" y="704850"/>
                    </a:lnTo>
                    <a:lnTo>
                      <a:pt x="304800" y="698500"/>
                    </a:lnTo>
                    <a:lnTo>
                      <a:pt x="292100" y="758825"/>
                    </a:lnTo>
                    <a:lnTo>
                      <a:pt x="254000" y="746125"/>
                    </a:lnTo>
                    <a:lnTo>
                      <a:pt x="219075" y="733425"/>
                    </a:lnTo>
                    <a:lnTo>
                      <a:pt x="187325" y="714375"/>
                    </a:lnTo>
                    <a:lnTo>
                      <a:pt x="155575" y="695325"/>
                    </a:lnTo>
                    <a:lnTo>
                      <a:pt x="190500" y="644525"/>
                    </a:lnTo>
                    <a:lnTo>
                      <a:pt x="165100" y="625475"/>
                    </a:lnTo>
                    <a:lnTo>
                      <a:pt x="142875" y="600075"/>
                    </a:lnTo>
                    <a:lnTo>
                      <a:pt x="123825" y="577850"/>
                    </a:lnTo>
                    <a:lnTo>
                      <a:pt x="104775" y="549275"/>
                    </a:lnTo>
                    <a:lnTo>
                      <a:pt x="53975" y="584200"/>
                    </a:lnTo>
                    <a:lnTo>
                      <a:pt x="34925" y="549275"/>
                    </a:lnTo>
                    <a:lnTo>
                      <a:pt x="19050" y="514350"/>
                    </a:lnTo>
                    <a:lnTo>
                      <a:pt x="9525" y="479425"/>
                    </a:lnTo>
                    <a:lnTo>
                      <a:pt x="0" y="441325"/>
                    </a:lnTo>
                    <a:lnTo>
                      <a:pt x="60325" y="431800"/>
                    </a:lnTo>
                    <a:lnTo>
                      <a:pt x="57150" y="400050"/>
                    </a:lnTo>
                    <a:lnTo>
                      <a:pt x="57150" y="368300"/>
                    </a:lnTo>
                    <a:lnTo>
                      <a:pt x="60325" y="336550"/>
                    </a:lnTo>
                    <a:lnTo>
                      <a:pt x="66675" y="304800"/>
                    </a:lnTo>
                    <a:lnTo>
                      <a:pt x="6350" y="288925"/>
                    </a:lnTo>
                    <a:lnTo>
                      <a:pt x="19050" y="254000"/>
                    </a:lnTo>
                    <a:lnTo>
                      <a:pt x="31750" y="219075"/>
                    </a:lnTo>
                    <a:lnTo>
                      <a:pt x="50800" y="184150"/>
                    </a:lnTo>
                    <a:lnTo>
                      <a:pt x="69850" y="152400"/>
                    </a:lnTo>
                    <a:lnTo>
                      <a:pt x="120650" y="190500"/>
                    </a:lnTo>
                    <a:lnTo>
                      <a:pt x="139700" y="165100"/>
                    </a:lnTo>
                    <a:lnTo>
                      <a:pt x="161925" y="142875"/>
                    </a:lnTo>
                    <a:lnTo>
                      <a:pt x="187325" y="120650"/>
                    </a:lnTo>
                    <a:lnTo>
                      <a:pt x="212725" y="104775"/>
                    </a:lnTo>
                    <a:lnTo>
                      <a:pt x="180975" y="50800"/>
                    </a:lnTo>
                    <a:lnTo>
                      <a:pt x="206375" y="38100"/>
                    </a:lnTo>
                    <a:lnTo>
                      <a:pt x="231775" y="25400"/>
                    </a:lnTo>
                    <a:lnTo>
                      <a:pt x="257175" y="15875"/>
                    </a:lnTo>
                    <a:lnTo>
                      <a:pt x="282575" y="9525"/>
                    </a:lnTo>
                    <a:close/>
                  </a:path>
                </a:pathLst>
              </a:custGeom>
              <a:solidFill>
                <a:srgbClr val="ED33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8" name="Freeform 88">
                <a:extLst>
                  <a:ext uri="{FF2B5EF4-FFF2-40B4-BE49-F238E27FC236}">
                    <a16:creationId xmlns:a16="http://schemas.microsoft.com/office/drawing/2014/main" id="{3A96B2BE-81E0-4ED7-93EF-87EEF287285D}"/>
                  </a:ext>
                </a:extLst>
              </p:cNvPr>
              <p:cNvSpPr>
                <a:spLocks/>
              </p:cNvSpPr>
              <p:nvPr/>
            </p:nvSpPr>
            <p:spPr bwMode="auto">
              <a:xfrm>
                <a:off x="1851025" y="2406650"/>
                <a:ext cx="320675" cy="320675"/>
              </a:xfrm>
              <a:custGeom>
                <a:avLst/>
                <a:gdLst>
                  <a:gd name="connsiteX0" fmla="*/ 158750 w 320675"/>
                  <a:gd name="connsiteY0" fmla="*/ 95250 h 320675"/>
                  <a:gd name="connsiteX1" fmla="*/ 139700 w 320675"/>
                  <a:gd name="connsiteY1" fmla="*/ 98425 h 320675"/>
                  <a:gd name="connsiteX2" fmla="*/ 123825 w 320675"/>
                  <a:gd name="connsiteY2" fmla="*/ 107950 h 320675"/>
                  <a:gd name="connsiteX3" fmla="*/ 107950 w 320675"/>
                  <a:gd name="connsiteY3" fmla="*/ 120650 h 320675"/>
                  <a:gd name="connsiteX4" fmla="*/ 98425 w 320675"/>
                  <a:gd name="connsiteY4" fmla="*/ 139700 h 320675"/>
                  <a:gd name="connsiteX5" fmla="*/ 95250 w 320675"/>
                  <a:gd name="connsiteY5" fmla="*/ 152400 h 320675"/>
                  <a:gd name="connsiteX6" fmla="*/ 95250 w 320675"/>
                  <a:gd name="connsiteY6" fmla="*/ 165100 h 320675"/>
                  <a:gd name="connsiteX7" fmla="*/ 98425 w 320675"/>
                  <a:gd name="connsiteY7" fmla="*/ 177800 h 320675"/>
                  <a:gd name="connsiteX8" fmla="*/ 101600 w 320675"/>
                  <a:gd name="connsiteY8" fmla="*/ 190500 h 320675"/>
                  <a:gd name="connsiteX9" fmla="*/ 107950 w 320675"/>
                  <a:gd name="connsiteY9" fmla="*/ 200025 h 320675"/>
                  <a:gd name="connsiteX10" fmla="*/ 117475 w 320675"/>
                  <a:gd name="connsiteY10" fmla="*/ 209550 h 320675"/>
                  <a:gd name="connsiteX11" fmla="*/ 127000 w 320675"/>
                  <a:gd name="connsiteY11" fmla="*/ 219075 h 320675"/>
                  <a:gd name="connsiteX12" fmla="*/ 139700 w 320675"/>
                  <a:gd name="connsiteY12" fmla="*/ 222250 h 320675"/>
                  <a:gd name="connsiteX13" fmla="*/ 158750 w 320675"/>
                  <a:gd name="connsiteY13" fmla="*/ 225425 h 320675"/>
                  <a:gd name="connsiteX14" fmla="*/ 171450 w 320675"/>
                  <a:gd name="connsiteY14" fmla="*/ 225425 h 320675"/>
                  <a:gd name="connsiteX15" fmla="*/ 180975 w 320675"/>
                  <a:gd name="connsiteY15" fmla="*/ 222250 h 320675"/>
                  <a:gd name="connsiteX16" fmla="*/ 193675 w 320675"/>
                  <a:gd name="connsiteY16" fmla="*/ 215900 h 320675"/>
                  <a:gd name="connsiteX17" fmla="*/ 206375 w 320675"/>
                  <a:gd name="connsiteY17" fmla="*/ 206375 h 320675"/>
                  <a:gd name="connsiteX18" fmla="*/ 215900 w 320675"/>
                  <a:gd name="connsiteY18" fmla="*/ 196850 h 320675"/>
                  <a:gd name="connsiteX19" fmla="*/ 222250 w 320675"/>
                  <a:gd name="connsiteY19" fmla="*/ 180975 h 320675"/>
                  <a:gd name="connsiteX20" fmla="*/ 225425 w 320675"/>
                  <a:gd name="connsiteY20" fmla="*/ 161925 h 320675"/>
                  <a:gd name="connsiteX21" fmla="*/ 222250 w 320675"/>
                  <a:gd name="connsiteY21" fmla="*/ 139700 h 320675"/>
                  <a:gd name="connsiteX22" fmla="*/ 212725 w 320675"/>
                  <a:gd name="connsiteY22" fmla="*/ 123825 h 320675"/>
                  <a:gd name="connsiteX23" fmla="*/ 200025 w 320675"/>
                  <a:gd name="connsiteY23" fmla="*/ 107950 h 320675"/>
                  <a:gd name="connsiteX24" fmla="*/ 180975 w 320675"/>
                  <a:gd name="connsiteY24" fmla="*/ 98425 h 320675"/>
                  <a:gd name="connsiteX25" fmla="*/ 149225 w 320675"/>
                  <a:gd name="connsiteY25" fmla="*/ 0 h 320675"/>
                  <a:gd name="connsiteX26" fmla="*/ 149225 w 320675"/>
                  <a:gd name="connsiteY26" fmla="*/ 25400 h 320675"/>
                  <a:gd name="connsiteX27" fmla="*/ 158750 w 320675"/>
                  <a:gd name="connsiteY27" fmla="*/ 25400 h 320675"/>
                  <a:gd name="connsiteX28" fmla="*/ 180975 w 320675"/>
                  <a:gd name="connsiteY28" fmla="*/ 28575 h 320675"/>
                  <a:gd name="connsiteX29" fmla="*/ 203200 w 320675"/>
                  <a:gd name="connsiteY29" fmla="*/ 31750 h 320675"/>
                  <a:gd name="connsiteX30" fmla="*/ 209550 w 320675"/>
                  <a:gd name="connsiteY30" fmla="*/ 9525 h 320675"/>
                  <a:gd name="connsiteX31" fmla="*/ 212725 w 320675"/>
                  <a:gd name="connsiteY31" fmla="*/ 9525 h 320675"/>
                  <a:gd name="connsiteX32" fmla="*/ 241300 w 320675"/>
                  <a:gd name="connsiteY32" fmla="*/ 22225 h 320675"/>
                  <a:gd name="connsiteX33" fmla="*/ 266700 w 320675"/>
                  <a:gd name="connsiteY33" fmla="*/ 41275 h 320675"/>
                  <a:gd name="connsiteX34" fmla="*/ 247650 w 320675"/>
                  <a:gd name="connsiteY34" fmla="*/ 60325 h 320675"/>
                  <a:gd name="connsiteX35" fmla="*/ 266700 w 320675"/>
                  <a:gd name="connsiteY35" fmla="*/ 79375 h 320675"/>
                  <a:gd name="connsiteX36" fmla="*/ 279400 w 320675"/>
                  <a:gd name="connsiteY36" fmla="*/ 101600 h 320675"/>
                  <a:gd name="connsiteX37" fmla="*/ 304800 w 320675"/>
                  <a:gd name="connsiteY37" fmla="*/ 88900 h 320675"/>
                  <a:gd name="connsiteX38" fmla="*/ 314325 w 320675"/>
                  <a:gd name="connsiteY38" fmla="*/ 117475 h 320675"/>
                  <a:gd name="connsiteX39" fmla="*/ 320675 w 320675"/>
                  <a:gd name="connsiteY39" fmla="*/ 149225 h 320675"/>
                  <a:gd name="connsiteX40" fmla="*/ 295275 w 320675"/>
                  <a:gd name="connsiteY40" fmla="*/ 152400 h 320675"/>
                  <a:gd name="connsiteX41" fmla="*/ 295275 w 320675"/>
                  <a:gd name="connsiteY41" fmla="*/ 177800 h 320675"/>
                  <a:gd name="connsiteX42" fmla="*/ 288925 w 320675"/>
                  <a:gd name="connsiteY42" fmla="*/ 203200 h 320675"/>
                  <a:gd name="connsiteX43" fmla="*/ 311150 w 320675"/>
                  <a:gd name="connsiteY43" fmla="*/ 212725 h 320675"/>
                  <a:gd name="connsiteX44" fmla="*/ 298450 w 320675"/>
                  <a:gd name="connsiteY44" fmla="*/ 241300 h 320675"/>
                  <a:gd name="connsiteX45" fmla="*/ 282575 w 320675"/>
                  <a:gd name="connsiteY45" fmla="*/ 266700 h 320675"/>
                  <a:gd name="connsiteX46" fmla="*/ 263525 w 320675"/>
                  <a:gd name="connsiteY46" fmla="*/ 250825 h 320675"/>
                  <a:gd name="connsiteX47" fmla="*/ 241300 w 320675"/>
                  <a:gd name="connsiteY47" fmla="*/ 266700 h 320675"/>
                  <a:gd name="connsiteX48" fmla="*/ 219075 w 320675"/>
                  <a:gd name="connsiteY48" fmla="*/ 282575 h 320675"/>
                  <a:gd name="connsiteX49" fmla="*/ 231775 w 320675"/>
                  <a:gd name="connsiteY49" fmla="*/ 304800 h 320675"/>
                  <a:gd name="connsiteX50" fmla="*/ 203200 w 320675"/>
                  <a:gd name="connsiteY50" fmla="*/ 317500 h 320675"/>
                  <a:gd name="connsiteX51" fmla="*/ 171450 w 320675"/>
                  <a:gd name="connsiteY51" fmla="*/ 320675 h 320675"/>
                  <a:gd name="connsiteX52" fmla="*/ 171450 w 320675"/>
                  <a:gd name="connsiteY52" fmla="*/ 304800 h 320675"/>
                  <a:gd name="connsiteX53" fmla="*/ 168275 w 320675"/>
                  <a:gd name="connsiteY53" fmla="*/ 295275 h 320675"/>
                  <a:gd name="connsiteX54" fmla="*/ 158750 w 320675"/>
                  <a:gd name="connsiteY54" fmla="*/ 295275 h 320675"/>
                  <a:gd name="connsiteX55" fmla="*/ 139700 w 320675"/>
                  <a:gd name="connsiteY55" fmla="*/ 295275 h 320675"/>
                  <a:gd name="connsiteX56" fmla="*/ 117475 w 320675"/>
                  <a:gd name="connsiteY56" fmla="*/ 288925 h 320675"/>
                  <a:gd name="connsiteX57" fmla="*/ 107950 w 320675"/>
                  <a:gd name="connsiteY57" fmla="*/ 314325 h 320675"/>
                  <a:gd name="connsiteX58" fmla="*/ 79375 w 320675"/>
                  <a:gd name="connsiteY58" fmla="*/ 301625 h 320675"/>
                  <a:gd name="connsiteX59" fmla="*/ 53975 w 320675"/>
                  <a:gd name="connsiteY59" fmla="*/ 282575 h 320675"/>
                  <a:gd name="connsiteX60" fmla="*/ 73025 w 320675"/>
                  <a:gd name="connsiteY60" fmla="*/ 263525 h 320675"/>
                  <a:gd name="connsiteX61" fmla="*/ 53975 w 320675"/>
                  <a:gd name="connsiteY61" fmla="*/ 244475 h 320675"/>
                  <a:gd name="connsiteX62" fmla="*/ 38100 w 320675"/>
                  <a:gd name="connsiteY62" fmla="*/ 222250 h 320675"/>
                  <a:gd name="connsiteX63" fmla="*/ 15875 w 320675"/>
                  <a:gd name="connsiteY63" fmla="*/ 231775 h 320675"/>
                  <a:gd name="connsiteX64" fmla="*/ 6350 w 320675"/>
                  <a:gd name="connsiteY64" fmla="*/ 203200 h 320675"/>
                  <a:gd name="connsiteX65" fmla="*/ 0 w 320675"/>
                  <a:gd name="connsiteY65" fmla="*/ 171450 h 320675"/>
                  <a:gd name="connsiteX66" fmla="*/ 25400 w 320675"/>
                  <a:gd name="connsiteY66" fmla="*/ 171450 h 320675"/>
                  <a:gd name="connsiteX67" fmla="*/ 25400 w 320675"/>
                  <a:gd name="connsiteY67" fmla="*/ 146050 h 320675"/>
                  <a:gd name="connsiteX68" fmla="*/ 31750 w 320675"/>
                  <a:gd name="connsiteY68" fmla="*/ 117475 h 320675"/>
                  <a:gd name="connsiteX69" fmla="*/ 6350 w 320675"/>
                  <a:gd name="connsiteY69" fmla="*/ 111125 h 320675"/>
                  <a:gd name="connsiteX70" fmla="*/ 22225 w 320675"/>
                  <a:gd name="connsiteY70" fmla="*/ 82550 h 320675"/>
                  <a:gd name="connsiteX71" fmla="*/ 38100 w 320675"/>
                  <a:gd name="connsiteY71" fmla="*/ 57150 h 320675"/>
                  <a:gd name="connsiteX72" fmla="*/ 57150 w 320675"/>
                  <a:gd name="connsiteY72" fmla="*/ 73025 h 320675"/>
                  <a:gd name="connsiteX73" fmla="*/ 76200 w 320675"/>
                  <a:gd name="connsiteY73" fmla="*/ 53975 h 320675"/>
                  <a:gd name="connsiteX74" fmla="*/ 98425 w 320675"/>
                  <a:gd name="connsiteY74" fmla="*/ 41275 h 320675"/>
                  <a:gd name="connsiteX75" fmla="*/ 88900 w 320675"/>
                  <a:gd name="connsiteY75" fmla="*/ 19050 h 320675"/>
                  <a:gd name="connsiteX76" fmla="*/ 117475 w 320675"/>
                  <a:gd name="connsiteY76" fmla="*/ 6350 h 32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20675" h="320675">
                    <a:moveTo>
                      <a:pt x="158750" y="95250"/>
                    </a:moveTo>
                    <a:lnTo>
                      <a:pt x="139700" y="98425"/>
                    </a:lnTo>
                    <a:lnTo>
                      <a:pt x="123825" y="107950"/>
                    </a:lnTo>
                    <a:lnTo>
                      <a:pt x="107950" y="120650"/>
                    </a:lnTo>
                    <a:lnTo>
                      <a:pt x="98425" y="139700"/>
                    </a:lnTo>
                    <a:lnTo>
                      <a:pt x="95250" y="152400"/>
                    </a:lnTo>
                    <a:lnTo>
                      <a:pt x="95250" y="165100"/>
                    </a:lnTo>
                    <a:lnTo>
                      <a:pt x="98425" y="177800"/>
                    </a:lnTo>
                    <a:lnTo>
                      <a:pt x="101600" y="190500"/>
                    </a:lnTo>
                    <a:lnTo>
                      <a:pt x="107950" y="200025"/>
                    </a:lnTo>
                    <a:lnTo>
                      <a:pt x="117475" y="209550"/>
                    </a:lnTo>
                    <a:lnTo>
                      <a:pt x="127000" y="219075"/>
                    </a:lnTo>
                    <a:lnTo>
                      <a:pt x="139700" y="222250"/>
                    </a:lnTo>
                    <a:lnTo>
                      <a:pt x="158750" y="225425"/>
                    </a:lnTo>
                    <a:lnTo>
                      <a:pt x="171450" y="225425"/>
                    </a:lnTo>
                    <a:lnTo>
                      <a:pt x="180975" y="222250"/>
                    </a:lnTo>
                    <a:lnTo>
                      <a:pt x="193675" y="215900"/>
                    </a:lnTo>
                    <a:lnTo>
                      <a:pt x="206375" y="206375"/>
                    </a:lnTo>
                    <a:lnTo>
                      <a:pt x="215900" y="196850"/>
                    </a:lnTo>
                    <a:lnTo>
                      <a:pt x="222250" y="180975"/>
                    </a:lnTo>
                    <a:lnTo>
                      <a:pt x="225425" y="161925"/>
                    </a:lnTo>
                    <a:lnTo>
                      <a:pt x="222250" y="139700"/>
                    </a:lnTo>
                    <a:lnTo>
                      <a:pt x="212725" y="123825"/>
                    </a:lnTo>
                    <a:lnTo>
                      <a:pt x="200025" y="107950"/>
                    </a:lnTo>
                    <a:lnTo>
                      <a:pt x="180975" y="98425"/>
                    </a:lnTo>
                    <a:close/>
                    <a:moveTo>
                      <a:pt x="149225" y="0"/>
                    </a:moveTo>
                    <a:lnTo>
                      <a:pt x="149225" y="25400"/>
                    </a:lnTo>
                    <a:lnTo>
                      <a:pt x="158750" y="25400"/>
                    </a:lnTo>
                    <a:lnTo>
                      <a:pt x="180975" y="28575"/>
                    </a:lnTo>
                    <a:lnTo>
                      <a:pt x="203200" y="31750"/>
                    </a:lnTo>
                    <a:lnTo>
                      <a:pt x="209550" y="9525"/>
                    </a:lnTo>
                    <a:lnTo>
                      <a:pt x="212725" y="9525"/>
                    </a:lnTo>
                    <a:lnTo>
                      <a:pt x="241300" y="22225"/>
                    </a:lnTo>
                    <a:lnTo>
                      <a:pt x="266700" y="41275"/>
                    </a:lnTo>
                    <a:lnTo>
                      <a:pt x="247650" y="60325"/>
                    </a:lnTo>
                    <a:lnTo>
                      <a:pt x="266700" y="79375"/>
                    </a:lnTo>
                    <a:lnTo>
                      <a:pt x="279400" y="101600"/>
                    </a:lnTo>
                    <a:lnTo>
                      <a:pt x="304800" y="88900"/>
                    </a:lnTo>
                    <a:lnTo>
                      <a:pt x="314325" y="117475"/>
                    </a:lnTo>
                    <a:lnTo>
                      <a:pt x="320675" y="149225"/>
                    </a:lnTo>
                    <a:lnTo>
                      <a:pt x="295275" y="152400"/>
                    </a:lnTo>
                    <a:lnTo>
                      <a:pt x="295275" y="177800"/>
                    </a:lnTo>
                    <a:lnTo>
                      <a:pt x="288925" y="203200"/>
                    </a:lnTo>
                    <a:lnTo>
                      <a:pt x="311150" y="212725"/>
                    </a:lnTo>
                    <a:lnTo>
                      <a:pt x="298450" y="241300"/>
                    </a:lnTo>
                    <a:lnTo>
                      <a:pt x="282575" y="266700"/>
                    </a:lnTo>
                    <a:lnTo>
                      <a:pt x="263525" y="250825"/>
                    </a:lnTo>
                    <a:lnTo>
                      <a:pt x="241300" y="266700"/>
                    </a:lnTo>
                    <a:lnTo>
                      <a:pt x="219075" y="282575"/>
                    </a:lnTo>
                    <a:lnTo>
                      <a:pt x="231775" y="304800"/>
                    </a:lnTo>
                    <a:lnTo>
                      <a:pt x="203200" y="317500"/>
                    </a:lnTo>
                    <a:lnTo>
                      <a:pt x="171450" y="320675"/>
                    </a:lnTo>
                    <a:lnTo>
                      <a:pt x="171450" y="304800"/>
                    </a:lnTo>
                    <a:lnTo>
                      <a:pt x="168275" y="295275"/>
                    </a:lnTo>
                    <a:lnTo>
                      <a:pt x="158750" y="295275"/>
                    </a:lnTo>
                    <a:lnTo>
                      <a:pt x="139700" y="295275"/>
                    </a:lnTo>
                    <a:lnTo>
                      <a:pt x="117475" y="288925"/>
                    </a:lnTo>
                    <a:lnTo>
                      <a:pt x="107950" y="314325"/>
                    </a:lnTo>
                    <a:lnTo>
                      <a:pt x="79375" y="301625"/>
                    </a:lnTo>
                    <a:lnTo>
                      <a:pt x="53975" y="282575"/>
                    </a:lnTo>
                    <a:lnTo>
                      <a:pt x="73025" y="263525"/>
                    </a:lnTo>
                    <a:lnTo>
                      <a:pt x="53975" y="244475"/>
                    </a:lnTo>
                    <a:lnTo>
                      <a:pt x="38100" y="222250"/>
                    </a:lnTo>
                    <a:lnTo>
                      <a:pt x="15875" y="231775"/>
                    </a:lnTo>
                    <a:lnTo>
                      <a:pt x="6350" y="203200"/>
                    </a:lnTo>
                    <a:lnTo>
                      <a:pt x="0" y="171450"/>
                    </a:lnTo>
                    <a:lnTo>
                      <a:pt x="25400" y="171450"/>
                    </a:lnTo>
                    <a:lnTo>
                      <a:pt x="25400" y="146050"/>
                    </a:lnTo>
                    <a:lnTo>
                      <a:pt x="31750" y="117475"/>
                    </a:lnTo>
                    <a:lnTo>
                      <a:pt x="6350" y="111125"/>
                    </a:lnTo>
                    <a:lnTo>
                      <a:pt x="22225" y="82550"/>
                    </a:lnTo>
                    <a:lnTo>
                      <a:pt x="38100" y="57150"/>
                    </a:lnTo>
                    <a:lnTo>
                      <a:pt x="57150" y="73025"/>
                    </a:lnTo>
                    <a:lnTo>
                      <a:pt x="76200" y="53975"/>
                    </a:lnTo>
                    <a:lnTo>
                      <a:pt x="98425" y="41275"/>
                    </a:lnTo>
                    <a:lnTo>
                      <a:pt x="88900" y="19050"/>
                    </a:lnTo>
                    <a:lnTo>
                      <a:pt x="117475" y="6350"/>
                    </a:lnTo>
                    <a:close/>
                  </a:path>
                </a:pathLst>
              </a:custGeom>
              <a:solidFill>
                <a:srgbClr val="F37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sp>
            <p:nvSpPr>
              <p:cNvPr id="59" name="Freeform 89">
                <a:extLst>
                  <a:ext uri="{FF2B5EF4-FFF2-40B4-BE49-F238E27FC236}">
                    <a16:creationId xmlns:a16="http://schemas.microsoft.com/office/drawing/2014/main" id="{B6224DBE-D1AA-44E6-80D0-2B0BA666965A}"/>
                  </a:ext>
                </a:extLst>
              </p:cNvPr>
              <p:cNvSpPr>
                <a:spLocks/>
              </p:cNvSpPr>
              <p:nvPr/>
            </p:nvSpPr>
            <p:spPr bwMode="auto">
              <a:xfrm>
                <a:off x="996950" y="2603500"/>
                <a:ext cx="1003300" cy="1006475"/>
              </a:xfrm>
              <a:custGeom>
                <a:avLst/>
                <a:gdLst>
                  <a:gd name="connsiteX0" fmla="*/ 466725 w 1003300"/>
                  <a:gd name="connsiteY0" fmla="*/ 184150 h 1006475"/>
                  <a:gd name="connsiteX1" fmla="*/ 438150 w 1003300"/>
                  <a:gd name="connsiteY1" fmla="*/ 190500 h 1006475"/>
                  <a:gd name="connsiteX2" fmla="*/ 409575 w 1003300"/>
                  <a:gd name="connsiteY2" fmla="*/ 196850 h 1006475"/>
                  <a:gd name="connsiteX3" fmla="*/ 381000 w 1003300"/>
                  <a:gd name="connsiteY3" fmla="*/ 206375 h 1006475"/>
                  <a:gd name="connsiteX4" fmla="*/ 355600 w 1003300"/>
                  <a:gd name="connsiteY4" fmla="*/ 219075 h 1006475"/>
                  <a:gd name="connsiteX5" fmla="*/ 330200 w 1003300"/>
                  <a:gd name="connsiteY5" fmla="*/ 231775 h 1006475"/>
                  <a:gd name="connsiteX6" fmla="*/ 307975 w 1003300"/>
                  <a:gd name="connsiteY6" fmla="*/ 247650 h 1006475"/>
                  <a:gd name="connsiteX7" fmla="*/ 285750 w 1003300"/>
                  <a:gd name="connsiteY7" fmla="*/ 266700 h 1006475"/>
                  <a:gd name="connsiteX8" fmla="*/ 263525 w 1003300"/>
                  <a:gd name="connsiteY8" fmla="*/ 288925 h 1006475"/>
                  <a:gd name="connsiteX9" fmla="*/ 241300 w 1003300"/>
                  <a:gd name="connsiteY9" fmla="*/ 314325 h 1006475"/>
                  <a:gd name="connsiteX10" fmla="*/ 222250 w 1003300"/>
                  <a:gd name="connsiteY10" fmla="*/ 342900 h 1006475"/>
                  <a:gd name="connsiteX11" fmla="*/ 209550 w 1003300"/>
                  <a:gd name="connsiteY11" fmla="*/ 374650 h 1006475"/>
                  <a:gd name="connsiteX12" fmla="*/ 196850 w 1003300"/>
                  <a:gd name="connsiteY12" fmla="*/ 406400 h 1006475"/>
                  <a:gd name="connsiteX13" fmla="*/ 187325 w 1003300"/>
                  <a:gd name="connsiteY13" fmla="*/ 438150 h 1006475"/>
                  <a:gd name="connsiteX14" fmla="*/ 180975 w 1003300"/>
                  <a:gd name="connsiteY14" fmla="*/ 473075 h 1006475"/>
                  <a:gd name="connsiteX15" fmla="*/ 180975 w 1003300"/>
                  <a:gd name="connsiteY15" fmla="*/ 508000 h 1006475"/>
                  <a:gd name="connsiteX16" fmla="*/ 184150 w 1003300"/>
                  <a:gd name="connsiteY16" fmla="*/ 542925 h 1006475"/>
                  <a:gd name="connsiteX17" fmla="*/ 187325 w 1003300"/>
                  <a:gd name="connsiteY17" fmla="*/ 574675 h 1006475"/>
                  <a:gd name="connsiteX18" fmla="*/ 196850 w 1003300"/>
                  <a:gd name="connsiteY18" fmla="*/ 606425 h 1006475"/>
                  <a:gd name="connsiteX19" fmla="*/ 209550 w 1003300"/>
                  <a:gd name="connsiteY19" fmla="*/ 638175 h 1006475"/>
                  <a:gd name="connsiteX20" fmla="*/ 225425 w 1003300"/>
                  <a:gd name="connsiteY20" fmla="*/ 666750 h 1006475"/>
                  <a:gd name="connsiteX21" fmla="*/ 244475 w 1003300"/>
                  <a:gd name="connsiteY21" fmla="*/ 692150 h 1006475"/>
                  <a:gd name="connsiteX22" fmla="*/ 263525 w 1003300"/>
                  <a:gd name="connsiteY22" fmla="*/ 717550 h 1006475"/>
                  <a:gd name="connsiteX23" fmla="*/ 285750 w 1003300"/>
                  <a:gd name="connsiteY23" fmla="*/ 739775 h 1006475"/>
                  <a:gd name="connsiteX24" fmla="*/ 307975 w 1003300"/>
                  <a:gd name="connsiteY24" fmla="*/ 758825 h 1006475"/>
                  <a:gd name="connsiteX25" fmla="*/ 333375 w 1003300"/>
                  <a:gd name="connsiteY25" fmla="*/ 774700 h 1006475"/>
                  <a:gd name="connsiteX26" fmla="*/ 358775 w 1003300"/>
                  <a:gd name="connsiteY26" fmla="*/ 790575 h 1006475"/>
                  <a:gd name="connsiteX27" fmla="*/ 384175 w 1003300"/>
                  <a:gd name="connsiteY27" fmla="*/ 803275 h 1006475"/>
                  <a:gd name="connsiteX28" fmla="*/ 412750 w 1003300"/>
                  <a:gd name="connsiteY28" fmla="*/ 812800 h 1006475"/>
                  <a:gd name="connsiteX29" fmla="*/ 444500 w 1003300"/>
                  <a:gd name="connsiteY29" fmla="*/ 819150 h 1006475"/>
                  <a:gd name="connsiteX30" fmla="*/ 473075 w 1003300"/>
                  <a:gd name="connsiteY30" fmla="*/ 822325 h 1006475"/>
                  <a:gd name="connsiteX31" fmla="*/ 504825 w 1003300"/>
                  <a:gd name="connsiteY31" fmla="*/ 822325 h 1006475"/>
                  <a:gd name="connsiteX32" fmla="*/ 536575 w 1003300"/>
                  <a:gd name="connsiteY32" fmla="*/ 822325 h 1006475"/>
                  <a:gd name="connsiteX33" fmla="*/ 568325 w 1003300"/>
                  <a:gd name="connsiteY33" fmla="*/ 815975 h 1006475"/>
                  <a:gd name="connsiteX34" fmla="*/ 600075 w 1003300"/>
                  <a:gd name="connsiteY34" fmla="*/ 806450 h 1006475"/>
                  <a:gd name="connsiteX35" fmla="*/ 628650 w 1003300"/>
                  <a:gd name="connsiteY35" fmla="*/ 796925 h 1006475"/>
                  <a:gd name="connsiteX36" fmla="*/ 657225 w 1003300"/>
                  <a:gd name="connsiteY36" fmla="*/ 784225 h 1006475"/>
                  <a:gd name="connsiteX37" fmla="*/ 682625 w 1003300"/>
                  <a:gd name="connsiteY37" fmla="*/ 765175 h 1006475"/>
                  <a:gd name="connsiteX38" fmla="*/ 708025 w 1003300"/>
                  <a:gd name="connsiteY38" fmla="*/ 749300 h 1006475"/>
                  <a:gd name="connsiteX39" fmla="*/ 730250 w 1003300"/>
                  <a:gd name="connsiteY39" fmla="*/ 727075 h 1006475"/>
                  <a:gd name="connsiteX40" fmla="*/ 749300 w 1003300"/>
                  <a:gd name="connsiteY40" fmla="*/ 704850 h 1006475"/>
                  <a:gd name="connsiteX41" fmla="*/ 768350 w 1003300"/>
                  <a:gd name="connsiteY41" fmla="*/ 679450 h 1006475"/>
                  <a:gd name="connsiteX42" fmla="*/ 784225 w 1003300"/>
                  <a:gd name="connsiteY42" fmla="*/ 650875 h 1006475"/>
                  <a:gd name="connsiteX43" fmla="*/ 796925 w 1003300"/>
                  <a:gd name="connsiteY43" fmla="*/ 625475 h 1006475"/>
                  <a:gd name="connsiteX44" fmla="*/ 806450 w 1003300"/>
                  <a:gd name="connsiteY44" fmla="*/ 593725 h 1006475"/>
                  <a:gd name="connsiteX45" fmla="*/ 815975 w 1003300"/>
                  <a:gd name="connsiteY45" fmla="*/ 565150 h 1006475"/>
                  <a:gd name="connsiteX46" fmla="*/ 819150 w 1003300"/>
                  <a:gd name="connsiteY46" fmla="*/ 533400 h 1006475"/>
                  <a:gd name="connsiteX47" fmla="*/ 819150 w 1003300"/>
                  <a:gd name="connsiteY47" fmla="*/ 498475 h 1006475"/>
                  <a:gd name="connsiteX48" fmla="*/ 819150 w 1003300"/>
                  <a:gd name="connsiteY48" fmla="*/ 466725 h 1006475"/>
                  <a:gd name="connsiteX49" fmla="*/ 812800 w 1003300"/>
                  <a:gd name="connsiteY49" fmla="*/ 434975 h 1006475"/>
                  <a:gd name="connsiteX50" fmla="*/ 806450 w 1003300"/>
                  <a:gd name="connsiteY50" fmla="*/ 403225 h 1006475"/>
                  <a:gd name="connsiteX51" fmla="*/ 793750 w 1003300"/>
                  <a:gd name="connsiteY51" fmla="*/ 374650 h 1006475"/>
                  <a:gd name="connsiteX52" fmla="*/ 781050 w 1003300"/>
                  <a:gd name="connsiteY52" fmla="*/ 346075 h 1006475"/>
                  <a:gd name="connsiteX53" fmla="*/ 765175 w 1003300"/>
                  <a:gd name="connsiteY53" fmla="*/ 320675 h 1006475"/>
                  <a:gd name="connsiteX54" fmla="*/ 746125 w 1003300"/>
                  <a:gd name="connsiteY54" fmla="*/ 295275 h 1006475"/>
                  <a:gd name="connsiteX55" fmla="*/ 723900 w 1003300"/>
                  <a:gd name="connsiteY55" fmla="*/ 273050 h 1006475"/>
                  <a:gd name="connsiteX56" fmla="*/ 701675 w 1003300"/>
                  <a:gd name="connsiteY56" fmla="*/ 254000 h 1006475"/>
                  <a:gd name="connsiteX57" fmla="*/ 676275 w 1003300"/>
                  <a:gd name="connsiteY57" fmla="*/ 234950 h 1006475"/>
                  <a:gd name="connsiteX58" fmla="*/ 650875 w 1003300"/>
                  <a:gd name="connsiteY58" fmla="*/ 219075 h 1006475"/>
                  <a:gd name="connsiteX59" fmla="*/ 622300 w 1003300"/>
                  <a:gd name="connsiteY59" fmla="*/ 206375 h 1006475"/>
                  <a:gd name="connsiteX60" fmla="*/ 590550 w 1003300"/>
                  <a:gd name="connsiteY60" fmla="*/ 196850 h 1006475"/>
                  <a:gd name="connsiteX61" fmla="*/ 561975 w 1003300"/>
                  <a:gd name="connsiteY61" fmla="*/ 190500 h 1006475"/>
                  <a:gd name="connsiteX62" fmla="*/ 530225 w 1003300"/>
                  <a:gd name="connsiteY62" fmla="*/ 184150 h 1006475"/>
                  <a:gd name="connsiteX63" fmla="*/ 495300 w 1003300"/>
                  <a:gd name="connsiteY63" fmla="*/ 184150 h 1006475"/>
                  <a:gd name="connsiteX64" fmla="*/ 574675 w 1003300"/>
                  <a:gd name="connsiteY64" fmla="*/ 0 h 1006475"/>
                  <a:gd name="connsiteX65" fmla="*/ 574675 w 1003300"/>
                  <a:gd name="connsiteY65" fmla="*/ 76200 h 1006475"/>
                  <a:gd name="connsiteX66" fmla="*/ 619125 w 1003300"/>
                  <a:gd name="connsiteY66" fmla="*/ 85725 h 1006475"/>
                  <a:gd name="connsiteX67" fmla="*/ 663575 w 1003300"/>
                  <a:gd name="connsiteY67" fmla="*/ 101600 h 1006475"/>
                  <a:gd name="connsiteX68" fmla="*/ 701675 w 1003300"/>
                  <a:gd name="connsiteY68" fmla="*/ 120650 h 1006475"/>
                  <a:gd name="connsiteX69" fmla="*/ 742950 w 1003300"/>
                  <a:gd name="connsiteY69" fmla="*/ 142875 h 1006475"/>
                  <a:gd name="connsiteX70" fmla="*/ 793750 w 1003300"/>
                  <a:gd name="connsiteY70" fmla="*/ 88900 h 1006475"/>
                  <a:gd name="connsiteX71" fmla="*/ 908050 w 1003300"/>
                  <a:gd name="connsiteY71" fmla="*/ 200025 h 1006475"/>
                  <a:gd name="connsiteX72" fmla="*/ 854075 w 1003300"/>
                  <a:gd name="connsiteY72" fmla="*/ 254000 h 1006475"/>
                  <a:gd name="connsiteX73" fmla="*/ 879475 w 1003300"/>
                  <a:gd name="connsiteY73" fmla="*/ 292100 h 1006475"/>
                  <a:gd name="connsiteX74" fmla="*/ 898525 w 1003300"/>
                  <a:gd name="connsiteY74" fmla="*/ 330200 h 1006475"/>
                  <a:gd name="connsiteX75" fmla="*/ 914400 w 1003300"/>
                  <a:gd name="connsiteY75" fmla="*/ 374650 h 1006475"/>
                  <a:gd name="connsiteX76" fmla="*/ 927100 w 1003300"/>
                  <a:gd name="connsiteY76" fmla="*/ 419100 h 1006475"/>
                  <a:gd name="connsiteX77" fmla="*/ 1000125 w 1003300"/>
                  <a:gd name="connsiteY77" fmla="*/ 419100 h 1006475"/>
                  <a:gd name="connsiteX78" fmla="*/ 1003300 w 1003300"/>
                  <a:gd name="connsiteY78" fmla="*/ 574675 h 1006475"/>
                  <a:gd name="connsiteX79" fmla="*/ 927100 w 1003300"/>
                  <a:gd name="connsiteY79" fmla="*/ 577850 h 1006475"/>
                  <a:gd name="connsiteX80" fmla="*/ 917575 w 1003300"/>
                  <a:gd name="connsiteY80" fmla="*/ 622300 h 1006475"/>
                  <a:gd name="connsiteX81" fmla="*/ 901700 w 1003300"/>
                  <a:gd name="connsiteY81" fmla="*/ 663575 h 1006475"/>
                  <a:gd name="connsiteX82" fmla="*/ 882650 w 1003300"/>
                  <a:gd name="connsiteY82" fmla="*/ 704850 h 1006475"/>
                  <a:gd name="connsiteX83" fmla="*/ 860425 w 1003300"/>
                  <a:gd name="connsiteY83" fmla="*/ 742950 h 1006475"/>
                  <a:gd name="connsiteX84" fmla="*/ 914400 w 1003300"/>
                  <a:gd name="connsiteY84" fmla="*/ 796925 h 1006475"/>
                  <a:gd name="connsiteX85" fmla="*/ 803275 w 1003300"/>
                  <a:gd name="connsiteY85" fmla="*/ 911225 h 1006475"/>
                  <a:gd name="connsiteX86" fmla="*/ 749300 w 1003300"/>
                  <a:gd name="connsiteY86" fmla="*/ 857250 h 1006475"/>
                  <a:gd name="connsiteX87" fmla="*/ 714375 w 1003300"/>
                  <a:gd name="connsiteY87" fmla="*/ 882650 h 1006475"/>
                  <a:gd name="connsiteX88" fmla="*/ 673100 w 1003300"/>
                  <a:gd name="connsiteY88" fmla="*/ 901700 h 1006475"/>
                  <a:gd name="connsiteX89" fmla="*/ 628650 w 1003300"/>
                  <a:gd name="connsiteY89" fmla="*/ 917575 h 1006475"/>
                  <a:gd name="connsiteX90" fmla="*/ 584200 w 1003300"/>
                  <a:gd name="connsiteY90" fmla="*/ 927100 h 1006475"/>
                  <a:gd name="connsiteX91" fmla="*/ 587375 w 1003300"/>
                  <a:gd name="connsiteY91" fmla="*/ 1003300 h 1006475"/>
                  <a:gd name="connsiteX92" fmla="*/ 508000 w 1003300"/>
                  <a:gd name="connsiteY92" fmla="*/ 1003300 h 1006475"/>
                  <a:gd name="connsiteX93" fmla="*/ 428625 w 1003300"/>
                  <a:gd name="connsiteY93" fmla="*/ 1006475 h 1006475"/>
                  <a:gd name="connsiteX94" fmla="*/ 428625 w 1003300"/>
                  <a:gd name="connsiteY94" fmla="*/ 930275 h 1006475"/>
                  <a:gd name="connsiteX95" fmla="*/ 390525 w 1003300"/>
                  <a:gd name="connsiteY95" fmla="*/ 923925 h 1006475"/>
                  <a:gd name="connsiteX96" fmla="*/ 352425 w 1003300"/>
                  <a:gd name="connsiteY96" fmla="*/ 911225 h 1006475"/>
                  <a:gd name="connsiteX97" fmla="*/ 317500 w 1003300"/>
                  <a:gd name="connsiteY97" fmla="*/ 895350 h 1006475"/>
                  <a:gd name="connsiteX98" fmla="*/ 285750 w 1003300"/>
                  <a:gd name="connsiteY98" fmla="*/ 879475 h 1006475"/>
                  <a:gd name="connsiteX99" fmla="*/ 260350 w 1003300"/>
                  <a:gd name="connsiteY99" fmla="*/ 863600 h 1006475"/>
                  <a:gd name="connsiteX100" fmla="*/ 206375 w 1003300"/>
                  <a:gd name="connsiteY100" fmla="*/ 917575 h 1006475"/>
                  <a:gd name="connsiteX101" fmla="*/ 95250 w 1003300"/>
                  <a:gd name="connsiteY101" fmla="*/ 806450 h 1006475"/>
                  <a:gd name="connsiteX102" fmla="*/ 146050 w 1003300"/>
                  <a:gd name="connsiteY102" fmla="*/ 752475 h 1006475"/>
                  <a:gd name="connsiteX103" fmla="*/ 123825 w 1003300"/>
                  <a:gd name="connsiteY103" fmla="*/ 714375 h 1006475"/>
                  <a:gd name="connsiteX104" fmla="*/ 101600 w 1003300"/>
                  <a:gd name="connsiteY104" fmla="*/ 676275 h 1006475"/>
                  <a:gd name="connsiteX105" fmla="*/ 85725 w 1003300"/>
                  <a:gd name="connsiteY105" fmla="*/ 631825 h 1006475"/>
                  <a:gd name="connsiteX106" fmla="*/ 76200 w 1003300"/>
                  <a:gd name="connsiteY106" fmla="*/ 587375 h 1006475"/>
                  <a:gd name="connsiteX107" fmla="*/ 0 w 1003300"/>
                  <a:gd name="connsiteY107" fmla="*/ 590550 h 1006475"/>
                  <a:gd name="connsiteX108" fmla="*/ 0 w 1003300"/>
                  <a:gd name="connsiteY108" fmla="*/ 431800 h 1006475"/>
                  <a:gd name="connsiteX109" fmla="*/ 73025 w 1003300"/>
                  <a:gd name="connsiteY109" fmla="*/ 428625 h 1006475"/>
                  <a:gd name="connsiteX110" fmla="*/ 82550 w 1003300"/>
                  <a:gd name="connsiteY110" fmla="*/ 384175 h 1006475"/>
                  <a:gd name="connsiteX111" fmla="*/ 98425 w 1003300"/>
                  <a:gd name="connsiteY111" fmla="*/ 342900 h 1006475"/>
                  <a:gd name="connsiteX112" fmla="*/ 117475 w 1003300"/>
                  <a:gd name="connsiteY112" fmla="*/ 301625 h 1006475"/>
                  <a:gd name="connsiteX113" fmla="*/ 139700 w 1003300"/>
                  <a:gd name="connsiteY113" fmla="*/ 263525 h 1006475"/>
                  <a:gd name="connsiteX114" fmla="*/ 85725 w 1003300"/>
                  <a:gd name="connsiteY114" fmla="*/ 209550 h 1006475"/>
                  <a:gd name="connsiteX115" fmla="*/ 196850 w 1003300"/>
                  <a:gd name="connsiteY115" fmla="*/ 98425 h 1006475"/>
                  <a:gd name="connsiteX116" fmla="*/ 250825 w 1003300"/>
                  <a:gd name="connsiteY116" fmla="*/ 149225 h 1006475"/>
                  <a:gd name="connsiteX117" fmla="*/ 285750 w 1003300"/>
                  <a:gd name="connsiteY117" fmla="*/ 127000 h 1006475"/>
                  <a:gd name="connsiteX118" fmla="*/ 317500 w 1003300"/>
                  <a:gd name="connsiteY118" fmla="*/ 111125 h 1006475"/>
                  <a:gd name="connsiteX119" fmla="*/ 349250 w 1003300"/>
                  <a:gd name="connsiteY119" fmla="*/ 98425 h 1006475"/>
                  <a:gd name="connsiteX120" fmla="*/ 381000 w 1003300"/>
                  <a:gd name="connsiteY120" fmla="*/ 85725 h 1006475"/>
                  <a:gd name="connsiteX121" fmla="*/ 415925 w 1003300"/>
                  <a:gd name="connsiteY121" fmla="*/ 79375 h 1006475"/>
                  <a:gd name="connsiteX122" fmla="*/ 415925 w 1003300"/>
                  <a:gd name="connsiteY122" fmla="*/ 3175 h 1006475"/>
                  <a:gd name="connsiteX123" fmla="*/ 495300 w 1003300"/>
                  <a:gd name="connsiteY123" fmla="*/ 3175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003300" h="1006475">
                    <a:moveTo>
                      <a:pt x="466725" y="184150"/>
                    </a:moveTo>
                    <a:lnTo>
                      <a:pt x="438150" y="190500"/>
                    </a:lnTo>
                    <a:lnTo>
                      <a:pt x="409575" y="196850"/>
                    </a:lnTo>
                    <a:lnTo>
                      <a:pt x="381000" y="206375"/>
                    </a:lnTo>
                    <a:lnTo>
                      <a:pt x="355600" y="219075"/>
                    </a:lnTo>
                    <a:lnTo>
                      <a:pt x="330200" y="231775"/>
                    </a:lnTo>
                    <a:lnTo>
                      <a:pt x="307975" y="247650"/>
                    </a:lnTo>
                    <a:lnTo>
                      <a:pt x="285750" y="266700"/>
                    </a:lnTo>
                    <a:lnTo>
                      <a:pt x="263525" y="288925"/>
                    </a:lnTo>
                    <a:lnTo>
                      <a:pt x="241300" y="314325"/>
                    </a:lnTo>
                    <a:lnTo>
                      <a:pt x="222250" y="342900"/>
                    </a:lnTo>
                    <a:lnTo>
                      <a:pt x="209550" y="374650"/>
                    </a:lnTo>
                    <a:lnTo>
                      <a:pt x="196850" y="406400"/>
                    </a:lnTo>
                    <a:lnTo>
                      <a:pt x="187325" y="438150"/>
                    </a:lnTo>
                    <a:lnTo>
                      <a:pt x="180975" y="473075"/>
                    </a:lnTo>
                    <a:lnTo>
                      <a:pt x="180975" y="508000"/>
                    </a:lnTo>
                    <a:lnTo>
                      <a:pt x="184150" y="542925"/>
                    </a:lnTo>
                    <a:lnTo>
                      <a:pt x="187325" y="574675"/>
                    </a:lnTo>
                    <a:lnTo>
                      <a:pt x="196850" y="606425"/>
                    </a:lnTo>
                    <a:lnTo>
                      <a:pt x="209550" y="638175"/>
                    </a:lnTo>
                    <a:lnTo>
                      <a:pt x="225425" y="666750"/>
                    </a:lnTo>
                    <a:lnTo>
                      <a:pt x="244475" y="692150"/>
                    </a:lnTo>
                    <a:lnTo>
                      <a:pt x="263525" y="717550"/>
                    </a:lnTo>
                    <a:lnTo>
                      <a:pt x="285750" y="739775"/>
                    </a:lnTo>
                    <a:lnTo>
                      <a:pt x="307975" y="758825"/>
                    </a:lnTo>
                    <a:lnTo>
                      <a:pt x="333375" y="774700"/>
                    </a:lnTo>
                    <a:lnTo>
                      <a:pt x="358775" y="790575"/>
                    </a:lnTo>
                    <a:lnTo>
                      <a:pt x="384175" y="803275"/>
                    </a:lnTo>
                    <a:lnTo>
                      <a:pt x="412750" y="812800"/>
                    </a:lnTo>
                    <a:lnTo>
                      <a:pt x="444500" y="819150"/>
                    </a:lnTo>
                    <a:lnTo>
                      <a:pt x="473075" y="822325"/>
                    </a:lnTo>
                    <a:lnTo>
                      <a:pt x="504825" y="822325"/>
                    </a:lnTo>
                    <a:lnTo>
                      <a:pt x="536575" y="822325"/>
                    </a:lnTo>
                    <a:lnTo>
                      <a:pt x="568325" y="815975"/>
                    </a:lnTo>
                    <a:lnTo>
                      <a:pt x="600075" y="806450"/>
                    </a:lnTo>
                    <a:lnTo>
                      <a:pt x="628650" y="796925"/>
                    </a:lnTo>
                    <a:lnTo>
                      <a:pt x="657225" y="784225"/>
                    </a:lnTo>
                    <a:lnTo>
                      <a:pt x="682625" y="765175"/>
                    </a:lnTo>
                    <a:lnTo>
                      <a:pt x="708025" y="749300"/>
                    </a:lnTo>
                    <a:lnTo>
                      <a:pt x="730250" y="727075"/>
                    </a:lnTo>
                    <a:lnTo>
                      <a:pt x="749300" y="704850"/>
                    </a:lnTo>
                    <a:lnTo>
                      <a:pt x="768350" y="679450"/>
                    </a:lnTo>
                    <a:lnTo>
                      <a:pt x="784225" y="650875"/>
                    </a:lnTo>
                    <a:lnTo>
                      <a:pt x="796925" y="625475"/>
                    </a:lnTo>
                    <a:lnTo>
                      <a:pt x="806450" y="593725"/>
                    </a:lnTo>
                    <a:lnTo>
                      <a:pt x="815975" y="565150"/>
                    </a:lnTo>
                    <a:lnTo>
                      <a:pt x="819150" y="533400"/>
                    </a:lnTo>
                    <a:lnTo>
                      <a:pt x="819150" y="498475"/>
                    </a:lnTo>
                    <a:lnTo>
                      <a:pt x="819150" y="466725"/>
                    </a:lnTo>
                    <a:lnTo>
                      <a:pt x="812800" y="434975"/>
                    </a:lnTo>
                    <a:lnTo>
                      <a:pt x="806450" y="403225"/>
                    </a:lnTo>
                    <a:lnTo>
                      <a:pt x="793750" y="374650"/>
                    </a:lnTo>
                    <a:lnTo>
                      <a:pt x="781050" y="346075"/>
                    </a:lnTo>
                    <a:lnTo>
                      <a:pt x="765175" y="320675"/>
                    </a:lnTo>
                    <a:lnTo>
                      <a:pt x="746125" y="295275"/>
                    </a:lnTo>
                    <a:lnTo>
                      <a:pt x="723900" y="273050"/>
                    </a:lnTo>
                    <a:lnTo>
                      <a:pt x="701675" y="254000"/>
                    </a:lnTo>
                    <a:lnTo>
                      <a:pt x="676275" y="234950"/>
                    </a:lnTo>
                    <a:lnTo>
                      <a:pt x="650875" y="219075"/>
                    </a:lnTo>
                    <a:lnTo>
                      <a:pt x="622300" y="206375"/>
                    </a:lnTo>
                    <a:lnTo>
                      <a:pt x="590550" y="196850"/>
                    </a:lnTo>
                    <a:lnTo>
                      <a:pt x="561975" y="190500"/>
                    </a:lnTo>
                    <a:lnTo>
                      <a:pt x="530225" y="184150"/>
                    </a:lnTo>
                    <a:lnTo>
                      <a:pt x="495300" y="184150"/>
                    </a:lnTo>
                    <a:close/>
                    <a:moveTo>
                      <a:pt x="574675" y="0"/>
                    </a:moveTo>
                    <a:lnTo>
                      <a:pt x="574675" y="76200"/>
                    </a:lnTo>
                    <a:lnTo>
                      <a:pt x="619125" y="85725"/>
                    </a:lnTo>
                    <a:lnTo>
                      <a:pt x="663575" y="101600"/>
                    </a:lnTo>
                    <a:lnTo>
                      <a:pt x="701675" y="120650"/>
                    </a:lnTo>
                    <a:lnTo>
                      <a:pt x="742950" y="142875"/>
                    </a:lnTo>
                    <a:lnTo>
                      <a:pt x="793750" y="88900"/>
                    </a:lnTo>
                    <a:lnTo>
                      <a:pt x="908050" y="200025"/>
                    </a:lnTo>
                    <a:lnTo>
                      <a:pt x="854075" y="254000"/>
                    </a:lnTo>
                    <a:lnTo>
                      <a:pt x="879475" y="292100"/>
                    </a:lnTo>
                    <a:lnTo>
                      <a:pt x="898525" y="330200"/>
                    </a:lnTo>
                    <a:lnTo>
                      <a:pt x="914400" y="374650"/>
                    </a:lnTo>
                    <a:lnTo>
                      <a:pt x="927100" y="419100"/>
                    </a:lnTo>
                    <a:lnTo>
                      <a:pt x="1000125" y="419100"/>
                    </a:lnTo>
                    <a:lnTo>
                      <a:pt x="1003300" y="574675"/>
                    </a:lnTo>
                    <a:lnTo>
                      <a:pt x="927100" y="577850"/>
                    </a:lnTo>
                    <a:lnTo>
                      <a:pt x="917575" y="622300"/>
                    </a:lnTo>
                    <a:lnTo>
                      <a:pt x="901700" y="663575"/>
                    </a:lnTo>
                    <a:lnTo>
                      <a:pt x="882650" y="704850"/>
                    </a:lnTo>
                    <a:lnTo>
                      <a:pt x="860425" y="742950"/>
                    </a:lnTo>
                    <a:lnTo>
                      <a:pt x="914400" y="796925"/>
                    </a:lnTo>
                    <a:lnTo>
                      <a:pt x="803275" y="911225"/>
                    </a:lnTo>
                    <a:lnTo>
                      <a:pt x="749300" y="857250"/>
                    </a:lnTo>
                    <a:lnTo>
                      <a:pt x="714375" y="882650"/>
                    </a:lnTo>
                    <a:lnTo>
                      <a:pt x="673100" y="901700"/>
                    </a:lnTo>
                    <a:lnTo>
                      <a:pt x="628650" y="917575"/>
                    </a:lnTo>
                    <a:lnTo>
                      <a:pt x="584200" y="927100"/>
                    </a:lnTo>
                    <a:lnTo>
                      <a:pt x="587375" y="1003300"/>
                    </a:lnTo>
                    <a:lnTo>
                      <a:pt x="508000" y="1003300"/>
                    </a:lnTo>
                    <a:lnTo>
                      <a:pt x="428625" y="1006475"/>
                    </a:lnTo>
                    <a:lnTo>
                      <a:pt x="428625" y="930275"/>
                    </a:lnTo>
                    <a:lnTo>
                      <a:pt x="390525" y="923925"/>
                    </a:lnTo>
                    <a:lnTo>
                      <a:pt x="352425" y="911225"/>
                    </a:lnTo>
                    <a:lnTo>
                      <a:pt x="317500" y="895350"/>
                    </a:lnTo>
                    <a:lnTo>
                      <a:pt x="285750" y="879475"/>
                    </a:lnTo>
                    <a:lnTo>
                      <a:pt x="260350" y="863600"/>
                    </a:lnTo>
                    <a:lnTo>
                      <a:pt x="206375" y="917575"/>
                    </a:lnTo>
                    <a:lnTo>
                      <a:pt x="95250" y="806450"/>
                    </a:lnTo>
                    <a:lnTo>
                      <a:pt x="146050" y="752475"/>
                    </a:lnTo>
                    <a:lnTo>
                      <a:pt x="123825" y="714375"/>
                    </a:lnTo>
                    <a:lnTo>
                      <a:pt x="101600" y="676275"/>
                    </a:lnTo>
                    <a:lnTo>
                      <a:pt x="85725" y="631825"/>
                    </a:lnTo>
                    <a:lnTo>
                      <a:pt x="76200" y="587375"/>
                    </a:lnTo>
                    <a:lnTo>
                      <a:pt x="0" y="590550"/>
                    </a:lnTo>
                    <a:lnTo>
                      <a:pt x="0" y="431800"/>
                    </a:lnTo>
                    <a:lnTo>
                      <a:pt x="73025" y="428625"/>
                    </a:lnTo>
                    <a:lnTo>
                      <a:pt x="82550" y="384175"/>
                    </a:lnTo>
                    <a:lnTo>
                      <a:pt x="98425" y="342900"/>
                    </a:lnTo>
                    <a:lnTo>
                      <a:pt x="117475" y="301625"/>
                    </a:lnTo>
                    <a:lnTo>
                      <a:pt x="139700" y="263525"/>
                    </a:lnTo>
                    <a:lnTo>
                      <a:pt x="85725" y="209550"/>
                    </a:lnTo>
                    <a:lnTo>
                      <a:pt x="196850" y="98425"/>
                    </a:lnTo>
                    <a:lnTo>
                      <a:pt x="250825" y="149225"/>
                    </a:lnTo>
                    <a:lnTo>
                      <a:pt x="285750" y="127000"/>
                    </a:lnTo>
                    <a:lnTo>
                      <a:pt x="317500" y="111125"/>
                    </a:lnTo>
                    <a:lnTo>
                      <a:pt x="349250" y="98425"/>
                    </a:lnTo>
                    <a:lnTo>
                      <a:pt x="381000" y="85725"/>
                    </a:lnTo>
                    <a:lnTo>
                      <a:pt x="415925" y="79375"/>
                    </a:lnTo>
                    <a:lnTo>
                      <a:pt x="415925" y="3175"/>
                    </a:lnTo>
                    <a:lnTo>
                      <a:pt x="495300" y="3175"/>
                    </a:lnTo>
                    <a:close/>
                  </a:path>
                </a:pathLst>
              </a:custGeom>
              <a:solidFill>
                <a:srgbClr val="F37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r-FR">
                  <a:solidFill>
                    <a:prstClr val="black"/>
                  </a:solidFill>
                  <a:latin typeface="Lato Light"/>
                </a:endParaRPr>
              </a:p>
            </p:txBody>
          </p:sp>
          <p:pic>
            <p:nvPicPr>
              <p:cNvPr id="60" name="Picture 25">
                <a:extLst>
                  <a:ext uri="{FF2B5EF4-FFF2-40B4-BE49-F238E27FC236}">
                    <a16:creationId xmlns:a16="http://schemas.microsoft.com/office/drawing/2014/main" id="{A702218F-6078-4EF9-8B80-7F825AC9B0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0000" y="287655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61" name="标题 1">
            <a:extLst>
              <a:ext uri="{FF2B5EF4-FFF2-40B4-BE49-F238E27FC236}">
                <a16:creationId xmlns:a16="http://schemas.microsoft.com/office/drawing/2014/main" id="{5CAEE6C2-6ACB-4B3C-BB61-ECA195387626}"/>
              </a:ext>
            </a:extLst>
          </p:cNvPr>
          <p:cNvSpPr txBox="1">
            <a:spLocks/>
          </p:cNvSpPr>
          <p:nvPr/>
        </p:nvSpPr>
        <p:spPr>
          <a:xfrm>
            <a:off x="636608" y="2640066"/>
            <a:ext cx="7119502" cy="1420096"/>
          </a:xfrm>
          <a:prstGeom prst="rect">
            <a:avLst/>
          </a:prstGeom>
          <a:noFill/>
        </p:spPr>
        <p:txBody>
          <a:bodyPr vert="horz" lIns="91440" tIns="45720" rIns="91440" bIns="45720" rtlCol="0" anchor="b">
            <a:no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pPr algn="l" rtl="0">
              <a:lnSpc>
                <a:spcPct val="100000"/>
              </a:lnSpc>
              <a:spcBef>
                <a:spcPts val="600"/>
              </a:spcBef>
            </a:pPr>
            <a:r>
              <a:rPr lang="fr-FR" sz="4800" b="1" i="0" u="none" baseline="0" dirty="0">
                <a:latin typeface="等线 Light" panose="02010600030101010101" pitchFamily="2" charset="-122"/>
                <a:ea typeface="等线 Light" panose="02010600030101010101" pitchFamily="2" charset="-122"/>
              </a:rPr>
              <a:t>Quelles sont les solutions Dahua </a:t>
            </a:r>
            <a:r>
              <a:rPr lang="fr-FR" sz="4800" b="1" i="0" u="none" baseline="0" dirty="0" err="1">
                <a:latin typeface="等线 Light" panose="02010600030101010101" pitchFamily="2" charset="-122"/>
                <a:ea typeface="等线 Light" panose="02010600030101010101" pitchFamily="2" charset="-122"/>
              </a:rPr>
              <a:t>Retail</a:t>
            </a:r>
            <a:r>
              <a:rPr lang="fr-FR" sz="4800" b="1" i="0" u="none" baseline="0" dirty="0">
                <a:latin typeface="等线 Light" panose="02010600030101010101" pitchFamily="2" charset="-122"/>
                <a:ea typeface="等线 Light" panose="02010600030101010101" pitchFamily="2" charset="-122"/>
              </a:rPr>
              <a:t> proposées aux clients ?</a:t>
            </a: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cs typeface="+mn-ea"/>
                <a:sym typeface="+mn-lt"/>
              </a:rPr>
              <a:t>Nous </a:t>
            </a:r>
            <a:r>
              <a:rPr lang="en-US" altLang="zh-CN" dirty="0" err="1">
                <a:latin typeface="+mn-lt"/>
                <a:cs typeface="+mn-ea"/>
                <a:sym typeface="+mn-lt"/>
              </a:rPr>
              <a:t>fournissons</a:t>
            </a:r>
            <a:endParaRPr lang="zh-CN" altLang="en-US" dirty="0">
              <a:latin typeface="+mn-lt"/>
              <a:cs typeface="+mn-ea"/>
              <a:sym typeface="+mn-lt"/>
            </a:endParaRPr>
          </a:p>
        </p:txBody>
      </p:sp>
      <p:sp>
        <p:nvSpPr>
          <p:cNvPr id="45" name="Title 3"/>
          <p:cNvSpPr txBox="1"/>
          <p:nvPr/>
        </p:nvSpPr>
        <p:spPr>
          <a:xfrm>
            <a:off x="279565" y="1379589"/>
            <a:ext cx="11887878" cy="917575"/>
          </a:xfrm>
          <a:prstGeom prst="rect">
            <a:avLst/>
          </a:prstGeom>
        </p:spPr>
        <p:txBody>
          <a:bodyPr vert="horz" wrap="square" lIns="146304" tIns="91440" rIns="146304" bIns="91440" rtlCol="0" anchor="t">
            <a:no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pPr algn="ctr"/>
            <a:r>
              <a:rPr lang="en-US" altLang="zh-CN" dirty="0">
                <a:latin typeface="+mn-lt"/>
                <a:cs typeface="+mn-ea"/>
                <a:sym typeface="+mn-lt"/>
              </a:rPr>
              <a:t>Solution </a:t>
            </a:r>
            <a:r>
              <a:rPr lang="en-US" altLang="zh-CN" dirty="0" err="1">
                <a:latin typeface="+mn-lt"/>
                <a:cs typeface="+mn-ea"/>
                <a:sym typeface="+mn-lt"/>
              </a:rPr>
              <a:t>Dahua</a:t>
            </a:r>
            <a:r>
              <a:rPr lang="en-US" altLang="zh-CN" dirty="0">
                <a:latin typeface="+mn-lt"/>
                <a:cs typeface="+mn-ea"/>
                <a:sym typeface="+mn-lt"/>
              </a:rPr>
              <a:t> Retail</a:t>
            </a:r>
          </a:p>
        </p:txBody>
      </p:sp>
      <p:cxnSp>
        <p:nvCxnSpPr>
          <p:cNvPr id="46" name="Straight Connector 54"/>
          <p:cNvCxnSpPr/>
          <p:nvPr/>
        </p:nvCxnSpPr>
        <p:spPr>
          <a:xfrm>
            <a:off x="3134981" y="2351437"/>
            <a:ext cx="6124197" cy="0"/>
          </a:xfrm>
          <a:prstGeom prst="line">
            <a:avLst/>
          </a:prstGeom>
          <a:ln w="9525">
            <a:solidFill>
              <a:srgbClr val="ADD8FA"/>
            </a:solidFill>
          </a:ln>
        </p:spPr>
        <p:style>
          <a:lnRef idx="1">
            <a:schemeClr val="accent1"/>
          </a:lnRef>
          <a:fillRef idx="0">
            <a:schemeClr val="accent1"/>
          </a:fillRef>
          <a:effectRef idx="0">
            <a:schemeClr val="accent1"/>
          </a:effectRef>
          <a:fontRef idx="minor">
            <a:schemeClr val="tx1"/>
          </a:fontRef>
        </p:style>
      </p:cxnSp>
      <p:sp>
        <p:nvSpPr>
          <p:cNvPr id="21" name="矩形 20"/>
          <p:cNvSpPr/>
          <p:nvPr/>
        </p:nvSpPr>
        <p:spPr>
          <a:xfrm>
            <a:off x="-143597" y="3314383"/>
            <a:ext cx="4400180" cy="46935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noAutofit/>
          </a:bodyPr>
          <a:lstStyle/>
          <a:p>
            <a:pPr algn="ctr" defTabSz="950595" fontAlgn="base">
              <a:spcBef>
                <a:spcPct val="0"/>
              </a:spcBef>
              <a:spcAft>
                <a:spcPct val="0"/>
              </a:spcAft>
            </a:pPr>
            <a:r>
              <a:rPr lang="en-US" altLang="zh-CN" sz="2000" b="1" dirty="0">
                <a:solidFill>
                  <a:srgbClr val="00BCF2"/>
                </a:solidFill>
                <a:cs typeface="+mn-ea"/>
                <a:sym typeface="+mn-lt"/>
              </a:rPr>
              <a:t>Protection et </a:t>
            </a:r>
            <a:r>
              <a:rPr lang="en-US" altLang="zh-CN" sz="2000" b="1" dirty="0" err="1">
                <a:solidFill>
                  <a:srgbClr val="00BCF2"/>
                </a:solidFill>
                <a:cs typeface="+mn-ea"/>
                <a:sym typeface="+mn-lt"/>
              </a:rPr>
              <a:t>sécurité</a:t>
            </a:r>
            <a:endParaRPr lang="en-US" altLang="zh-CN" sz="2000" b="1" dirty="0">
              <a:solidFill>
                <a:srgbClr val="00BCF2"/>
              </a:solidFill>
              <a:cs typeface="+mn-ea"/>
              <a:sym typeface="+mn-lt"/>
            </a:endParaRPr>
          </a:p>
        </p:txBody>
      </p:sp>
      <p:sp>
        <p:nvSpPr>
          <p:cNvPr id="22" name="矩形 21"/>
          <p:cNvSpPr/>
          <p:nvPr/>
        </p:nvSpPr>
        <p:spPr>
          <a:xfrm>
            <a:off x="4755213" y="3314384"/>
            <a:ext cx="3597460" cy="46935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noAutofit/>
          </a:bodyPr>
          <a:lstStyle/>
          <a:p>
            <a:pPr algn="ctr" defTabSz="950595" fontAlgn="base">
              <a:spcBef>
                <a:spcPct val="0"/>
              </a:spcBef>
              <a:spcAft>
                <a:spcPct val="0"/>
              </a:spcAft>
            </a:pPr>
            <a:r>
              <a:rPr lang="en-US" altLang="zh-CN" sz="2000" b="1" dirty="0">
                <a:solidFill>
                  <a:srgbClr val="00BCF2"/>
                </a:solidFill>
                <a:cs typeface="+mn-ea"/>
                <a:sym typeface="+mn-lt"/>
              </a:rPr>
              <a:t>Intelligence </a:t>
            </a:r>
            <a:r>
              <a:rPr lang="en-US" altLang="zh-CN" sz="2000" b="1" dirty="0" err="1">
                <a:solidFill>
                  <a:srgbClr val="00BCF2"/>
                </a:solidFill>
                <a:cs typeface="+mn-ea"/>
                <a:sym typeface="+mn-lt"/>
              </a:rPr>
              <a:t>économique</a:t>
            </a:r>
            <a:endParaRPr lang="en-US" altLang="zh-CN" sz="2000" b="1" dirty="0">
              <a:solidFill>
                <a:srgbClr val="00BCF2"/>
              </a:solidFill>
              <a:cs typeface="+mn-ea"/>
              <a:sym typeface="+mn-lt"/>
            </a:endParaRPr>
          </a:p>
        </p:txBody>
      </p:sp>
      <p:sp>
        <p:nvSpPr>
          <p:cNvPr id="23" name="矩形 22"/>
          <p:cNvSpPr/>
          <p:nvPr/>
        </p:nvSpPr>
        <p:spPr>
          <a:xfrm>
            <a:off x="8851303" y="3221785"/>
            <a:ext cx="3516410" cy="65223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noAutofit/>
          </a:bodyPr>
          <a:lstStyle/>
          <a:p>
            <a:pPr algn="ctr" defTabSz="950595" fontAlgn="base">
              <a:spcBef>
                <a:spcPct val="0"/>
              </a:spcBef>
              <a:spcAft>
                <a:spcPct val="0"/>
              </a:spcAft>
            </a:pPr>
            <a:r>
              <a:rPr lang="en-US" altLang="zh-CN" sz="2000" b="1" dirty="0" err="1">
                <a:solidFill>
                  <a:srgbClr val="00BCF2"/>
                </a:solidFill>
                <a:cs typeface="+mn-ea"/>
                <a:sym typeface="+mn-lt"/>
              </a:rPr>
              <a:t>Meilleure</a:t>
            </a:r>
            <a:r>
              <a:rPr lang="en-US" altLang="zh-CN" sz="2000" b="1" dirty="0">
                <a:solidFill>
                  <a:srgbClr val="00BCF2"/>
                </a:solidFill>
                <a:cs typeface="+mn-ea"/>
                <a:sym typeface="+mn-lt"/>
              </a:rPr>
              <a:t> </a:t>
            </a:r>
            <a:r>
              <a:rPr lang="en-US" altLang="zh-CN" sz="2000" b="1" dirty="0" err="1">
                <a:solidFill>
                  <a:srgbClr val="00BCF2"/>
                </a:solidFill>
                <a:cs typeface="+mn-ea"/>
                <a:sym typeface="+mn-lt"/>
              </a:rPr>
              <a:t>expérience</a:t>
            </a:r>
            <a:r>
              <a:rPr lang="en-US" altLang="zh-CN" sz="2000" b="1" dirty="0">
                <a:solidFill>
                  <a:srgbClr val="00BCF2"/>
                </a:solidFill>
                <a:cs typeface="+mn-ea"/>
                <a:sym typeface="+mn-lt"/>
              </a:rPr>
              <a:t> </a:t>
            </a:r>
            <a:r>
              <a:rPr lang="en-US" altLang="zh-CN" sz="2000" b="1" dirty="0" err="1">
                <a:solidFill>
                  <a:srgbClr val="00BCF2"/>
                </a:solidFill>
                <a:cs typeface="+mn-ea"/>
                <a:sym typeface="+mn-lt"/>
              </a:rPr>
              <a:t>d'achat</a:t>
            </a:r>
            <a:endParaRPr lang="id-ID" altLang="zh-CN" sz="2000" b="1" dirty="0">
              <a:solidFill>
                <a:srgbClr val="00BCF2"/>
              </a:solidFill>
              <a:cs typeface="+mn-ea"/>
              <a:sym typeface="+mn-lt"/>
            </a:endParaRPr>
          </a:p>
        </p:txBody>
      </p:sp>
      <p:sp>
        <p:nvSpPr>
          <p:cNvPr id="24" name="矩形 23"/>
          <p:cNvSpPr/>
          <p:nvPr/>
        </p:nvSpPr>
        <p:spPr>
          <a:xfrm>
            <a:off x="550076" y="4043914"/>
            <a:ext cx="3566121" cy="1431161"/>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altLang="zh-CN" sz="1600" dirty="0">
                <a:gradFill>
                  <a:gsLst>
                    <a:gs pos="2917">
                      <a:schemeClr val="tx1"/>
                    </a:gs>
                    <a:gs pos="30000">
                      <a:schemeClr val="tx1"/>
                    </a:gs>
                  </a:gsLst>
                  <a:lin ang="5400000" scaled="0"/>
                </a:gradFill>
                <a:cs typeface="+mn-ea"/>
                <a:sym typeface="+mn-lt"/>
              </a:rPr>
              <a:t>Surveillance </a:t>
            </a:r>
            <a:r>
              <a:rPr lang="en-US" altLang="zh-CN" sz="1600" dirty="0" smtClean="0">
                <a:gradFill>
                  <a:gsLst>
                    <a:gs pos="2917">
                      <a:schemeClr val="tx1"/>
                    </a:gs>
                    <a:gs pos="30000">
                      <a:schemeClr val="tx1"/>
                    </a:gs>
                  </a:gsLst>
                  <a:lin ang="5400000" scaled="0"/>
                </a:gradFill>
                <a:cs typeface="+mn-ea"/>
                <a:sym typeface="+mn-lt"/>
              </a:rPr>
              <a:t>de </a:t>
            </a:r>
            <a:r>
              <a:rPr lang="en-US" altLang="zh-CN" sz="1600" dirty="0" err="1" smtClean="0">
                <a:gradFill>
                  <a:gsLst>
                    <a:gs pos="2917">
                      <a:schemeClr val="tx1"/>
                    </a:gs>
                    <a:gs pos="30000">
                      <a:schemeClr val="tx1"/>
                    </a:gs>
                  </a:gsLst>
                  <a:lin ang="5400000" scaled="0"/>
                </a:gradFill>
                <a:cs typeface="+mn-ea"/>
                <a:sym typeface="+mn-lt"/>
              </a:rPr>
              <a:t>l’ensemble</a:t>
            </a:r>
            <a:r>
              <a:rPr lang="en-US" altLang="zh-CN" sz="1600" dirty="0" smtClean="0">
                <a:gradFill>
                  <a:gsLst>
                    <a:gs pos="2917">
                      <a:schemeClr val="tx1"/>
                    </a:gs>
                    <a:gs pos="30000">
                      <a:schemeClr val="tx1"/>
                    </a:gs>
                  </a:gsLst>
                  <a:lin ang="5400000" scaled="0"/>
                </a:gradFill>
                <a:cs typeface="+mn-ea"/>
                <a:sym typeface="+mn-lt"/>
              </a:rPr>
              <a:t> des zones </a:t>
            </a:r>
            <a:r>
              <a:rPr lang="en-US" altLang="zh-CN" sz="1600" dirty="0" err="1" smtClean="0">
                <a:gradFill>
                  <a:gsLst>
                    <a:gs pos="2917">
                      <a:schemeClr val="tx1"/>
                    </a:gs>
                    <a:gs pos="30000">
                      <a:schemeClr val="tx1"/>
                    </a:gs>
                  </a:gsLst>
                  <a:lin ang="5400000" scaled="0"/>
                </a:gradFill>
                <a:cs typeface="+mn-ea"/>
                <a:sym typeface="+mn-lt"/>
              </a:rPr>
              <a:t>sensibles</a:t>
            </a:r>
            <a:r>
              <a:rPr lang="en-US" altLang="zh-CN" sz="1600" dirty="0" smtClean="0">
                <a:gradFill>
                  <a:gsLst>
                    <a:gs pos="2917">
                      <a:schemeClr val="tx1"/>
                    </a:gs>
                    <a:gs pos="30000">
                      <a:schemeClr val="tx1"/>
                    </a:gs>
                  </a:gsLst>
                  <a:lin ang="5400000" scaled="0"/>
                </a:gradFill>
                <a:cs typeface="+mn-ea"/>
                <a:sym typeface="+mn-lt"/>
              </a:rPr>
              <a:t>  </a:t>
            </a:r>
            <a:endParaRPr lang="en-US" altLang="zh-CN" sz="1600" dirty="0">
              <a:gradFill>
                <a:gsLst>
                  <a:gs pos="2917">
                    <a:schemeClr val="tx1"/>
                  </a:gs>
                  <a:gs pos="30000">
                    <a:schemeClr val="tx1"/>
                  </a:gs>
                </a:gsLst>
                <a:lin ang="5400000" scaled="0"/>
              </a:gradFill>
              <a:cs typeface="+mn-ea"/>
              <a:sym typeface="+mn-lt"/>
            </a:endParaRPr>
          </a:p>
          <a:p>
            <a:pPr marL="285750" indent="-285750">
              <a:lnSpc>
                <a:spcPct val="90000"/>
              </a:lnSpc>
              <a:spcAft>
                <a:spcPts val="600"/>
              </a:spcAft>
              <a:buFont typeface="Arial" panose="020B0604020202020204" pitchFamily="34" charset="0"/>
              <a:buChar char="•"/>
            </a:pPr>
            <a:r>
              <a:rPr lang="en-US" altLang="zh-CN" sz="1600" dirty="0" err="1" smtClean="0">
                <a:gradFill>
                  <a:gsLst>
                    <a:gs pos="2917">
                      <a:schemeClr val="tx1"/>
                    </a:gs>
                    <a:gs pos="30000">
                      <a:schemeClr val="tx1"/>
                    </a:gs>
                  </a:gsLst>
                  <a:lin ang="5400000" scaled="0"/>
                </a:gradFill>
                <a:cs typeface="+mn-ea"/>
                <a:sym typeface="+mn-lt"/>
              </a:rPr>
              <a:t>Captation</a:t>
            </a:r>
            <a:r>
              <a:rPr lang="en-US" altLang="zh-CN" sz="1600" dirty="0" smtClean="0">
                <a:gradFill>
                  <a:gsLst>
                    <a:gs pos="2917">
                      <a:schemeClr val="tx1"/>
                    </a:gs>
                    <a:gs pos="30000">
                      <a:schemeClr val="tx1"/>
                    </a:gs>
                  </a:gsLst>
                  <a:lin ang="5400000" scaled="0"/>
                </a:gradFill>
                <a:cs typeface="+mn-ea"/>
                <a:sym typeface="+mn-lt"/>
              </a:rPr>
              <a:t> des visages</a:t>
            </a:r>
            <a:endParaRPr lang="en-US" altLang="zh-CN" sz="1600" dirty="0">
              <a:gradFill>
                <a:gsLst>
                  <a:gs pos="2917">
                    <a:schemeClr val="tx1"/>
                  </a:gs>
                  <a:gs pos="30000">
                    <a:schemeClr val="tx1"/>
                  </a:gs>
                </a:gsLst>
                <a:lin ang="5400000" scaled="0"/>
              </a:gradFill>
              <a:cs typeface="+mn-ea"/>
              <a:sym typeface="+mn-lt"/>
            </a:endParaRPr>
          </a:p>
          <a:p>
            <a:pPr marL="285750" indent="-285750">
              <a:lnSpc>
                <a:spcPct val="90000"/>
              </a:lnSpc>
              <a:spcAft>
                <a:spcPts val="600"/>
              </a:spcAft>
              <a:buFont typeface="Arial" panose="020B0604020202020204" pitchFamily="34" charset="0"/>
              <a:buChar char="•"/>
            </a:pPr>
            <a:r>
              <a:rPr lang="en-US" altLang="zh-CN" sz="1600" dirty="0" smtClean="0">
                <a:gradFill>
                  <a:gsLst>
                    <a:gs pos="2917">
                      <a:schemeClr val="tx1"/>
                    </a:gs>
                    <a:gs pos="30000">
                      <a:schemeClr val="tx1"/>
                    </a:gs>
                  </a:gsLst>
                  <a:lin ang="5400000" scaled="0"/>
                </a:gradFill>
                <a:cs typeface="+mn-ea"/>
                <a:sym typeface="+mn-lt"/>
              </a:rPr>
              <a:t>Lecture du ticket de </a:t>
            </a:r>
            <a:r>
              <a:rPr lang="en-US" altLang="zh-CN" sz="1600" dirty="0" err="1" smtClean="0">
                <a:gradFill>
                  <a:gsLst>
                    <a:gs pos="2917">
                      <a:schemeClr val="tx1"/>
                    </a:gs>
                    <a:gs pos="30000">
                      <a:schemeClr val="tx1"/>
                    </a:gs>
                  </a:gsLst>
                  <a:lin ang="5400000" scaled="0"/>
                </a:gradFill>
                <a:cs typeface="+mn-ea"/>
                <a:sym typeface="+mn-lt"/>
              </a:rPr>
              <a:t>caisse</a:t>
            </a:r>
            <a:endParaRPr lang="en-US" altLang="zh-CN" sz="1600" dirty="0">
              <a:gradFill>
                <a:gsLst>
                  <a:gs pos="2917">
                    <a:schemeClr val="tx1"/>
                  </a:gs>
                  <a:gs pos="30000">
                    <a:schemeClr val="tx1"/>
                  </a:gs>
                </a:gsLst>
                <a:lin ang="5400000" scaled="0"/>
              </a:gradFill>
              <a:cs typeface="+mn-ea"/>
              <a:sym typeface="+mn-lt"/>
            </a:endParaRPr>
          </a:p>
          <a:p>
            <a:pPr marL="285750" indent="-285750">
              <a:lnSpc>
                <a:spcPct val="90000"/>
              </a:lnSpc>
              <a:spcAft>
                <a:spcPts val="600"/>
              </a:spcAft>
              <a:buFont typeface="Arial" panose="020B0604020202020204" pitchFamily="34" charset="0"/>
              <a:buChar char="•"/>
            </a:pPr>
            <a:r>
              <a:rPr lang="en-US" altLang="zh-CN" sz="1600" dirty="0" err="1" smtClean="0">
                <a:gradFill>
                  <a:gsLst>
                    <a:gs pos="2917">
                      <a:schemeClr val="tx1"/>
                    </a:gs>
                    <a:gs pos="30000">
                      <a:schemeClr val="tx1"/>
                    </a:gs>
                  </a:gsLst>
                  <a:lin ang="5400000" scaled="0"/>
                </a:gradFill>
                <a:cs typeface="+mn-ea"/>
                <a:sym typeface="+mn-lt"/>
              </a:rPr>
              <a:t>Différentes</a:t>
            </a:r>
            <a:r>
              <a:rPr lang="en-US" altLang="zh-CN" sz="1600" dirty="0" smtClean="0">
                <a:gradFill>
                  <a:gsLst>
                    <a:gs pos="2917">
                      <a:schemeClr val="tx1"/>
                    </a:gs>
                    <a:gs pos="30000">
                      <a:schemeClr val="tx1"/>
                    </a:gs>
                  </a:gsLst>
                  <a:lin ang="5400000" scaled="0"/>
                </a:gradFill>
                <a:cs typeface="+mn-ea"/>
                <a:sym typeface="+mn-lt"/>
              </a:rPr>
              <a:t> solutions de </a:t>
            </a:r>
            <a:r>
              <a:rPr lang="en-US" altLang="zh-CN" sz="1600" dirty="0" err="1" smtClean="0">
                <a:gradFill>
                  <a:gsLst>
                    <a:gs pos="2917">
                      <a:schemeClr val="tx1"/>
                    </a:gs>
                    <a:gs pos="30000">
                      <a:schemeClr val="tx1"/>
                    </a:gs>
                  </a:gsLst>
                  <a:lin ang="5400000" scaled="0"/>
                </a:gradFill>
                <a:cs typeface="+mn-ea"/>
                <a:sym typeface="+mn-lt"/>
              </a:rPr>
              <a:t>visuels</a:t>
            </a:r>
            <a:endParaRPr lang="en-US" altLang="zh-CN" sz="1600" dirty="0">
              <a:gradFill>
                <a:gsLst>
                  <a:gs pos="2917">
                    <a:schemeClr val="tx1"/>
                  </a:gs>
                  <a:gs pos="30000">
                    <a:schemeClr val="tx1"/>
                  </a:gs>
                </a:gsLst>
                <a:lin ang="5400000" scaled="0"/>
              </a:gradFill>
              <a:cs typeface="+mn-ea"/>
              <a:sym typeface="+mn-lt"/>
            </a:endParaRPr>
          </a:p>
        </p:txBody>
      </p:sp>
      <p:sp>
        <p:nvSpPr>
          <p:cNvPr id="25" name="矩形 24"/>
          <p:cNvSpPr/>
          <p:nvPr/>
        </p:nvSpPr>
        <p:spPr>
          <a:xfrm>
            <a:off x="5123045" y="3919465"/>
            <a:ext cx="3091936" cy="1209562"/>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altLang="zh-CN" sz="1600" dirty="0">
                <a:gradFill>
                  <a:gsLst>
                    <a:gs pos="2917">
                      <a:schemeClr val="tx1"/>
                    </a:gs>
                    <a:gs pos="30000">
                      <a:schemeClr val="tx1"/>
                    </a:gs>
                  </a:gsLst>
                  <a:lin ang="5400000" scaled="0"/>
                </a:gradFill>
                <a:cs typeface="+mn-ea"/>
                <a:sym typeface="+mn-lt"/>
              </a:rPr>
              <a:t>Carte </a:t>
            </a:r>
            <a:r>
              <a:rPr lang="en-US" altLang="zh-CN" sz="1600" dirty="0" err="1">
                <a:gradFill>
                  <a:gsLst>
                    <a:gs pos="2917">
                      <a:schemeClr val="tx1"/>
                    </a:gs>
                    <a:gs pos="30000">
                      <a:schemeClr val="tx1"/>
                    </a:gs>
                  </a:gsLst>
                  <a:lin ang="5400000" scaled="0"/>
                </a:gradFill>
                <a:cs typeface="+mn-ea"/>
                <a:sym typeface="+mn-lt"/>
              </a:rPr>
              <a:t>thermique</a:t>
            </a:r>
            <a:r>
              <a:rPr lang="en-US" altLang="zh-CN" sz="1600" dirty="0">
                <a:gradFill>
                  <a:gsLst>
                    <a:gs pos="2917">
                      <a:schemeClr val="tx1"/>
                    </a:gs>
                    <a:gs pos="30000">
                      <a:schemeClr val="tx1"/>
                    </a:gs>
                  </a:gsLst>
                  <a:lin ang="5400000" scaled="0"/>
                </a:gradFill>
                <a:cs typeface="+mn-ea"/>
                <a:sym typeface="+mn-lt"/>
              </a:rPr>
              <a:t> AI</a:t>
            </a:r>
          </a:p>
          <a:p>
            <a:pPr marL="285750" indent="-285750">
              <a:lnSpc>
                <a:spcPct val="90000"/>
              </a:lnSpc>
              <a:spcAft>
                <a:spcPts val="600"/>
              </a:spcAft>
              <a:buFont typeface="Arial" panose="020B0604020202020204" pitchFamily="34" charset="0"/>
              <a:buChar char="•"/>
            </a:pPr>
            <a:r>
              <a:rPr lang="en-US" altLang="zh-CN" sz="1600" dirty="0" err="1">
                <a:gradFill>
                  <a:gsLst>
                    <a:gs pos="2917">
                      <a:schemeClr val="tx1"/>
                    </a:gs>
                    <a:gs pos="30000">
                      <a:schemeClr val="tx1"/>
                    </a:gs>
                  </a:gsLst>
                  <a:lin ang="5400000" scaled="0"/>
                </a:gradFill>
                <a:cs typeface="+mn-ea"/>
                <a:sym typeface="+mn-lt"/>
              </a:rPr>
              <a:t>Démographie</a:t>
            </a:r>
            <a:r>
              <a:rPr lang="en-US" altLang="zh-CN" sz="1600" dirty="0">
                <a:gradFill>
                  <a:gsLst>
                    <a:gs pos="2917">
                      <a:schemeClr val="tx1"/>
                    </a:gs>
                    <a:gs pos="30000">
                      <a:schemeClr val="tx1"/>
                    </a:gs>
                  </a:gsLst>
                  <a:lin ang="5400000" scaled="0"/>
                </a:gradFill>
                <a:cs typeface="+mn-ea"/>
                <a:sym typeface="+mn-lt"/>
              </a:rPr>
              <a:t> du client</a:t>
            </a:r>
          </a:p>
          <a:p>
            <a:pPr marL="285750" indent="-285750">
              <a:lnSpc>
                <a:spcPct val="90000"/>
              </a:lnSpc>
              <a:spcAft>
                <a:spcPts val="600"/>
              </a:spcAft>
              <a:buFont typeface="Arial" panose="020B0604020202020204" pitchFamily="34" charset="0"/>
              <a:buChar char="•"/>
            </a:pPr>
            <a:r>
              <a:rPr lang="en-US" altLang="zh-CN" sz="1600" dirty="0" err="1">
                <a:gradFill>
                  <a:gsLst>
                    <a:gs pos="2917">
                      <a:schemeClr val="tx1"/>
                    </a:gs>
                    <a:gs pos="30000">
                      <a:schemeClr val="tx1"/>
                    </a:gs>
                  </a:gsLst>
                  <a:lin ang="5400000" scaled="0"/>
                </a:gradFill>
                <a:cs typeface="+mn-ea"/>
                <a:sym typeface="+mn-lt"/>
              </a:rPr>
              <a:t>Analyse</a:t>
            </a:r>
            <a:r>
              <a:rPr lang="en-US" altLang="zh-CN" sz="1600" dirty="0">
                <a:gradFill>
                  <a:gsLst>
                    <a:gs pos="2917">
                      <a:schemeClr val="tx1"/>
                    </a:gs>
                    <a:gs pos="30000">
                      <a:schemeClr val="tx1"/>
                    </a:gs>
                  </a:gsLst>
                  <a:lin ang="5400000" scaled="0"/>
                </a:gradFill>
                <a:cs typeface="+mn-ea"/>
                <a:sym typeface="+mn-lt"/>
              </a:rPr>
              <a:t> des flux clients</a:t>
            </a:r>
          </a:p>
          <a:p>
            <a:pPr marL="285750" indent="-285750">
              <a:lnSpc>
                <a:spcPct val="90000"/>
              </a:lnSpc>
              <a:spcAft>
                <a:spcPts val="600"/>
              </a:spcAft>
              <a:buFont typeface="Arial" panose="020B0604020202020204" pitchFamily="34" charset="0"/>
              <a:buChar char="•"/>
            </a:pPr>
            <a:r>
              <a:rPr lang="en-US" altLang="zh-CN" sz="1600" dirty="0">
                <a:gradFill>
                  <a:gsLst>
                    <a:gs pos="2917">
                      <a:schemeClr val="tx1"/>
                    </a:gs>
                    <a:gs pos="30000">
                      <a:schemeClr val="tx1"/>
                    </a:gs>
                  </a:gsLst>
                  <a:lin ang="5400000" scaled="0"/>
                </a:gradFill>
                <a:cs typeface="+mn-ea"/>
                <a:sym typeface="+mn-lt"/>
              </a:rPr>
              <a:t>Aperçu des </a:t>
            </a:r>
            <a:r>
              <a:rPr lang="en-US" altLang="zh-CN" sz="1600" dirty="0" err="1">
                <a:gradFill>
                  <a:gsLst>
                    <a:gs pos="2917">
                      <a:schemeClr val="tx1"/>
                    </a:gs>
                    <a:gs pos="30000">
                      <a:schemeClr val="tx1"/>
                    </a:gs>
                  </a:gsLst>
                  <a:lin ang="5400000" scaled="0"/>
                </a:gradFill>
                <a:cs typeface="+mn-ea"/>
                <a:sym typeface="+mn-lt"/>
              </a:rPr>
              <a:t>marchandises</a:t>
            </a:r>
            <a:endParaRPr lang="en-US" altLang="zh-CN" sz="1600" dirty="0">
              <a:gradFill>
                <a:gsLst>
                  <a:gs pos="2917">
                    <a:schemeClr val="tx1"/>
                  </a:gs>
                  <a:gs pos="30000">
                    <a:schemeClr val="tx1"/>
                  </a:gs>
                </a:gsLst>
                <a:lin ang="5400000" scaled="0"/>
              </a:gradFill>
              <a:cs typeface="+mn-ea"/>
              <a:sym typeface="+mn-lt"/>
            </a:endParaRPr>
          </a:p>
        </p:txBody>
      </p:sp>
      <p:sp>
        <p:nvSpPr>
          <p:cNvPr id="26" name="矩形 25"/>
          <p:cNvSpPr/>
          <p:nvPr/>
        </p:nvSpPr>
        <p:spPr>
          <a:xfrm>
            <a:off x="9220783" y="3885598"/>
            <a:ext cx="2828490" cy="834074"/>
          </a:xfrm>
          <a:prstGeom prst="rect">
            <a:avLst/>
          </a:prstGeom>
        </p:spPr>
        <p:txBody>
          <a:bodyPr wrap="square">
            <a:spAutoFit/>
          </a:bodyPr>
          <a:lstStyle/>
          <a:p>
            <a:pPr marL="285750" indent="-285750">
              <a:lnSpc>
                <a:spcPct val="90000"/>
              </a:lnSpc>
              <a:spcAft>
                <a:spcPts val="600"/>
              </a:spcAft>
              <a:buFont typeface="Arial" panose="020B0604020202020204" pitchFamily="34" charset="0"/>
              <a:buChar char="•"/>
            </a:pPr>
            <a:r>
              <a:rPr lang="en-US" altLang="zh-CN" sz="1600" dirty="0" smtClean="0">
                <a:gradFill>
                  <a:gsLst>
                    <a:gs pos="2917">
                      <a:schemeClr val="tx1"/>
                    </a:gs>
                    <a:gs pos="30000">
                      <a:schemeClr val="tx1"/>
                    </a:gs>
                  </a:gsLst>
                  <a:lin ang="5400000" scaled="0"/>
                </a:gradFill>
                <a:cs typeface="+mn-ea"/>
                <a:sym typeface="+mn-lt"/>
              </a:rPr>
              <a:t>Pas </a:t>
            </a:r>
            <a:r>
              <a:rPr lang="en-US" altLang="zh-CN" sz="1600" dirty="0" err="1" smtClean="0">
                <a:gradFill>
                  <a:gsLst>
                    <a:gs pos="2917">
                      <a:schemeClr val="tx1"/>
                    </a:gs>
                    <a:gs pos="30000">
                      <a:schemeClr val="tx1"/>
                    </a:gs>
                  </a:gsLst>
                  <a:lin ang="5400000" scaled="0"/>
                </a:gradFill>
                <a:cs typeface="+mn-ea"/>
                <a:sym typeface="+mn-lt"/>
              </a:rPr>
              <a:t>d’attente</a:t>
            </a:r>
            <a:r>
              <a:rPr lang="en-US" altLang="zh-CN" sz="1600" dirty="0" smtClean="0">
                <a:gradFill>
                  <a:gsLst>
                    <a:gs pos="2917">
                      <a:schemeClr val="tx1"/>
                    </a:gs>
                    <a:gs pos="30000">
                      <a:schemeClr val="tx1"/>
                    </a:gs>
                  </a:gsLst>
                  <a:lin ang="5400000" scaled="0"/>
                </a:gradFill>
                <a:cs typeface="+mn-ea"/>
                <a:sym typeface="+mn-lt"/>
              </a:rPr>
              <a:t> </a:t>
            </a:r>
            <a:r>
              <a:rPr lang="en-US" altLang="zh-CN" sz="1600" dirty="0" err="1" smtClean="0">
                <a:gradFill>
                  <a:gsLst>
                    <a:gs pos="2917">
                      <a:schemeClr val="tx1"/>
                    </a:gs>
                    <a:gs pos="30000">
                      <a:schemeClr val="tx1"/>
                    </a:gs>
                  </a:gsLst>
                  <a:lin ang="5400000" scaled="0"/>
                </a:gradFill>
                <a:cs typeface="+mn-ea"/>
                <a:sym typeface="+mn-lt"/>
              </a:rPr>
              <a:t>en</a:t>
            </a:r>
            <a:r>
              <a:rPr lang="en-US" altLang="zh-CN" sz="1600" dirty="0" smtClean="0">
                <a:gradFill>
                  <a:gsLst>
                    <a:gs pos="2917">
                      <a:schemeClr val="tx1"/>
                    </a:gs>
                    <a:gs pos="30000">
                      <a:schemeClr val="tx1"/>
                    </a:gs>
                  </a:gsLst>
                  <a:lin ang="5400000" scaled="0"/>
                </a:gradFill>
                <a:cs typeface="+mn-ea"/>
                <a:sym typeface="+mn-lt"/>
              </a:rPr>
              <a:t> </a:t>
            </a:r>
            <a:r>
              <a:rPr lang="en-US" altLang="zh-CN" sz="1600" dirty="0" err="1" smtClean="0">
                <a:gradFill>
                  <a:gsLst>
                    <a:gs pos="2917">
                      <a:schemeClr val="tx1"/>
                    </a:gs>
                    <a:gs pos="30000">
                      <a:schemeClr val="tx1"/>
                    </a:gs>
                  </a:gsLst>
                  <a:lin ang="5400000" scaled="0"/>
                </a:gradFill>
                <a:cs typeface="+mn-ea"/>
                <a:sym typeface="+mn-lt"/>
              </a:rPr>
              <a:t>Caisse</a:t>
            </a:r>
            <a:r>
              <a:rPr lang="en-US" altLang="zh-CN" sz="1600" dirty="0" smtClean="0">
                <a:gradFill>
                  <a:gsLst>
                    <a:gs pos="2917">
                      <a:schemeClr val="tx1"/>
                    </a:gs>
                    <a:gs pos="30000">
                      <a:schemeClr val="tx1"/>
                    </a:gs>
                  </a:gsLst>
                  <a:lin ang="5400000" scaled="0"/>
                </a:gradFill>
                <a:cs typeface="+mn-ea"/>
                <a:sym typeface="+mn-lt"/>
              </a:rPr>
              <a:t> </a:t>
            </a:r>
            <a:endParaRPr lang="en-US" altLang="zh-CN" sz="1600" dirty="0">
              <a:gradFill>
                <a:gsLst>
                  <a:gs pos="2917">
                    <a:schemeClr val="tx1"/>
                  </a:gs>
                  <a:gs pos="30000">
                    <a:schemeClr val="tx1"/>
                  </a:gs>
                </a:gsLst>
                <a:lin ang="5400000" scaled="0"/>
              </a:gradFill>
              <a:cs typeface="+mn-ea"/>
              <a:sym typeface="+mn-lt"/>
            </a:endParaRPr>
          </a:p>
          <a:p>
            <a:pPr marL="285750" indent="-285750">
              <a:lnSpc>
                <a:spcPct val="90000"/>
              </a:lnSpc>
              <a:spcAft>
                <a:spcPts val="600"/>
              </a:spcAft>
              <a:buFont typeface="Arial" panose="020B0604020202020204" pitchFamily="34" charset="0"/>
              <a:buChar char="•"/>
            </a:pPr>
            <a:r>
              <a:rPr lang="en-US" altLang="zh-CN" sz="1600" dirty="0" err="1">
                <a:gradFill>
                  <a:gsLst>
                    <a:gs pos="2917">
                      <a:schemeClr val="tx1"/>
                    </a:gs>
                    <a:gs pos="30000">
                      <a:schemeClr val="tx1"/>
                    </a:gs>
                  </a:gsLst>
                  <a:lin ang="5400000" scaled="0"/>
                </a:gradFill>
                <a:cs typeface="+mn-ea"/>
                <a:sym typeface="+mn-lt"/>
              </a:rPr>
              <a:t>Affichage</a:t>
            </a:r>
            <a:r>
              <a:rPr lang="en-US" altLang="zh-CN" sz="1600" dirty="0">
                <a:gradFill>
                  <a:gsLst>
                    <a:gs pos="2917">
                      <a:schemeClr val="tx1"/>
                    </a:gs>
                    <a:gs pos="30000">
                      <a:schemeClr val="tx1"/>
                    </a:gs>
                  </a:gsLst>
                  <a:lin ang="5400000" scaled="0"/>
                </a:gradFill>
                <a:cs typeface="+mn-ea"/>
                <a:sym typeface="+mn-lt"/>
              </a:rPr>
              <a:t> </a:t>
            </a:r>
            <a:r>
              <a:rPr lang="en-US" altLang="zh-CN" sz="1600" dirty="0" err="1">
                <a:gradFill>
                  <a:gsLst>
                    <a:gs pos="2917">
                      <a:schemeClr val="tx1"/>
                    </a:gs>
                    <a:gs pos="30000">
                      <a:schemeClr val="tx1"/>
                    </a:gs>
                  </a:gsLst>
                  <a:lin ang="5400000" scaled="0"/>
                </a:gradFill>
                <a:cs typeface="+mn-ea"/>
                <a:sym typeface="+mn-lt"/>
              </a:rPr>
              <a:t>publicitaire</a:t>
            </a:r>
            <a:r>
              <a:rPr lang="en-US" altLang="zh-CN" sz="1600" dirty="0">
                <a:gradFill>
                  <a:gsLst>
                    <a:gs pos="2917">
                      <a:schemeClr val="tx1"/>
                    </a:gs>
                    <a:gs pos="30000">
                      <a:schemeClr val="tx1"/>
                    </a:gs>
                  </a:gsLst>
                  <a:lin ang="5400000" scaled="0"/>
                </a:gradFill>
                <a:cs typeface="+mn-ea"/>
                <a:sym typeface="+mn-lt"/>
              </a:rPr>
              <a:t> </a:t>
            </a:r>
            <a:r>
              <a:rPr lang="en-US" altLang="zh-CN" sz="1600" dirty="0" smtClean="0">
                <a:gradFill>
                  <a:gsLst>
                    <a:gs pos="2917">
                      <a:schemeClr val="tx1"/>
                    </a:gs>
                    <a:gs pos="30000">
                      <a:schemeClr val="tx1"/>
                    </a:gs>
                  </a:gsLst>
                  <a:lin ang="5400000" scaled="0"/>
                </a:gradFill>
                <a:cs typeface="+mn-ea"/>
                <a:sym typeface="+mn-lt"/>
              </a:rPr>
              <a:t>intelligent</a:t>
            </a:r>
            <a:endParaRPr lang="en-US" altLang="zh-CN" sz="1600" dirty="0">
              <a:gradFill>
                <a:gsLst>
                  <a:gs pos="2917">
                    <a:schemeClr val="tx1"/>
                  </a:gs>
                  <a:gs pos="30000">
                    <a:schemeClr val="tx1"/>
                  </a:gs>
                </a:gsLst>
                <a:lin ang="5400000" scaled="0"/>
              </a:gradFill>
              <a:cs typeface="+mn-ea"/>
              <a:sym typeface="+mn-lt"/>
            </a:endParaRPr>
          </a:p>
        </p:txBody>
      </p:sp>
      <p:cxnSp>
        <p:nvCxnSpPr>
          <p:cNvPr id="27" name="直接连接符 26"/>
          <p:cNvCxnSpPr/>
          <p:nvPr/>
        </p:nvCxnSpPr>
        <p:spPr>
          <a:xfrm>
            <a:off x="8660730" y="3783743"/>
            <a:ext cx="0" cy="16435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4454536" y="3783743"/>
            <a:ext cx="0" cy="1643501"/>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 name="图片 1842">
            <a:extLst>
              <a:ext uri="{FF2B5EF4-FFF2-40B4-BE49-F238E27FC236}">
                <a16:creationId xmlns:a16="http://schemas.microsoft.com/office/drawing/2014/main" id="{00000000-0008-0000-0200-00003D0000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458" y="5818153"/>
            <a:ext cx="789552" cy="336176"/>
          </a:xfrm>
          <a:prstGeom prst="rect">
            <a:avLst/>
          </a:prstGeom>
        </p:spPr>
      </p:pic>
      <p:pic>
        <p:nvPicPr>
          <p:cNvPr id="14" name="图片 1832"/>
          <p:cNvPicPr>
            <a:picLocks noChangeAspect="1"/>
          </p:cNvPicPr>
          <p:nvPr/>
        </p:nvPicPr>
        <p:blipFill>
          <a:blip r:embed="rId5"/>
          <a:stretch>
            <a:fillRect/>
          </a:stretch>
        </p:blipFill>
        <p:spPr>
          <a:xfrm>
            <a:off x="3200750" y="5848043"/>
            <a:ext cx="706030" cy="483523"/>
          </a:xfrm>
          <a:prstGeom prst="rect">
            <a:avLst/>
          </a:prstGeom>
        </p:spPr>
      </p:pic>
      <p:pic>
        <p:nvPicPr>
          <p:cNvPr id="15" name="图片 1843">
            <a:extLst>
              <a:ext uri="{FF2B5EF4-FFF2-40B4-BE49-F238E27FC236}">
                <a16:creationId xmlns:a16="http://schemas.microsoft.com/office/drawing/2014/main" id="{00000000-0008-0000-0200-00009B00000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12121" t="21311" r="17172" b="25413"/>
          <a:stretch/>
        </p:blipFill>
        <p:spPr bwMode="auto">
          <a:xfrm>
            <a:off x="1793868" y="5833909"/>
            <a:ext cx="876300" cy="43815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标题 1"/>
          <p:cNvSpPr>
            <a:spLocks noGrp="1"/>
          </p:cNvSpPr>
          <p:nvPr>
            <p:ph type="title"/>
          </p:nvPr>
        </p:nvSpPr>
        <p:spPr>
          <a:xfrm>
            <a:off x="274702" y="73924"/>
            <a:ext cx="11192828" cy="946413"/>
          </a:xfrm>
        </p:spPr>
        <p:txBody>
          <a:bodyPr/>
          <a:lstStyle/>
          <a:p>
            <a:r>
              <a:rPr lang="fr-FR" altLang="zh-CN" sz="4000" dirty="0">
                <a:latin typeface="+mn-lt"/>
                <a:cs typeface="+mn-ea"/>
                <a:sym typeface="+mn-lt"/>
              </a:rPr>
              <a:t>Vue d'ensemble de la solution</a:t>
            </a:r>
            <a:endParaRPr lang="zh-CN" altLang="en-US" sz="4000" dirty="0">
              <a:latin typeface="+mn-lt"/>
              <a:cs typeface="+mn-ea"/>
              <a:sym typeface="+mn-lt"/>
            </a:endParaRPr>
          </a:p>
        </p:txBody>
      </p:sp>
      <p:grpSp>
        <p:nvGrpSpPr>
          <p:cNvPr id="77" name="组合 76">
            <a:extLst>
              <a:ext uri="{FF2B5EF4-FFF2-40B4-BE49-F238E27FC236}">
                <a16:creationId xmlns:a16="http://schemas.microsoft.com/office/drawing/2014/main" id="{F97CD147-4C9F-4C6D-8177-254F1C0989CD}"/>
              </a:ext>
            </a:extLst>
          </p:cNvPr>
          <p:cNvGrpSpPr/>
          <p:nvPr/>
        </p:nvGrpSpPr>
        <p:grpSpPr>
          <a:xfrm>
            <a:off x="55484" y="1178306"/>
            <a:ext cx="3345864" cy="2585826"/>
            <a:chOff x="-246531" y="3789331"/>
            <a:chExt cx="4982667" cy="2457527"/>
          </a:xfrm>
        </p:grpSpPr>
        <p:sp>
          <p:nvSpPr>
            <p:cNvPr id="78" name="文本框 77">
              <a:extLst>
                <a:ext uri="{FF2B5EF4-FFF2-40B4-BE49-F238E27FC236}">
                  <a16:creationId xmlns:a16="http://schemas.microsoft.com/office/drawing/2014/main" id="{E2027799-DB4C-4A66-90E3-7E4B4B48A06D}"/>
                </a:ext>
              </a:extLst>
            </p:cNvPr>
            <p:cNvSpPr txBox="1"/>
            <p:nvPr/>
          </p:nvSpPr>
          <p:spPr>
            <a:xfrm>
              <a:off x="-9575" y="3804857"/>
              <a:ext cx="4486063" cy="1080336"/>
            </a:xfrm>
            <a:prstGeom prst="rect">
              <a:avLst/>
            </a:prstGeom>
            <a:noFill/>
          </p:spPr>
          <p:txBody>
            <a:bodyPr wrap="square" lIns="179285" tIns="143428" rIns="179285" bIns="143428" rtlCol="0">
              <a:spAutoFit/>
            </a:bodyPr>
            <a:lstStyle/>
            <a:p>
              <a:pPr algn="l" rtl="0">
                <a:lnSpc>
                  <a:spcPct val="90000"/>
                </a:lnSpc>
                <a:spcAft>
                  <a:spcPts val="588"/>
                </a:spcAft>
              </a:pPr>
              <a:r>
                <a:rPr lang="fr-FR" sz="1400" b="1" i="0" u="none" baseline="0">
                  <a:gradFill>
                    <a:gsLst>
                      <a:gs pos="2917">
                        <a:schemeClr val="tx1"/>
                      </a:gs>
                      <a:gs pos="30000">
                        <a:schemeClr val="tx1"/>
                      </a:gs>
                    </a:gsLst>
                    <a:lin ang="5400000" scaled="0"/>
                  </a:gradFill>
                </a:rPr>
                <a:t>Gestion de files d'attente</a:t>
              </a:r>
            </a:p>
            <a:p>
              <a:pPr algn="l" rtl="0">
                <a:lnSpc>
                  <a:spcPct val="90000"/>
                </a:lnSpc>
                <a:spcAft>
                  <a:spcPts val="588"/>
                </a:spcAft>
              </a:pPr>
              <a:r>
                <a:rPr lang="fr-FR" sz="1200" b="0" i="0" u="none" baseline="0">
                  <a:gradFill>
                    <a:gsLst>
                      <a:gs pos="2917">
                        <a:schemeClr val="tx1"/>
                      </a:gs>
                      <a:gs pos="30000">
                        <a:schemeClr val="tx1"/>
                      </a:gs>
                    </a:gsLst>
                    <a:lin ang="5400000" scaled="0"/>
                  </a:gradFill>
                </a:rPr>
                <a:t>Lorsqu'un grand nombre de clients patiente dans la file d'attente, le système indique à la direction d'ouvrir une caisse supplémentaire.</a:t>
              </a:r>
              <a:endParaRPr lang="fr-FR" altLang="zh-CN" sz="1200" dirty="0">
                <a:gradFill>
                  <a:gsLst>
                    <a:gs pos="2917">
                      <a:schemeClr val="tx1"/>
                    </a:gs>
                    <a:gs pos="30000">
                      <a:schemeClr val="tx1"/>
                    </a:gs>
                  </a:gsLst>
                  <a:lin ang="5400000" scaled="0"/>
                </a:gradFill>
              </a:endParaRPr>
            </a:p>
          </p:txBody>
        </p:sp>
        <p:sp>
          <p:nvSpPr>
            <p:cNvPr id="79" name="矩形 78">
              <a:extLst>
                <a:ext uri="{FF2B5EF4-FFF2-40B4-BE49-F238E27FC236}">
                  <a16:creationId xmlns:a16="http://schemas.microsoft.com/office/drawing/2014/main" id="{A30AD82A-E211-45CF-8021-5ED9A12CA734}"/>
                </a:ext>
              </a:extLst>
            </p:cNvPr>
            <p:cNvSpPr/>
            <p:nvPr/>
          </p:nvSpPr>
          <p:spPr>
            <a:xfrm>
              <a:off x="-16534" y="4720715"/>
              <a:ext cx="4752670" cy="1526143"/>
            </a:xfrm>
            <a:prstGeom prst="rect">
              <a:avLst/>
            </a:prstGeom>
            <a:noFill/>
          </p:spPr>
          <p:txBody>
            <a:bodyPr wrap="square" lIns="179285" tIns="143428" rIns="179285" bIns="143428" rtlCol="0">
              <a:spAutoFit/>
            </a:bodyPr>
            <a:lstStyle/>
            <a:p>
              <a:pPr algn="l" rtl="0">
                <a:lnSpc>
                  <a:spcPct val="90000"/>
                </a:lnSpc>
                <a:spcAft>
                  <a:spcPts val="588"/>
                </a:spcAft>
              </a:pPr>
              <a:r>
                <a:rPr lang="fr-FR" sz="1400" b="1" i="0" u="none" baseline="0" dirty="0">
                  <a:gradFill>
                    <a:gsLst>
                      <a:gs pos="2917">
                        <a:schemeClr val="tx1"/>
                      </a:gs>
                      <a:gs pos="30000">
                        <a:schemeClr val="tx1"/>
                      </a:gs>
                    </a:gsLst>
                    <a:lin ang="5400000" scaled="0"/>
                  </a:gradFill>
                </a:rPr>
                <a:t>Intégration des POS</a:t>
              </a:r>
            </a:p>
            <a:p>
              <a:pPr algn="l" rtl="0">
                <a:lnSpc>
                  <a:spcPct val="90000"/>
                </a:lnSpc>
                <a:spcAft>
                  <a:spcPts val="588"/>
                </a:spcAft>
              </a:pPr>
              <a:r>
                <a:rPr lang="fr-FR" sz="1200" b="0" i="0" u="none" baseline="0" dirty="0">
                  <a:ea typeface="微软雅黑" pitchFamily="34" charset="-122"/>
                </a:rPr>
                <a:t>L'intégration de POS et d'un système de vidéosurveillance permet de détecter les actes de compérage, de saisie manuelle de code-barres et d'annulation de transaction.</a:t>
              </a:r>
            </a:p>
            <a:p>
              <a:pPr algn="l" rtl="0">
                <a:lnSpc>
                  <a:spcPct val="90000"/>
                </a:lnSpc>
                <a:spcAft>
                  <a:spcPts val="588"/>
                </a:spcAft>
              </a:pPr>
              <a:endParaRPr lang="fr-FR" altLang="zh-CN" sz="1400" b="1" dirty="0">
                <a:gradFill>
                  <a:gsLst>
                    <a:gs pos="2917">
                      <a:schemeClr val="tx1"/>
                    </a:gs>
                    <a:gs pos="30000">
                      <a:schemeClr val="tx1"/>
                    </a:gs>
                  </a:gsLst>
                  <a:lin ang="5400000" scaled="0"/>
                </a:gradFill>
              </a:endParaRPr>
            </a:p>
          </p:txBody>
        </p:sp>
        <p:sp>
          <p:nvSpPr>
            <p:cNvPr id="80" name="圆角矩形 3">
              <a:extLst>
                <a:ext uri="{FF2B5EF4-FFF2-40B4-BE49-F238E27FC236}">
                  <a16:creationId xmlns:a16="http://schemas.microsoft.com/office/drawing/2014/main" id="{D55FA496-B0DA-4B85-BCCC-C16BD57DFFA8}"/>
                </a:ext>
              </a:extLst>
            </p:cNvPr>
            <p:cNvSpPr/>
            <p:nvPr/>
          </p:nvSpPr>
          <p:spPr bwMode="auto">
            <a:xfrm>
              <a:off x="-246531" y="3789331"/>
              <a:ext cx="4652001" cy="219199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1" name="组合 80">
            <a:extLst>
              <a:ext uri="{FF2B5EF4-FFF2-40B4-BE49-F238E27FC236}">
                <a16:creationId xmlns:a16="http://schemas.microsoft.com/office/drawing/2014/main" id="{F92E589A-ADB9-4F2E-BF4B-9BA55A4DFACB}"/>
              </a:ext>
            </a:extLst>
          </p:cNvPr>
          <p:cNvGrpSpPr/>
          <p:nvPr/>
        </p:nvGrpSpPr>
        <p:grpSpPr>
          <a:xfrm rot="21252325">
            <a:off x="2950741" y="1283488"/>
            <a:ext cx="6426905" cy="3986097"/>
            <a:chOff x="5311215" y="484071"/>
            <a:chExt cx="6924266" cy="4888348"/>
          </a:xfrm>
        </p:grpSpPr>
        <p:pic>
          <p:nvPicPr>
            <p:cNvPr id="82" name="图片 81" descr="图片包含 LEGO, 事情, 室内, 玩具&#10;&#10;已生成极高可信度的说明">
              <a:extLst>
                <a:ext uri="{FF2B5EF4-FFF2-40B4-BE49-F238E27FC236}">
                  <a16:creationId xmlns:a16="http://schemas.microsoft.com/office/drawing/2014/main" id="{C5988F57-41AF-4A6B-A46A-3F1BFFA31667}"/>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1181" b="94975" l="4167" r="96163">
                          <a14:foregroundMark x1="54583" y1="7362" x2="59809" y2="6759"/>
                          <a14:foregroundMark x1="59809" y1="6759" x2="79826" y2="11131"/>
                          <a14:foregroundMark x1="93194" y1="13367" x2="91597" y2="29296"/>
                          <a14:foregroundMark x1="91597" y1="29296" x2="91597" y2="29296"/>
                          <a14:foregroundMark x1="91910" y1="15779" x2="91597" y2="32161"/>
                          <a14:foregroundMark x1="91597" y1="32161" x2="91597" y2="32161"/>
                          <a14:foregroundMark x1="6198" y1="51533" x2="11181" y2="50628"/>
                          <a14:foregroundMark x1="11181" y1="50628" x2="11181" y2="50628"/>
                          <a14:foregroundMark x1="4184" y1="53492" x2="4288" y2="52437"/>
                          <a14:foregroundMark x1="7795" y1="39372" x2="9497" y2="47035"/>
                          <a14:foregroundMark x1="9497" y1="47035" x2="9497" y2="47035"/>
                          <a14:foregroundMark x1="6302" y1="39523" x2="6302" y2="39523"/>
                          <a14:foregroundMark x1="5990" y1="39523" x2="5990" y2="39523"/>
                          <a14:foregroundMark x1="53837" y1="3317" x2="53837" y2="3317"/>
                          <a14:foregroundMark x1="49479" y1="5854" x2="49479" y2="5854"/>
                          <a14:foregroundMark x1="68056" y1="92111" x2="68056" y2="92111"/>
                          <a14:foregroundMark x1="94358" y1="19246" x2="94358" y2="19246"/>
                          <a14:foregroundMark x1="67934" y1="94975" x2="67934" y2="94975"/>
                          <a14:foregroundMark x1="60313" y1="3015" x2="60313" y2="3015"/>
                          <a14:foregroundMark x1="53507" y1="1206" x2="53507" y2="1206"/>
                          <a14:foregroundMark x1="96163" y1="17889" x2="96163" y2="17889"/>
                          <a14:foregroundMark x1="89688" y1="14573" x2="89688" y2="14573"/>
                          <a14:foregroundMark x1="77483" y1="71382" x2="91181" y2="33065"/>
                          <a14:foregroundMark x1="92135" y1="29598" x2="94253" y2="22839"/>
                          <a14:foregroundMark x1="18090" y1="37412" x2="18090" y2="37412"/>
                          <a14:backgroundMark x1="85868" y1="12462" x2="85868" y2="12462"/>
                          <a14:backgroundMark x1="87257" y1="12010" x2="87257" y2="12010"/>
                          <a14:backgroundMark x1="78663" y1="11131" x2="78663" y2="11131"/>
                        </a14:backgroundRemoval>
                      </a14:imgEffect>
                    </a14:imgLayer>
                  </a14:imgProps>
                </a:ext>
                <a:ext uri="{28A0092B-C50C-407E-A947-70E740481C1C}">
                  <a14:useLocalDpi xmlns:a14="http://schemas.microsoft.com/office/drawing/2010/main"/>
                </a:ext>
              </a:extLst>
            </a:blip>
            <a:stretch>
              <a:fillRect/>
            </a:stretch>
          </p:blipFill>
          <p:spPr>
            <a:xfrm>
              <a:off x="5311215" y="484071"/>
              <a:ext cx="6924266" cy="4888348"/>
            </a:xfrm>
            <a:prstGeom prst="rect">
              <a:avLst/>
            </a:prstGeom>
          </p:spPr>
        </p:pic>
        <p:sp>
          <p:nvSpPr>
            <p:cNvPr id="83" name="椭圆 82">
              <a:extLst>
                <a:ext uri="{FF2B5EF4-FFF2-40B4-BE49-F238E27FC236}">
                  <a16:creationId xmlns:a16="http://schemas.microsoft.com/office/drawing/2014/main" id="{57F1212C-4AE3-4D34-B216-1788353AC225}"/>
                </a:ext>
              </a:extLst>
            </p:cNvPr>
            <p:cNvSpPr/>
            <p:nvPr/>
          </p:nvSpPr>
          <p:spPr bwMode="auto">
            <a:xfrm>
              <a:off x="7160539" y="2692127"/>
              <a:ext cx="118414" cy="91439"/>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椭圆 83">
              <a:extLst>
                <a:ext uri="{FF2B5EF4-FFF2-40B4-BE49-F238E27FC236}">
                  <a16:creationId xmlns:a16="http://schemas.microsoft.com/office/drawing/2014/main" id="{E7600E2F-39FB-4C7D-AC96-5C90AD26BA61}"/>
                </a:ext>
              </a:extLst>
            </p:cNvPr>
            <p:cNvSpPr/>
            <p:nvPr/>
          </p:nvSpPr>
          <p:spPr bwMode="auto">
            <a:xfrm>
              <a:off x="7589822" y="2125677"/>
              <a:ext cx="118414" cy="91439"/>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85" name="连接符: 肘形 84">
            <a:extLst>
              <a:ext uri="{FF2B5EF4-FFF2-40B4-BE49-F238E27FC236}">
                <a16:creationId xmlns:a16="http://schemas.microsoft.com/office/drawing/2014/main" id="{C718E714-9D7B-45C7-BE7D-D51D4BDAAA33}"/>
              </a:ext>
            </a:extLst>
          </p:cNvPr>
          <p:cNvCxnSpPr>
            <a:cxnSpLocks/>
            <a:stCxn id="86" idx="4"/>
            <a:endCxn id="83" idx="0"/>
          </p:cNvCxnSpPr>
          <p:nvPr/>
        </p:nvCxnSpPr>
        <p:spPr>
          <a:xfrm rot="16200000" flipH="1">
            <a:off x="2317676" y="838132"/>
            <a:ext cx="2327579" cy="2457298"/>
          </a:xfrm>
          <a:prstGeom prst="bentConnector3">
            <a:avLst>
              <a:gd name="adj1" fmla="val -675"/>
            </a:avLst>
          </a:prstGeom>
          <a:ln w="12700">
            <a:solidFill>
              <a:srgbClr val="FF6E2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椭圆 85">
            <a:extLst>
              <a:ext uri="{FF2B5EF4-FFF2-40B4-BE49-F238E27FC236}">
                <a16:creationId xmlns:a16="http://schemas.microsoft.com/office/drawing/2014/main" id="{3B828AD7-29AD-42F8-ABA6-18833121C64D}"/>
              </a:ext>
            </a:extLst>
          </p:cNvPr>
          <p:cNvSpPr/>
          <p:nvPr/>
        </p:nvSpPr>
        <p:spPr bwMode="auto">
          <a:xfrm>
            <a:off x="2194773" y="813350"/>
            <a:ext cx="116086" cy="89642"/>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7" name="连接符: 肘形 86">
            <a:extLst>
              <a:ext uri="{FF2B5EF4-FFF2-40B4-BE49-F238E27FC236}">
                <a16:creationId xmlns:a16="http://schemas.microsoft.com/office/drawing/2014/main" id="{19D176CE-AC48-4D00-B7C3-475AF78C56C5}"/>
              </a:ext>
            </a:extLst>
          </p:cNvPr>
          <p:cNvCxnSpPr>
            <a:cxnSpLocks/>
            <a:stCxn id="98" idx="1"/>
          </p:cNvCxnSpPr>
          <p:nvPr/>
        </p:nvCxnSpPr>
        <p:spPr>
          <a:xfrm rot="10800000">
            <a:off x="6944006" y="3428751"/>
            <a:ext cx="1772655" cy="2012998"/>
          </a:xfrm>
          <a:prstGeom prst="bentConnector2">
            <a:avLst/>
          </a:prstGeom>
          <a:ln w="12700">
            <a:solidFill>
              <a:srgbClr val="FF6E2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椭圆 87">
            <a:extLst>
              <a:ext uri="{FF2B5EF4-FFF2-40B4-BE49-F238E27FC236}">
                <a16:creationId xmlns:a16="http://schemas.microsoft.com/office/drawing/2014/main" id="{913DCDA2-87A4-4875-9B6E-A2046F724870}"/>
              </a:ext>
            </a:extLst>
          </p:cNvPr>
          <p:cNvSpPr/>
          <p:nvPr/>
        </p:nvSpPr>
        <p:spPr bwMode="auto">
          <a:xfrm>
            <a:off x="5593849" y="3926096"/>
            <a:ext cx="116086" cy="89642"/>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89" name="连接符: 肘形 88">
            <a:extLst>
              <a:ext uri="{FF2B5EF4-FFF2-40B4-BE49-F238E27FC236}">
                <a16:creationId xmlns:a16="http://schemas.microsoft.com/office/drawing/2014/main" id="{3CEBC34A-8D60-4CD0-9F7A-45A56E57759C}"/>
              </a:ext>
            </a:extLst>
          </p:cNvPr>
          <p:cNvCxnSpPr>
            <a:cxnSpLocks/>
          </p:cNvCxnSpPr>
          <p:nvPr/>
        </p:nvCxnSpPr>
        <p:spPr>
          <a:xfrm flipV="1">
            <a:off x="6185302" y="986722"/>
            <a:ext cx="2893514" cy="1844671"/>
          </a:xfrm>
          <a:prstGeom prst="bentConnector3">
            <a:avLst>
              <a:gd name="adj1" fmla="val 676"/>
            </a:avLst>
          </a:prstGeom>
          <a:ln w="12700">
            <a:solidFill>
              <a:srgbClr val="FF6E2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椭圆 89">
            <a:extLst>
              <a:ext uri="{FF2B5EF4-FFF2-40B4-BE49-F238E27FC236}">
                <a16:creationId xmlns:a16="http://schemas.microsoft.com/office/drawing/2014/main" id="{65B106A3-DF7A-403C-A998-1157A9816096}"/>
              </a:ext>
            </a:extLst>
          </p:cNvPr>
          <p:cNvSpPr/>
          <p:nvPr/>
        </p:nvSpPr>
        <p:spPr bwMode="auto">
          <a:xfrm>
            <a:off x="9068178" y="941902"/>
            <a:ext cx="116086" cy="89642"/>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t" anchorCtr="0" forceAA="0" compatLnSpc="1">
            <a:prstTxWarp prst="textNoShape">
              <a:avLst/>
            </a:prstTxWarp>
            <a:noAutofit/>
          </a:bodyPr>
          <a:lstStyle>
            <a:defPPr>
              <a:defRPr lang="fr-FR"/>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1" name="组合 90">
            <a:extLst>
              <a:ext uri="{FF2B5EF4-FFF2-40B4-BE49-F238E27FC236}">
                <a16:creationId xmlns:a16="http://schemas.microsoft.com/office/drawing/2014/main" id="{9366F09A-6B4A-491D-9295-F3C341BCD93B}"/>
              </a:ext>
            </a:extLst>
          </p:cNvPr>
          <p:cNvGrpSpPr/>
          <p:nvPr/>
        </p:nvGrpSpPr>
        <p:grpSpPr>
          <a:xfrm>
            <a:off x="61816" y="4202826"/>
            <a:ext cx="4901065" cy="2294170"/>
            <a:chOff x="-1" y="4504760"/>
            <a:chExt cx="4999341" cy="2032833"/>
          </a:xfrm>
        </p:grpSpPr>
        <p:sp>
          <p:nvSpPr>
            <p:cNvPr id="92" name="文本框 91">
              <a:extLst>
                <a:ext uri="{FF2B5EF4-FFF2-40B4-BE49-F238E27FC236}">
                  <a16:creationId xmlns:a16="http://schemas.microsoft.com/office/drawing/2014/main" id="{18F0EF9C-69DC-4B3E-966C-C1C75A38857A}"/>
                </a:ext>
              </a:extLst>
            </p:cNvPr>
            <p:cNvSpPr txBox="1"/>
            <p:nvPr/>
          </p:nvSpPr>
          <p:spPr>
            <a:xfrm>
              <a:off x="215881" y="4519182"/>
              <a:ext cx="2220673" cy="2018411"/>
            </a:xfrm>
            <a:prstGeom prst="rect">
              <a:avLst/>
            </a:prstGeom>
            <a:noFill/>
          </p:spPr>
          <p:txBody>
            <a:bodyPr wrap="square" lIns="179285" tIns="143428" rIns="179285" bIns="143428" rtlCol="0">
              <a:spAutoFit/>
            </a:bodyPr>
            <a:lstStyle/>
            <a:p>
              <a:pPr algn="l" rtl="0">
                <a:lnSpc>
                  <a:spcPct val="90000"/>
                </a:lnSpc>
                <a:spcAft>
                  <a:spcPts val="588"/>
                </a:spcAft>
              </a:pPr>
              <a:r>
                <a:rPr lang="fr-FR" sz="1400" b="1" i="0" u="none" baseline="0" dirty="0">
                  <a:gradFill>
                    <a:gsLst>
                      <a:gs pos="2917">
                        <a:schemeClr val="tx1"/>
                      </a:gs>
                      <a:gs pos="30000">
                        <a:schemeClr val="tx1"/>
                      </a:gs>
                    </a:gsLst>
                    <a:lin ang="5400000" scaled="0"/>
                  </a:gradFill>
                </a:rPr>
                <a:t>Comptage des personnes en 3d</a:t>
              </a:r>
            </a:p>
            <a:p>
              <a:pPr algn="l" rtl="0">
                <a:lnSpc>
                  <a:spcPct val="90000"/>
                </a:lnSpc>
                <a:spcAft>
                  <a:spcPts val="588"/>
                </a:spcAft>
              </a:pPr>
              <a:r>
                <a:rPr lang="fr-FR" sz="1100" b="0" i="0" u="none" baseline="0" dirty="0">
                  <a:gradFill>
                    <a:gsLst>
                      <a:gs pos="2917">
                        <a:schemeClr val="tx1"/>
                      </a:gs>
                      <a:gs pos="30000">
                        <a:schemeClr val="tx1"/>
                      </a:gs>
                    </a:gsLst>
                    <a:lin ang="5400000" scaled="0"/>
                  </a:gradFill>
                </a:rPr>
                <a:t>Identifier des cycles de fréquentation dans la journée, le mois ou l'année. Adapter l'effectif et le taux personnel-client par rapport aux heures de pointe en intégrant la gestion des effectifs aux données de fréquentation.</a:t>
              </a:r>
              <a:endParaRPr lang="fr-FR" altLang="zh-CN" sz="1100" dirty="0">
                <a:gradFill>
                  <a:gsLst>
                    <a:gs pos="2917">
                      <a:schemeClr val="tx1"/>
                    </a:gs>
                    <a:gs pos="30000">
                      <a:schemeClr val="tx1"/>
                    </a:gs>
                  </a:gsLst>
                  <a:lin ang="5400000" scaled="0"/>
                </a:gradFill>
              </a:endParaRPr>
            </a:p>
          </p:txBody>
        </p:sp>
        <p:sp>
          <p:nvSpPr>
            <p:cNvPr id="93" name="圆角矩形 3">
              <a:extLst>
                <a:ext uri="{FF2B5EF4-FFF2-40B4-BE49-F238E27FC236}">
                  <a16:creationId xmlns:a16="http://schemas.microsoft.com/office/drawing/2014/main" id="{741864DC-0714-43A4-8F12-5ADF958EFFD4}"/>
                </a:ext>
              </a:extLst>
            </p:cNvPr>
            <p:cNvSpPr/>
            <p:nvPr/>
          </p:nvSpPr>
          <p:spPr bwMode="auto">
            <a:xfrm>
              <a:off x="-1" y="4519183"/>
              <a:ext cx="4999341" cy="1988237"/>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文本框 93">
              <a:extLst>
                <a:ext uri="{FF2B5EF4-FFF2-40B4-BE49-F238E27FC236}">
                  <a16:creationId xmlns:a16="http://schemas.microsoft.com/office/drawing/2014/main" id="{D49F9A6A-C23B-46EF-A8CC-135A83F42967}"/>
                </a:ext>
              </a:extLst>
            </p:cNvPr>
            <p:cNvSpPr txBox="1"/>
            <p:nvPr/>
          </p:nvSpPr>
          <p:spPr>
            <a:xfrm>
              <a:off x="2477573" y="4504760"/>
              <a:ext cx="2357170" cy="1748421"/>
            </a:xfrm>
            <a:prstGeom prst="rect">
              <a:avLst/>
            </a:prstGeom>
            <a:noFill/>
          </p:spPr>
          <p:txBody>
            <a:bodyPr wrap="square" lIns="179285" tIns="143428" rIns="179285" bIns="143428" rtlCol="0">
              <a:spAutoFit/>
            </a:bodyPr>
            <a:lstStyle/>
            <a:p>
              <a:pPr algn="l" rtl="0">
                <a:lnSpc>
                  <a:spcPct val="90000"/>
                </a:lnSpc>
                <a:spcAft>
                  <a:spcPts val="588"/>
                </a:spcAft>
              </a:pPr>
              <a:r>
                <a:rPr lang="fr-FR" sz="1400" b="1" i="0" u="none" baseline="0" dirty="0">
                  <a:gradFill>
                    <a:gsLst>
                      <a:gs pos="2917">
                        <a:schemeClr val="tx1"/>
                      </a:gs>
                      <a:gs pos="30000">
                        <a:schemeClr val="tx1"/>
                      </a:gs>
                    </a:gsLst>
                    <a:lin ang="5400000" scaled="0"/>
                  </a:gradFill>
                </a:rPr>
                <a:t>Démographie de la clientèle</a:t>
              </a:r>
            </a:p>
            <a:p>
              <a:pPr algn="l" rtl="0">
                <a:lnSpc>
                  <a:spcPct val="90000"/>
                </a:lnSpc>
                <a:spcAft>
                  <a:spcPts val="588"/>
                </a:spcAft>
              </a:pPr>
              <a:r>
                <a:rPr lang="fr-FR" sz="1100" b="0" i="0" u="none" baseline="0" dirty="0">
                  <a:gradFill>
                    <a:gsLst>
                      <a:gs pos="2917">
                        <a:schemeClr val="tx1"/>
                      </a:gs>
                      <a:gs pos="30000">
                        <a:schemeClr val="tx1"/>
                      </a:gs>
                    </a:gsLst>
                    <a:lin ang="5400000" scaled="0"/>
                  </a:gradFill>
                </a:rPr>
                <a:t>Comprendre la composition de base de la clientèle et analyser la fréquentation des différents segments de clients. Mesurer l'efficacité de vos campagnes marketing pour différents segments de marché.</a:t>
              </a:r>
              <a:endParaRPr lang="fr-FR" altLang="zh-CN" sz="1100" dirty="0">
                <a:gradFill>
                  <a:gsLst>
                    <a:gs pos="2917">
                      <a:schemeClr val="tx1"/>
                    </a:gs>
                    <a:gs pos="30000">
                      <a:schemeClr val="tx1"/>
                    </a:gs>
                  </a:gsLst>
                  <a:lin ang="5400000" scaled="0"/>
                </a:gradFill>
              </a:endParaRPr>
            </a:p>
          </p:txBody>
        </p:sp>
      </p:grpSp>
      <p:grpSp>
        <p:nvGrpSpPr>
          <p:cNvPr id="95" name="组合 94">
            <a:extLst>
              <a:ext uri="{FF2B5EF4-FFF2-40B4-BE49-F238E27FC236}">
                <a16:creationId xmlns:a16="http://schemas.microsoft.com/office/drawing/2014/main" id="{67FF0694-95AA-494F-A16E-1D15A4F3DB58}"/>
              </a:ext>
            </a:extLst>
          </p:cNvPr>
          <p:cNvGrpSpPr/>
          <p:nvPr/>
        </p:nvGrpSpPr>
        <p:grpSpPr>
          <a:xfrm>
            <a:off x="8716661" y="4488280"/>
            <a:ext cx="3123822" cy="1542629"/>
            <a:chOff x="0" y="4510730"/>
            <a:chExt cx="4652001" cy="1896668"/>
          </a:xfrm>
        </p:grpSpPr>
        <p:sp>
          <p:nvSpPr>
            <p:cNvPr id="96" name="椭圆 95">
              <a:extLst>
                <a:ext uri="{FF2B5EF4-FFF2-40B4-BE49-F238E27FC236}">
                  <a16:creationId xmlns:a16="http://schemas.microsoft.com/office/drawing/2014/main" id="{D6FCC5F4-1CDA-46E5-B64D-3E4C6C49C6DE}"/>
                </a:ext>
              </a:extLst>
            </p:cNvPr>
            <p:cNvSpPr/>
            <p:nvPr/>
          </p:nvSpPr>
          <p:spPr bwMode="auto">
            <a:xfrm>
              <a:off x="4389457" y="6148993"/>
              <a:ext cx="118414" cy="91439"/>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文本框 96">
              <a:extLst>
                <a:ext uri="{FF2B5EF4-FFF2-40B4-BE49-F238E27FC236}">
                  <a16:creationId xmlns:a16="http://schemas.microsoft.com/office/drawing/2014/main" id="{5EA35FAC-597A-452D-AB57-FD83A782082C}"/>
                </a:ext>
              </a:extLst>
            </p:cNvPr>
            <p:cNvSpPr txBox="1"/>
            <p:nvPr/>
          </p:nvSpPr>
          <p:spPr>
            <a:xfrm>
              <a:off x="35249" y="4510730"/>
              <a:ext cx="4486061" cy="1896668"/>
            </a:xfrm>
            <a:prstGeom prst="rect">
              <a:avLst/>
            </a:prstGeom>
            <a:noFill/>
          </p:spPr>
          <p:txBody>
            <a:bodyPr wrap="square" lIns="179285" tIns="143428" rIns="179285" bIns="143428" rtlCol="0">
              <a:spAutoFit/>
            </a:bodyPr>
            <a:lstStyle/>
            <a:p>
              <a:pPr algn="l" rtl="0">
                <a:lnSpc>
                  <a:spcPct val="90000"/>
                </a:lnSpc>
                <a:spcAft>
                  <a:spcPts val="588"/>
                </a:spcAft>
              </a:pPr>
              <a:r>
                <a:rPr lang="fr-FR" sz="1400" b="1" i="0" u="none" baseline="0" dirty="0">
                  <a:gradFill>
                    <a:gsLst>
                      <a:gs pos="2917">
                        <a:schemeClr val="tx1"/>
                      </a:gs>
                      <a:gs pos="30000">
                        <a:schemeClr val="tx1"/>
                      </a:gs>
                    </a:gsLst>
                    <a:lin ang="5400000" scaled="0"/>
                  </a:gradFill>
                </a:rPr>
                <a:t>Carte de densité</a:t>
              </a:r>
            </a:p>
            <a:p>
              <a:pPr algn="l" rtl="0"/>
              <a:r>
                <a:rPr lang="fr-FR" sz="1100" b="0" i="0" u="none" baseline="0" dirty="0">
                  <a:latin typeface="+mj-lt"/>
                </a:rPr>
                <a:t>Il est important de connaître les zones les plus fréquentées afin d'agencer au mieux le magasin ou de placer les produits de façon à susciter l'intérêt et générer plus de ventes. </a:t>
              </a:r>
              <a:endParaRPr lang="fr-FR" altLang="zh-CN" sz="1100" dirty="0">
                <a:latin typeface="+mj-lt"/>
              </a:endParaRPr>
            </a:p>
            <a:p>
              <a:pPr algn="l" rtl="0">
                <a:lnSpc>
                  <a:spcPct val="90000"/>
                </a:lnSpc>
                <a:spcAft>
                  <a:spcPts val="588"/>
                </a:spcAft>
              </a:pPr>
              <a:endParaRPr lang="fr-FR" altLang="zh-CN" sz="980" dirty="0">
                <a:gradFill>
                  <a:gsLst>
                    <a:gs pos="2917">
                      <a:schemeClr val="tx1"/>
                    </a:gs>
                    <a:gs pos="30000">
                      <a:schemeClr val="tx1"/>
                    </a:gs>
                  </a:gsLst>
                  <a:lin ang="5400000" scaled="0"/>
                </a:gradFill>
              </a:endParaRPr>
            </a:p>
          </p:txBody>
        </p:sp>
        <p:sp>
          <p:nvSpPr>
            <p:cNvPr id="98" name="圆角矩形 3">
              <a:extLst>
                <a:ext uri="{FF2B5EF4-FFF2-40B4-BE49-F238E27FC236}">
                  <a16:creationId xmlns:a16="http://schemas.microsoft.com/office/drawing/2014/main" id="{09288BA9-2C8E-4389-92EB-5A4444EE7A09}"/>
                </a:ext>
              </a:extLst>
            </p:cNvPr>
            <p:cNvSpPr/>
            <p:nvPr/>
          </p:nvSpPr>
          <p:spPr bwMode="auto">
            <a:xfrm>
              <a:off x="0" y="4519184"/>
              <a:ext cx="4652001" cy="1767432"/>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9" name="组合 98">
            <a:extLst>
              <a:ext uri="{FF2B5EF4-FFF2-40B4-BE49-F238E27FC236}">
                <a16:creationId xmlns:a16="http://schemas.microsoft.com/office/drawing/2014/main" id="{4F51FFAA-C314-4B71-ADBD-3D9E7E649632}"/>
              </a:ext>
            </a:extLst>
          </p:cNvPr>
          <p:cNvGrpSpPr/>
          <p:nvPr/>
        </p:nvGrpSpPr>
        <p:grpSpPr>
          <a:xfrm>
            <a:off x="9068178" y="1112159"/>
            <a:ext cx="3123822" cy="1631773"/>
            <a:chOff x="0" y="4180038"/>
            <a:chExt cx="4652001" cy="2060394"/>
          </a:xfrm>
        </p:grpSpPr>
        <p:sp>
          <p:nvSpPr>
            <p:cNvPr id="100" name="椭圆 99">
              <a:extLst>
                <a:ext uri="{FF2B5EF4-FFF2-40B4-BE49-F238E27FC236}">
                  <a16:creationId xmlns:a16="http://schemas.microsoft.com/office/drawing/2014/main" id="{3B75A5F6-A627-439F-884E-35DDA9603D0F}"/>
                </a:ext>
              </a:extLst>
            </p:cNvPr>
            <p:cNvSpPr/>
            <p:nvPr/>
          </p:nvSpPr>
          <p:spPr bwMode="auto">
            <a:xfrm>
              <a:off x="4389457" y="6148993"/>
              <a:ext cx="118414" cy="91439"/>
            </a:xfrm>
            <a:prstGeom prst="ellipse">
              <a:avLst/>
            </a:prstGeom>
            <a:solidFill>
              <a:srgbClr val="EAEAEA"/>
            </a:solidFill>
            <a:ln>
              <a:solidFill>
                <a:srgbClr val="FF6E2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文本框 100">
              <a:extLst>
                <a:ext uri="{FF2B5EF4-FFF2-40B4-BE49-F238E27FC236}">
                  <a16:creationId xmlns:a16="http://schemas.microsoft.com/office/drawing/2014/main" id="{9C77C78F-FE64-47AE-A08E-5E66E3F908EF}"/>
                </a:ext>
              </a:extLst>
            </p:cNvPr>
            <p:cNvSpPr txBox="1"/>
            <p:nvPr/>
          </p:nvSpPr>
          <p:spPr>
            <a:xfrm>
              <a:off x="0" y="4180038"/>
              <a:ext cx="4486059" cy="1533223"/>
            </a:xfrm>
            <a:prstGeom prst="rect">
              <a:avLst/>
            </a:prstGeom>
            <a:noFill/>
          </p:spPr>
          <p:txBody>
            <a:bodyPr wrap="square" lIns="179285" tIns="143428" rIns="179285" bIns="143428" rtlCol="0">
              <a:spAutoFit/>
            </a:bodyPr>
            <a:lstStyle/>
            <a:p>
              <a:pPr algn="l" rtl="0">
                <a:lnSpc>
                  <a:spcPct val="90000"/>
                </a:lnSpc>
                <a:spcAft>
                  <a:spcPts val="588"/>
                </a:spcAft>
              </a:pPr>
              <a:endParaRPr lang="fr-FR" altLang="zh-CN" sz="1765" dirty="0">
                <a:gradFill>
                  <a:gsLst>
                    <a:gs pos="2917">
                      <a:schemeClr val="tx1"/>
                    </a:gs>
                    <a:gs pos="30000">
                      <a:schemeClr val="tx1"/>
                    </a:gs>
                  </a:gsLst>
                  <a:lin ang="5400000" scaled="0"/>
                </a:gradFill>
              </a:endParaRPr>
            </a:p>
            <a:p>
              <a:pPr algn="l" rtl="0">
                <a:lnSpc>
                  <a:spcPct val="90000"/>
                </a:lnSpc>
                <a:spcAft>
                  <a:spcPts val="588"/>
                </a:spcAft>
              </a:pPr>
              <a:r>
                <a:rPr lang="fr-FR" sz="1400" b="1" i="0" u="none" baseline="0" dirty="0">
                  <a:gradFill>
                    <a:gsLst>
                      <a:gs pos="2917">
                        <a:schemeClr val="tx1"/>
                      </a:gs>
                      <a:gs pos="30000">
                        <a:schemeClr val="tx1"/>
                      </a:gs>
                    </a:gsLst>
                    <a:lin ang="5400000" scaled="0"/>
                  </a:gradFill>
                </a:rPr>
                <a:t>Affichage commercial</a:t>
              </a:r>
            </a:p>
            <a:p>
              <a:pPr algn="l" rtl="0">
                <a:lnSpc>
                  <a:spcPct val="90000"/>
                </a:lnSpc>
                <a:spcAft>
                  <a:spcPts val="588"/>
                </a:spcAft>
              </a:pPr>
              <a:r>
                <a:rPr lang="fr-FR" sz="1200" b="0" i="0" u="none" baseline="0" dirty="0">
                  <a:gradFill>
                    <a:gsLst>
                      <a:gs pos="2917">
                        <a:schemeClr val="tx1"/>
                      </a:gs>
                      <a:gs pos="30000">
                        <a:schemeClr val="tx1"/>
                      </a:gs>
                    </a:gsLst>
                    <a:lin ang="5400000" scaled="0"/>
                  </a:gradFill>
                </a:rPr>
                <a:t>Écran LED, affichage numérique, moniteur public, etc.</a:t>
              </a:r>
              <a:endParaRPr lang="fr-FR" altLang="zh-CN" sz="1200" dirty="0">
                <a:gradFill>
                  <a:gsLst>
                    <a:gs pos="2917">
                      <a:schemeClr val="tx1"/>
                    </a:gs>
                    <a:gs pos="30000">
                      <a:schemeClr val="tx1"/>
                    </a:gs>
                  </a:gsLst>
                  <a:lin ang="5400000" scaled="0"/>
                </a:gradFill>
              </a:endParaRPr>
            </a:p>
          </p:txBody>
        </p:sp>
        <p:sp>
          <p:nvSpPr>
            <p:cNvPr id="102" name="圆角矩形 3">
              <a:extLst>
                <a:ext uri="{FF2B5EF4-FFF2-40B4-BE49-F238E27FC236}">
                  <a16:creationId xmlns:a16="http://schemas.microsoft.com/office/drawing/2014/main" id="{E57C0496-7E00-4CF2-BEDF-E08358ECC87C}"/>
                </a:ext>
              </a:extLst>
            </p:cNvPr>
            <p:cNvSpPr/>
            <p:nvPr/>
          </p:nvSpPr>
          <p:spPr bwMode="auto">
            <a:xfrm>
              <a:off x="0" y="4547819"/>
              <a:ext cx="4652001" cy="1548402"/>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rtl="0" fontAlgn="base">
                <a:lnSpc>
                  <a:spcPct val="90000"/>
                </a:lnSpc>
                <a:spcBef>
                  <a:spcPct val="0"/>
                </a:spcBef>
                <a:spcAft>
                  <a:spcPct val="0"/>
                </a:spcAft>
              </a:pPr>
              <a:endParaRPr lang="fr-FR" alt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103" name="连接符: 肘形 102">
            <a:extLst>
              <a:ext uri="{FF2B5EF4-FFF2-40B4-BE49-F238E27FC236}">
                <a16:creationId xmlns:a16="http://schemas.microsoft.com/office/drawing/2014/main" id="{C8818FAC-33E0-488F-BCED-6659F4F394F8}"/>
              </a:ext>
            </a:extLst>
          </p:cNvPr>
          <p:cNvCxnSpPr>
            <a:cxnSpLocks/>
            <a:stCxn id="88" idx="4"/>
          </p:cNvCxnSpPr>
          <p:nvPr/>
        </p:nvCxnSpPr>
        <p:spPr>
          <a:xfrm rot="5400000">
            <a:off x="3451623" y="1895553"/>
            <a:ext cx="80084" cy="4320455"/>
          </a:xfrm>
          <a:prstGeom prst="bentConnector2">
            <a:avLst/>
          </a:prstGeom>
          <a:ln w="12700">
            <a:solidFill>
              <a:srgbClr val="FF6E24"/>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4" name="图片 103">
            <a:extLst>
              <a:ext uri="{FF2B5EF4-FFF2-40B4-BE49-F238E27FC236}">
                <a16:creationId xmlns:a16="http://schemas.microsoft.com/office/drawing/2014/main" id="{6B09CCD1-417F-4604-9A27-B8B71D759A15}"/>
              </a:ext>
            </a:extLst>
          </p:cNvPr>
          <p:cNvPicPr>
            <a:picLocks noChangeAspect="1"/>
          </p:cNvPicPr>
          <p:nvPr/>
        </p:nvPicPr>
        <p:blipFill rotWithShape="1">
          <a:blip r:embed="rId4" cstate="print"/>
          <a:srcRect r="23939" b="19645"/>
          <a:stretch/>
        </p:blipFill>
        <p:spPr>
          <a:xfrm>
            <a:off x="5211720" y="5446072"/>
            <a:ext cx="1153894" cy="881774"/>
          </a:xfrm>
          <a:prstGeom prst="rect">
            <a:avLst/>
          </a:prstGeom>
        </p:spPr>
      </p:pic>
      <p:pic>
        <p:nvPicPr>
          <p:cNvPr id="105" name="图片 104">
            <a:extLst>
              <a:ext uri="{FF2B5EF4-FFF2-40B4-BE49-F238E27FC236}">
                <a16:creationId xmlns:a16="http://schemas.microsoft.com/office/drawing/2014/main" id="{8A02F238-03E8-430E-B37E-B75C3ECFF72C}"/>
              </a:ext>
            </a:extLst>
          </p:cNvPr>
          <p:cNvPicPr>
            <a:picLocks noChangeAspect="1"/>
          </p:cNvPicPr>
          <p:nvPr/>
        </p:nvPicPr>
        <p:blipFill>
          <a:blip r:embed="rId5" cstate="print"/>
          <a:stretch>
            <a:fillRect/>
          </a:stretch>
        </p:blipFill>
        <p:spPr>
          <a:xfrm>
            <a:off x="10486579" y="3473389"/>
            <a:ext cx="1371010" cy="961861"/>
          </a:xfrm>
          <a:prstGeom prst="rect">
            <a:avLst/>
          </a:prstGeom>
        </p:spPr>
      </p:pic>
      <p:pic>
        <p:nvPicPr>
          <p:cNvPr id="106" name="图片 105">
            <a:extLst>
              <a:ext uri="{FF2B5EF4-FFF2-40B4-BE49-F238E27FC236}">
                <a16:creationId xmlns:a16="http://schemas.microsoft.com/office/drawing/2014/main" id="{5EA419A7-E523-4502-9669-4167099F66D7}"/>
              </a:ext>
            </a:extLst>
          </p:cNvPr>
          <p:cNvPicPr>
            <a:picLocks noChangeAspect="1"/>
          </p:cNvPicPr>
          <p:nvPr/>
        </p:nvPicPr>
        <p:blipFill>
          <a:blip r:embed="rId6" cstate="print"/>
          <a:stretch>
            <a:fillRect/>
          </a:stretch>
        </p:blipFill>
        <p:spPr>
          <a:xfrm>
            <a:off x="11027123" y="0"/>
            <a:ext cx="944641" cy="1325552"/>
          </a:xfrm>
          <a:prstGeom prst="rect">
            <a:avLst/>
          </a:prstGeom>
        </p:spPr>
      </p:pic>
      <p:pic>
        <p:nvPicPr>
          <p:cNvPr id="107" name="图片 106">
            <a:extLst>
              <a:ext uri="{FF2B5EF4-FFF2-40B4-BE49-F238E27FC236}">
                <a16:creationId xmlns:a16="http://schemas.microsoft.com/office/drawing/2014/main" id="{DC90C1BC-1255-4EC5-BB49-62D70CF68DB4}"/>
              </a:ext>
            </a:extLst>
          </p:cNvPr>
          <p:cNvPicPr>
            <a:picLocks noChangeAspect="1"/>
          </p:cNvPicPr>
          <p:nvPr/>
        </p:nvPicPr>
        <p:blipFill>
          <a:blip r:embed="rId7" cstate="print"/>
          <a:stretch>
            <a:fillRect/>
          </a:stretch>
        </p:blipFill>
        <p:spPr>
          <a:xfrm>
            <a:off x="3372836" y="934170"/>
            <a:ext cx="1267449" cy="751357"/>
          </a:xfrm>
          <a:prstGeom prst="rect">
            <a:avLst/>
          </a:prstGeom>
        </p:spPr>
      </p:pic>
      <p:sp>
        <p:nvSpPr>
          <p:cNvPr id="108" name="文本框 107">
            <a:extLst>
              <a:ext uri="{FF2B5EF4-FFF2-40B4-BE49-F238E27FC236}">
                <a16:creationId xmlns:a16="http://schemas.microsoft.com/office/drawing/2014/main" id="{2AE3F3C7-1083-4C5A-8A24-960FFA9C5EEF}"/>
              </a:ext>
            </a:extLst>
          </p:cNvPr>
          <p:cNvSpPr txBox="1"/>
          <p:nvPr/>
        </p:nvSpPr>
        <p:spPr>
          <a:xfrm>
            <a:off x="139719" y="813350"/>
            <a:ext cx="1992853" cy="369332"/>
          </a:xfrm>
          <a:prstGeom prst="rect">
            <a:avLst/>
          </a:prstGeom>
          <a:noFill/>
        </p:spPr>
        <p:txBody>
          <a:bodyPr wrap="none" rtlCol="0">
            <a:spAutoFit/>
          </a:bodyPr>
          <a:lstStyle/>
          <a:p>
            <a:pPr algn="l" rtl="0"/>
            <a:r>
              <a:rPr lang="fr-FR" b="0" i="0" u="none" baseline="0">
                <a:gradFill>
                  <a:gsLst>
                    <a:gs pos="2917">
                      <a:schemeClr val="tx1"/>
                    </a:gs>
                    <a:gs pos="30000">
                      <a:schemeClr val="tx1"/>
                    </a:gs>
                  </a:gsLst>
                  <a:lin ang="5400000" scaled="0"/>
                </a:gradFill>
              </a:rPr>
              <a:t>Passage en caisse</a:t>
            </a:r>
            <a:endParaRPr lang="fr-FR" altLang="zh-CN" dirty="0">
              <a:gradFill>
                <a:gsLst>
                  <a:gs pos="2917">
                    <a:schemeClr val="tx1"/>
                  </a:gs>
                  <a:gs pos="30000">
                    <a:schemeClr val="tx1"/>
                  </a:gs>
                </a:gsLst>
                <a:lin ang="5400000" scaled="0"/>
              </a:gradFill>
            </a:endParaRPr>
          </a:p>
        </p:txBody>
      </p:sp>
      <p:sp>
        <p:nvSpPr>
          <p:cNvPr id="109" name="文本框 108">
            <a:extLst>
              <a:ext uri="{FF2B5EF4-FFF2-40B4-BE49-F238E27FC236}">
                <a16:creationId xmlns:a16="http://schemas.microsoft.com/office/drawing/2014/main" id="{73C8F4C9-D8E0-45BB-8407-4BD0271D151F}"/>
              </a:ext>
            </a:extLst>
          </p:cNvPr>
          <p:cNvSpPr txBox="1"/>
          <p:nvPr/>
        </p:nvSpPr>
        <p:spPr>
          <a:xfrm>
            <a:off x="136387" y="3769653"/>
            <a:ext cx="1107996" cy="369332"/>
          </a:xfrm>
          <a:prstGeom prst="rect">
            <a:avLst/>
          </a:prstGeom>
          <a:noFill/>
        </p:spPr>
        <p:txBody>
          <a:bodyPr wrap="none" rtlCol="0">
            <a:spAutoFit/>
          </a:bodyPr>
          <a:lstStyle/>
          <a:p>
            <a:pPr algn="l" rtl="0"/>
            <a:r>
              <a:rPr lang="fr-FR" b="0" i="0" u="none" baseline="0" dirty="0">
                <a:gradFill>
                  <a:gsLst>
                    <a:gs pos="2917">
                      <a:schemeClr val="tx1"/>
                    </a:gs>
                    <a:gs pos="30000">
                      <a:schemeClr val="tx1"/>
                    </a:gs>
                  </a:gsLst>
                  <a:lin ang="5400000" scaled="0"/>
                </a:gradFill>
              </a:rPr>
              <a:t>Entrée</a:t>
            </a:r>
            <a:endParaRPr lang="fr-FR" altLang="zh-CN" dirty="0">
              <a:gradFill>
                <a:gsLst>
                  <a:gs pos="2917">
                    <a:schemeClr val="tx1"/>
                  </a:gs>
                  <a:gs pos="30000">
                    <a:schemeClr val="tx1"/>
                  </a:gs>
                </a:gsLst>
                <a:lin ang="5400000" scaled="0"/>
              </a:gradFill>
            </a:endParaRPr>
          </a:p>
        </p:txBody>
      </p:sp>
      <p:sp>
        <p:nvSpPr>
          <p:cNvPr id="110" name="矩形 109">
            <a:extLst>
              <a:ext uri="{FF2B5EF4-FFF2-40B4-BE49-F238E27FC236}">
                <a16:creationId xmlns:a16="http://schemas.microsoft.com/office/drawing/2014/main" id="{7D95426F-3C71-4F26-A55A-6138FB0693D0}"/>
              </a:ext>
            </a:extLst>
          </p:cNvPr>
          <p:cNvSpPr/>
          <p:nvPr/>
        </p:nvSpPr>
        <p:spPr>
          <a:xfrm>
            <a:off x="9078816" y="1020005"/>
            <a:ext cx="1851789" cy="341632"/>
          </a:xfrm>
          <a:prstGeom prst="rect">
            <a:avLst/>
          </a:prstGeom>
        </p:spPr>
        <p:txBody>
          <a:bodyPr wrap="none">
            <a:spAutoFit/>
          </a:bodyPr>
          <a:lstStyle/>
          <a:p>
            <a:pPr algn="l" rtl="0">
              <a:lnSpc>
                <a:spcPct val="90000"/>
              </a:lnSpc>
              <a:spcAft>
                <a:spcPts val="588"/>
              </a:spcAft>
            </a:pPr>
            <a:r>
              <a:rPr lang="fr-FR" b="0" i="0" u="none" baseline="0">
                <a:gradFill>
                  <a:gsLst>
                    <a:gs pos="2917">
                      <a:schemeClr val="tx1"/>
                    </a:gs>
                    <a:gs pos="30000">
                      <a:schemeClr val="tx1"/>
                    </a:gs>
                  </a:gsLst>
                  <a:lin ang="5400000" scaled="0"/>
                </a:gradFill>
              </a:rPr>
              <a:t>Zone publicitaire</a:t>
            </a:r>
          </a:p>
        </p:txBody>
      </p:sp>
      <p:sp>
        <p:nvSpPr>
          <p:cNvPr id="111" name="矩形 110">
            <a:extLst>
              <a:ext uri="{FF2B5EF4-FFF2-40B4-BE49-F238E27FC236}">
                <a16:creationId xmlns:a16="http://schemas.microsoft.com/office/drawing/2014/main" id="{65E0C22E-0086-43A1-B0FD-E3ECFB67727B}"/>
              </a:ext>
            </a:extLst>
          </p:cNvPr>
          <p:cNvSpPr/>
          <p:nvPr/>
        </p:nvSpPr>
        <p:spPr>
          <a:xfrm>
            <a:off x="8716661" y="4059175"/>
            <a:ext cx="1685077" cy="341632"/>
          </a:xfrm>
          <a:prstGeom prst="rect">
            <a:avLst/>
          </a:prstGeom>
        </p:spPr>
        <p:txBody>
          <a:bodyPr wrap="none">
            <a:spAutoFit/>
          </a:bodyPr>
          <a:lstStyle/>
          <a:p>
            <a:pPr algn="l" rtl="0">
              <a:lnSpc>
                <a:spcPct val="90000"/>
              </a:lnSpc>
              <a:spcAft>
                <a:spcPts val="588"/>
              </a:spcAft>
            </a:pPr>
            <a:r>
              <a:rPr lang="fr-FR" b="0" i="0" u="none" baseline="0">
                <a:gradFill>
                  <a:gsLst>
                    <a:gs pos="2917">
                      <a:schemeClr val="tx1"/>
                    </a:gs>
                    <a:gs pos="30000">
                      <a:schemeClr val="tx1"/>
                    </a:gs>
                  </a:gsLst>
                  <a:lin ang="5400000" scaled="0"/>
                </a:gradFill>
              </a:rPr>
              <a:t>Zone d'achat</a:t>
            </a:r>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4" cstate="print"/>
          <a:srcRect/>
          <a:stretch>
            <a:fillRect/>
          </a:stretch>
        </p:blipFill>
        <p:spPr>
          <a:xfrm>
            <a:off x="0" y="1144647"/>
            <a:ext cx="12486772" cy="4272834"/>
          </a:xfrm>
          <a:prstGeom prst="rect">
            <a:avLst/>
          </a:prstGeom>
        </p:spPr>
      </p:pic>
      <p:sp>
        <p:nvSpPr>
          <p:cNvPr id="2" name="标题 1"/>
          <p:cNvSpPr>
            <a:spLocks noGrp="1"/>
          </p:cNvSpPr>
          <p:nvPr>
            <p:ph type="title"/>
          </p:nvPr>
        </p:nvSpPr>
        <p:spPr/>
        <p:txBody>
          <a:bodyPr/>
          <a:lstStyle/>
          <a:p>
            <a:r>
              <a:rPr lang="fr-FR" altLang="zh-CN" dirty="0">
                <a:gradFill>
                  <a:gsLst>
                    <a:gs pos="2917">
                      <a:schemeClr val="tx1"/>
                    </a:gs>
                    <a:gs pos="30000">
                      <a:schemeClr val="tx1"/>
                    </a:gs>
                  </a:gsLst>
                  <a:lin ang="5400000" scaled="0"/>
                </a:gradFill>
              </a:rPr>
              <a:t>Entrée</a:t>
            </a:r>
            <a:br>
              <a:rPr lang="fr-FR" altLang="zh-CN" dirty="0">
                <a:gradFill>
                  <a:gsLst>
                    <a:gs pos="2917">
                      <a:schemeClr val="tx1"/>
                    </a:gs>
                    <a:gs pos="30000">
                      <a:schemeClr val="tx1"/>
                    </a:gs>
                  </a:gsLst>
                  <a:lin ang="5400000" scaled="0"/>
                </a:gradFill>
              </a:rPr>
            </a:br>
            <a:r>
              <a:rPr lang="en-US" altLang="zh-CN" dirty="0">
                <a:latin typeface="+mn-lt"/>
                <a:cs typeface="+mn-ea"/>
                <a:sym typeface="+mn-lt"/>
              </a:rPr>
              <a:t> </a:t>
            </a:r>
            <a:endParaRPr lang="zh-CN" altLang="en-US" dirty="0">
              <a:latin typeface="+mn-lt"/>
              <a:cs typeface="+mn-ea"/>
              <a:sym typeface="+mn-lt"/>
            </a:endParaRPr>
          </a:p>
        </p:txBody>
      </p:sp>
      <p:sp>
        <p:nvSpPr>
          <p:cNvPr id="3" name="平行四边形 2"/>
          <p:cNvSpPr/>
          <p:nvPr/>
        </p:nvSpPr>
        <p:spPr>
          <a:xfrm>
            <a:off x="91824" y="6236639"/>
            <a:ext cx="6034974" cy="451841"/>
          </a:xfrm>
          <a:prstGeom prst="parallelogram">
            <a:avLst>
              <a:gd name="adj" fmla="val 3815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7" name="平行四边形 6"/>
          <p:cNvSpPr/>
          <p:nvPr/>
        </p:nvSpPr>
        <p:spPr>
          <a:xfrm>
            <a:off x="4298018" y="5457191"/>
            <a:ext cx="9719891" cy="440949"/>
          </a:xfrm>
          <a:prstGeom prst="parallelogram">
            <a:avLst>
              <a:gd name="adj" fmla="val 38158"/>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cs typeface="+mn-ea"/>
              <a:sym typeface="+mn-lt"/>
            </a:endParaRPr>
          </a:p>
        </p:txBody>
      </p:sp>
      <p:sp>
        <p:nvSpPr>
          <p:cNvPr id="5" name="文本框 4"/>
          <p:cNvSpPr txBox="1"/>
          <p:nvPr/>
        </p:nvSpPr>
        <p:spPr>
          <a:xfrm>
            <a:off x="4755213" y="5399127"/>
            <a:ext cx="8449198" cy="557076"/>
          </a:xfrm>
          <a:prstGeom prst="rect">
            <a:avLst/>
          </a:prstGeom>
          <a:noFill/>
        </p:spPr>
        <p:txBody>
          <a:bodyPr wrap="square" lIns="182880" tIns="146304" rIns="182880" bIns="146304" rtlCol="0">
            <a:spAutoFit/>
          </a:bodyPr>
          <a:lstStyle/>
          <a:p>
            <a:r>
              <a:rPr lang="en-US" altLang="zh-CN" sz="1700" dirty="0">
                <a:solidFill>
                  <a:schemeClr val="tx1">
                    <a:lumMod val="50000"/>
                  </a:schemeClr>
                </a:solidFill>
                <a:cs typeface="+mn-ea"/>
                <a:sym typeface="+mn-lt"/>
              </a:rPr>
              <a:t> </a:t>
            </a:r>
            <a:r>
              <a:rPr lang="fr-FR" altLang="zh-CN" sz="1700" dirty="0">
                <a:solidFill>
                  <a:schemeClr val="tx1">
                    <a:lumMod val="50000"/>
                  </a:schemeClr>
                </a:solidFill>
                <a:cs typeface="+mn-ea"/>
                <a:sym typeface="+mn-lt"/>
              </a:rPr>
              <a:t>Démographie des clients —— Connaître </a:t>
            </a:r>
            <a:r>
              <a:rPr lang="fr-FR" altLang="zh-CN" sz="1700" dirty="0" smtClean="0">
                <a:solidFill>
                  <a:schemeClr val="tx1">
                    <a:lumMod val="50000"/>
                  </a:schemeClr>
                </a:solidFill>
                <a:cs typeface="+mn-ea"/>
                <a:sym typeface="+mn-lt"/>
              </a:rPr>
              <a:t>la typologie des clients en </a:t>
            </a:r>
            <a:r>
              <a:rPr lang="fr-FR" altLang="zh-CN" sz="1700" dirty="0">
                <a:solidFill>
                  <a:schemeClr val="tx1">
                    <a:lumMod val="50000"/>
                  </a:schemeClr>
                </a:solidFill>
                <a:cs typeface="+mn-ea"/>
                <a:sym typeface="+mn-lt"/>
              </a:rPr>
              <a:t>magasin</a:t>
            </a:r>
            <a:endParaRPr lang="en-US" altLang="zh-CN" sz="1700" dirty="0">
              <a:solidFill>
                <a:schemeClr val="tx1">
                  <a:lumMod val="50000"/>
                </a:schemeClr>
              </a:solidFill>
              <a:cs typeface="+mn-ea"/>
              <a:sym typeface="+mn-lt"/>
            </a:endParaRPr>
          </a:p>
        </p:txBody>
      </p:sp>
      <p:sp>
        <p:nvSpPr>
          <p:cNvPr id="8" name="平行四边形 7"/>
          <p:cNvSpPr/>
          <p:nvPr/>
        </p:nvSpPr>
        <p:spPr>
          <a:xfrm>
            <a:off x="-616523" y="6240433"/>
            <a:ext cx="7200515" cy="448048"/>
          </a:xfrm>
          <a:prstGeom prst="parallelogram">
            <a:avLst>
              <a:gd name="adj" fmla="val 381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zh-CN" dirty="0">
                <a:cs typeface="+mn-ea"/>
                <a:sym typeface="+mn-lt"/>
              </a:rPr>
              <a:t>Fréquentation —— la principale préoccupation</a:t>
            </a:r>
            <a:endParaRPr lang="zh-CN" altLang="en-US" dirty="0">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20"/>
          <p:cNvSpPr/>
          <p:nvPr/>
        </p:nvSpPr>
        <p:spPr bwMode="auto">
          <a:xfrm>
            <a:off x="4676152" y="1904019"/>
            <a:ext cx="1076142" cy="2486932"/>
          </a:xfrm>
          <a:prstGeom prst="rect">
            <a:avLst/>
          </a:prstGeom>
          <a:solidFill>
            <a:srgbClr val="D5D5D5"/>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just"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3" name="标题 1"/>
          <p:cNvSpPr txBox="1"/>
          <p:nvPr/>
        </p:nvSpPr>
        <p:spPr>
          <a:xfrm>
            <a:off x="267683" y="281823"/>
            <a:ext cx="11192828" cy="946413"/>
          </a:xfrm>
          <a:prstGeom prst="rect">
            <a:avLst/>
          </a:prstGeom>
        </p:spPr>
        <p:txBody>
          <a:bodyPr vert="horz" wrap="square" lIns="146304" tIns="91440" rIns="146304" bIns="91440" rtlCol="0" anchor="t">
            <a:no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fr-FR" altLang="zh-CN" dirty="0">
                <a:gradFill>
                  <a:gsLst>
                    <a:gs pos="2917">
                      <a:schemeClr val="tx1"/>
                    </a:gs>
                    <a:gs pos="30000">
                      <a:schemeClr val="tx1"/>
                    </a:gs>
                  </a:gsLst>
                  <a:lin ang="5400000" scaled="0"/>
                </a:gradFill>
              </a:rPr>
              <a:t>Entrée</a:t>
            </a:r>
            <a:r>
              <a:rPr lang="en-US" altLang="zh-CN" dirty="0">
                <a:latin typeface="+mn-lt"/>
                <a:cs typeface="+mn-ea"/>
                <a:sym typeface="+mn-lt"/>
              </a:rPr>
              <a:t> | </a:t>
            </a:r>
            <a:r>
              <a:rPr lang="en-US" altLang="zh-CN" sz="3600" dirty="0" err="1">
                <a:latin typeface="+mn-lt"/>
                <a:cs typeface="+mn-ea"/>
                <a:sym typeface="+mn-lt"/>
              </a:rPr>
              <a:t>Données</a:t>
            </a:r>
            <a:r>
              <a:rPr lang="en-US" altLang="zh-CN" sz="3600" dirty="0">
                <a:latin typeface="+mn-lt"/>
                <a:cs typeface="+mn-ea"/>
                <a:sym typeface="+mn-lt"/>
              </a:rPr>
              <a:t> </a:t>
            </a:r>
            <a:r>
              <a:rPr lang="en-US" altLang="zh-CN" sz="3600" dirty="0" err="1">
                <a:latin typeface="+mn-lt"/>
                <a:cs typeface="+mn-ea"/>
                <a:sym typeface="+mn-lt"/>
              </a:rPr>
              <a:t>démographiques</a:t>
            </a:r>
            <a:r>
              <a:rPr lang="en-US" altLang="zh-CN" sz="3600" dirty="0">
                <a:latin typeface="+mn-lt"/>
                <a:cs typeface="+mn-ea"/>
                <a:sym typeface="+mn-lt"/>
              </a:rPr>
              <a:t> des clients</a:t>
            </a:r>
            <a:endParaRPr lang="en-US" altLang="zh-CN" dirty="0">
              <a:latin typeface="+mn-lt"/>
              <a:cs typeface="+mn-ea"/>
              <a:sym typeface="+mn-lt"/>
            </a:endParaRPr>
          </a:p>
        </p:txBody>
      </p:sp>
      <p:pic>
        <p:nvPicPr>
          <p:cNvPr id="17" name="Picture 7"/>
          <p:cNvPicPr>
            <a:picLocks noChangeAspect="1"/>
          </p:cNvPicPr>
          <p:nvPr/>
        </p:nvPicPr>
        <p:blipFill rotWithShape="1">
          <a:blip r:embed="rId5">
            <a:extLst>
              <a:ext uri="{28A0092B-C50C-407E-A947-70E740481C1C}">
                <a14:useLocalDpi xmlns:a14="http://schemas.microsoft.com/office/drawing/2010/main" val="0"/>
              </a:ext>
            </a:extLst>
          </a:blip>
          <a:srcRect b="18333"/>
          <a:stretch>
            <a:fillRect/>
          </a:stretch>
        </p:blipFill>
        <p:spPr>
          <a:xfrm>
            <a:off x="565574" y="1861486"/>
            <a:ext cx="4098200" cy="2509643"/>
          </a:xfrm>
          <a:prstGeom prst="rect">
            <a:avLst/>
          </a:prstGeom>
        </p:spPr>
      </p:pic>
      <p:grpSp>
        <p:nvGrpSpPr>
          <p:cNvPr id="8" name="组合 7"/>
          <p:cNvGrpSpPr/>
          <p:nvPr/>
        </p:nvGrpSpPr>
        <p:grpSpPr>
          <a:xfrm>
            <a:off x="7341845" y="3738485"/>
            <a:ext cx="4847672" cy="3256040"/>
            <a:chOff x="7431841" y="3214788"/>
            <a:chExt cx="5004634" cy="3812832"/>
          </a:xfrm>
        </p:grpSpPr>
        <p:pic>
          <p:nvPicPr>
            <p:cNvPr id="14" name="图片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31841" y="3214788"/>
              <a:ext cx="5004634" cy="3812832"/>
            </a:xfrm>
            <a:prstGeom prst="rect">
              <a:avLst/>
            </a:prstGeom>
          </p:spPr>
        </p:pic>
        <p:pic>
          <p:nvPicPr>
            <p:cNvPr id="2" name="图片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98383" y="3303350"/>
              <a:ext cx="4749641" cy="2822200"/>
            </a:xfrm>
            <a:prstGeom prst="rect">
              <a:avLst/>
            </a:prstGeom>
          </p:spPr>
        </p:pic>
      </p:grpSp>
      <p:sp>
        <p:nvSpPr>
          <p:cNvPr id="4" name="文本框 3"/>
          <p:cNvSpPr txBox="1"/>
          <p:nvPr/>
        </p:nvSpPr>
        <p:spPr>
          <a:xfrm>
            <a:off x="4659413" y="2294773"/>
            <a:ext cx="1659713" cy="1191095"/>
          </a:xfrm>
          <a:prstGeom prst="rect">
            <a:avLst/>
          </a:prstGeom>
          <a:noFill/>
        </p:spPr>
        <p:txBody>
          <a:bodyPr wrap="square" lIns="182880" tIns="146304" rIns="182880" bIns="146304" rtlCol="0">
            <a:spAutoFit/>
          </a:bodyPr>
          <a:lstStyle/>
          <a:p>
            <a:pPr marL="171450" indent="-171450">
              <a:lnSpc>
                <a:spcPct val="90000"/>
              </a:lnSpc>
              <a:spcAft>
                <a:spcPts val="600"/>
              </a:spcAft>
              <a:buFont typeface="Wingdings" panose="05000000000000000000" pitchFamily="2" charset="2"/>
              <a:buChar char="ü"/>
            </a:pPr>
            <a:r>
              <a:rPr lang="en-US" altLang="zh-CN" sz="1200" dirty="0" err="1">
                <a:gradFill>
                  <a:gsLst>
                    <a:gs pos="2917">
                      <a:schemeClr val="tx1"/>
                    </a:gs>
                    <a:gs pos="30000">
                      <a:schemeClr val="tx1"/>
                    </a:gs>
                  </a:gsLst>
                  <a:lin ang="5400000" scaled="0"/>
                </a:gradFill>
                <a:cs typeface="+mn-ea"/>
                <a:sym typeface="+mn-lt"/>
              </a:rPr>
              <a:t>Sexe</a:t>
            </a:r>
            <a:endParaRPr lang="en-US" altLang="zh-CN" sz="1200" dirty="0">
              <a:gradFill>
                <a:gsLst>
                  <a:gs pos="2917">
                    <a:schemeClr val="tx1"/>
                  </a:gs>
                  <a:gs pos="30000">
                    <a:schemeClr val="tx1"/>
                  </a:gs>
                </a:gsLst>
                <a:lin ang="5400000" scaled="0"/>
              </a:gradFill>
              <a:cs typeface="+mn-ea"/>
              <a:sym typeface="+mn-lt"/>
            </a:endParaRPr>
          </a:p>
          <a:p>
            <a:pPr marL="171450" indent="-171450">
              <a:lnSpc>
                <a:spcPct val="90000"/>
              </a:lnSpc>
              <a:spcAft>
                <a:spcPts val="600"/>
              </a:spcAft>
              <a:buFont typeface="Wingdings" panose="05000000000000000000" pitchFamily="2" charset="2"/>
              <a:buChar char="ü"/>
            </a:pPr>
            <a:r>
              <a:rPr lang="en-US" altLang="zh-CN" sz="1200" dirty="0" err="1">
                <a:gradFill>
                  <a:gsLst>
                    <a:gs pos="2917">
                      <a:schemeClr val="tx1"/>
                    </a:gs>
                    <a:gs pos="30000">
                      <a:schemeClr val="tx1"/>
                    </a:gs>
                  </a:gsLst>
                  <a:lin ang="5400000" scaled="0"/>
                </a:gradFill>
                <a:cs typeface="+mn-ea"/>
                <a:sym typeface="+mn-lt"/>
              </a:rPr>
              <a:t>Âge</a:t>
            </a:r>
            <a:endParaRPr lang="en-US" altLang="zh-CN" sz="1200" dirty="0">
              <a:gradFill>
                <a:gsLst>
                  <a:gs pos="2917">
                    <a:schemeClr val="tx1"/>
                  </a:gs>
                  <a:gs pos="30000">
                    <a:schemeClr val="tx1"/>
                  </a:gs>
                </a:gsLst>
                <a:lin ang="5400000" scaled="0"/>
              </a:gradFill>
              <a:cs typeface="+mn-ea"/>
              <a:sym typeface="+mn-lt"/>
            </a:endParaRPr>
          </a:p>
          <a:p>
            <a:pPr marL="171450" indent="-171450">
              <a:lnSpc>
                <a:spcPct val="90000"/>
              </a:lnSpc>
              <a:spcAft>
                <a:spcPts val="600"/>
              </a:spcAft>
              <a:buFont typeface="Wingdings" panose="05000000000000000000" pitchFamily="2" charset="2"/>
              <a:buChar char="ü"/>
            </a:pPr>
            <a:r>
              <a:rPr lang="en-US" altLang="zh-CN" sz="1200" dirty="0">
                <a:gradFill>
                  <a:gsLst>
                    <a:gs pos="2917">
                      <a:schemeClr val="tx1"/>
                    </a:gs>
                    <a:gs pos="30000">
                      <a:schemeClr val="tx1"/>
                    </a:gs>
                  </a:gsLst>
                  <a:lin ang="5400000" scaled="0"/>
                </a:gradFill>
                <a:cs typeface="+mn-ea"/>
                <a:sym typeface="+mn-lt"/>
              </a:rPr>
              <a:t>Expression</a:t>
            </a:r>
          </a:p>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a:t>
            </a:r>
            <a:endParaRPr lang="zh-CN" altLang="en-US" sz="1200" dirty="0" err="1">
              <a:gradFill>
                <a:gsLst>
                  <a:gs pos="2917">
                    <a:schemeClr val="tx1"/>
                  </a:gs>
                  <a:gs pos="30000">
                    <a:schemeClr val="tx1"/>
                  </a:gs>
                </a:gsLst>
                <a:lin ang="5400000" scaled="0"/>
              </a:gradFill>
              <a:cs typeface="+mn-ea"/>
              <a:sym typeface="+mn-lt"/>
            </a:endParaRPr>
          </a:p>
        </p:txBody>
      </p:sp>
      <p:sp>
        <p:nvSpPr>
          <p:cNvPr id="22" name="矩形 21"/>
          <p:cNvSpPr/>
          <p:nvPr/>
        </p:nvSpPr>
        <p:spPr>
          <a:xfrm>
            <a:off x="7498384" y="2351711"/>
            <a:ext cx="4332034" cy="1077218"/>
          </a:xfrm>
          <a:prstGeom prst="rect">
            <a:avLst/>
          </a:prstGeom>
        </p:spPr>
        <p:txBody>
          <a:bodyPr wrap="square">
            <a:spAutoFit/>
          </a:bodyPr>
          <a:lstStyle/>
          <a:p>
            <a:r>
              <a:rPr lang="en-US" altLang="zh-CN" sz="1600" b="1" dirty="0" err="1" smtClean="0">
                <a:cs typeface="+mn-ea"/>
                <a:sym typeface="+mn-lt"/>
              </a:rPr>
              <a:t>Possibilité</a:t>
            </a:r>
            <a:r>
              <a:rPr lang="en-US" altLang="zh-CN" sz="1600" b="1" dirty="0" smtClean="0">
                <a:cs typeface="+mn-ea"/>
                <a:sym typeface="+mn-lt"/>
              </a:rPr>
              <a:t> de faire des </a:t>
            </a:r>
            <a:r>
              <a:rPr lang="en-US" altLang="zh-CN" sz="1600" b="1" dirty="0" err="1" smtClean="0">
                <a:cs typeface="+mn-ea"/>
                <a:sym typeface="+mn-lt"/>
              </a:rPr>
              <a:t>statistiques</a:t>
            </a:r>
            <a:r>
              <a:rPr lang="en-US" altLang="zh-CN" sz="1600" b="1" dirty="0" smtClean="0">
                <a:cs typeface="+mn-ea"/>
                <a:sym typeface="+mn-lt"/>
              </a:rPr>
              <a:t> </a:t>
            </a:r>
            <a:endParaRPr lang="en-US" altLang="zh-CN" sz="1600" b="1" dirty="0">
              <a:cs typeface="+mn-ea"/>
              <a:sym typeface="+mn-lt"/>
            </a:endParaRPr>
          </a:p>
          <a:p>
            <a:r>
              <a:rPr lang="fr-FR" altLang="zh-CN" sz="1600" dirty="0" smtClean="0">
                <a:cs typeface="+mn-ea"/>
                <a:sym typeface="+mn-lt"/>
              </a:rPr>
              <a:t>L'Age Moyen, le genre, l’expression etc…</a:t>
            </a:r>
            <a:endParaRPr lang="en-US" altLang="zh-CN" sz="1600" b="1" i="1" dirty="0">
              <a:cs typeface="+mn-ea"/>
              <a:sym typeface="+mn-lt"/>
            </a:endParaRPr>
          </a:p>
          <a:p>
            <a:r>
              <a:rPr lang="fr-FR" altLang="zh-CN" sz="1600" b="1" dirty="0" smtClean="0">
                <a:cs typeface="+mn-ea"/>
                <a:sym typeface="+mn-lt"/>
              </a:rPr>
              <a:t>Extraire des données </a:t>
            </a:r>
          </a:p>
          <a:p>
            <a:r>
              <a:rPr lang="fr-FR" altLang="zh-CN" sz="1600" dirty="0" smtClean="0">
                <a:cs typeface="+mn-ea"/>
                <a:sym typeface="+mn-lt"/>
              </a:rPr>
              <a:t>Par heures, semaines, mois, année</a:t>
            </a:r>
            <a:endParaRPr lang="fr-FR" altLang="zh-CN" sz="1600" b="1" dirty="0">
              <a:cs typeface="+mn-ea"/>
              <a:sym typeface="+mn-lt"/>
            </a:endParaRPr>
          </a:p>
        </p:txBody>
      </p:sp>
      <p:sp>
        <p:nvSpPr>
          <p:cNvPr id="23" name="矩形 22"/>
          <p:cNvSpPr/>
          <p:nvPr/>
        </p:nvSpPr>
        <p:spPr>
          <a:xfrm>
            <a:off x="489266" y="4844263"/>
            <a:ext cx="6057803" cy="1754326"/>
          </a:xfrm>
          <a:prstGeom prst="rect">
            <a:avLst/>
          </a:prstGeom>
        </p:spPr>
        <p:txBody>
          <a:bodyPr wrap="square">
            <a:spAutoFit/>
          </a:bodyPr>
          <a:lstStyle/>
          <a:p>
            <a:r>
              <a:rPr lang="en-US" altLang="zh-CN" b="1" dirty="0" err="1" smtClean="0">
                <a:cs typeface="+mn-ea"/>
                <a:sym typeface="+mn-lt"/>
              </a:rPr>
              <a:t>Mieux</a:t>
            </a:r>
            <a:r>
              <a:rPr lang="en-US" altLang="zh-CN" b="1" dirty="0" smtClean="0">
                <a:cs typeface="+mn-ea"/>
                <a:sym typeface="+mn-lt"/>
              </a:rPr>
              <a:t> </a:t>
            </a:r>
            <a:r>
              <a:rPr lang="en-US" altLang="zh-CN" b="1" dirty="0" err="1" smtClean="0">
                <a:cs typeface="+mn-ea"/>
                <a:sym typeface="+mn-lt"/>
              </a:rPr>
              <a:t>connaître</a:t>
            </a:r>
            <a:r>
              <a:rPr lang="en-US" altLang="zh-CN" b="1" dirty="0" smtClean="0">
                <a:cs typeface="+mn-ea"/>
                <a:sym typeface="+mn-lt"/>
              </a:rPr>
              <a:t> la frequentation de son commerce</a:t>
            </a:r>
          </a:p>
          <a:p>
            <a:r>
              <a:rPr lang="fr-FR" altLang="zh-CN" b="1" dirty="0" smtClean="0">
                <a:cs typeface="+mn-ea"/>
                <a:sym typeface="+mn-lt"/>
              </a:rPr>
              <a:t>Segmentation clients </a:t>
            </a:r>
          </a:p>
          <a:p>
            <a:r>
              <a:rPr lang="fr-FR" altLang="zh-CN" dirty="0" smtClean="0">
                <a:cs typeface="+mn-ea"/>
                <a:sym typeface="+mn-lt"/>
              </a:rPr>
              <a:t>Homme –Femme</a:t>
            </a:r>
          </a:p>
          <a:p>
            <a:r>
              <a:rPr lang="fr-FR" altLang="zh-CN" dirty="0" smtClean="0">
                <a:cs typeface="+mn-ea"/>
                <a:sym typeface="+mn-lt"/>
              </a:rPr>
              <a:t>Age Moyen </a:t>
            </a:r>
          </a:p>
          <a:p>
            <a:r>
              <a:rPr lang="fr-FR" altLang="zh-CN" dirty="0" smtClean="0">
                <a:cs typeface="+mn-ea"/>
                <a:sym typeface="+mn-lt"/>
              </a:rPr>
              <a:t>Content – Souriant – surpris </a:t>
            </a:r>
            <a:r>
              <a:rPr lang="fr-FR" altLang="zh-CN" dirty="0" err="1" smtClean="0">
                <a:cs typeface="+mn-ea"/>
                <a:sym typeface="+mn-lt"/>
              </a:rPr>
              <a:t>etc</a:t>
            </a:r>
            <a:r>
              <a:rPr lang="fr-FR" altLang="zh-CN" dirty="0" smtClean="0">
                <a:cs typeface="+mn-ea"/>
                <a:sym typeface="+mn-lt"/>
              </a:rPr>
              <a:t> …</a:t>
            </a:r>
          </a:p>
          <a:p>
            <a:r>
              <a:rPr lang="en-US" altLang="zh-CN" dirty="0" smtClean="0">
                <a:cs typeface="+mn-ea"/>
                <a:sym typeface="+mn-lt"/>
              </a:rPr>
              <a:t>Avec Lunettes – </a:t>
            </a:r>
            <a:r>
              <a:rPr lang="en-US" altLang="zh-CN" dirty="0" err="1" smtClean="0">
                <a:cs typeface="+mn-ea"/>
                <a:sym typeface="+mn-lt"/>
              </a:rPr>
              <a:t>Barbe</a:t>
            </a:r>
            <a:r>
              <a:rPr lang="en-US" altLang="zh-CN" dirty="0" smtClean="0">
                <a:cs typeface="+mn-ea"/>
                <a:sym typeface="+mn-lt"/>
              </a:rPr>
              <a:t> – </a:t>
            </a:r>
            <a:r>
              <a:rPr lang="en-US" altLang="zh-CN" dirty="0" err="1" smtClean="0">
                <a:cs typeface="+mn-ea"/>
                <a:sym typeface="+mn-lt"/>
              </a:rPr>
              <a:t>casquette</a:t>
            </a:r>
            <a:r>
              <a:rPr lang="en-US" altLang="zh-CN" dirty="0" smtClean="0">
                <a:cs typeface="+mn-ea"/>
                <a:sym typeface="+mn-lt"/>
              </a:rPr>
              <a:t> </a:t>
            </a:r>
            <a:r>
              <a:rPr lang="en-US" altLang="zh-CN" dirty="0" err="1" smtClean="0">
                <a:cs typeface="+mn-ea"/>
                <a:sym typeface="+mn-lt"/>
              </a:rPr>
              <a:t>etc</a:t>
            </a:r>
            <a:r>
              <a:rPr lang="en-US" altLang="zh-CN" dirty="0" smtClean="0">
                <a:cs typeface="+mn-ea"/>
                <a:sym typeface="+mn-lt"/>
              </a:rPr>
              <a:t> …</a:t>
            </a:r>
            <a:endParaRPr lang="fr-FR" altLang="zh-CN" dirty="0">
              <a:cs typeface="+mn-ea"/>
              <a:sym typeface="+mn-lt"/>
            </a:endParaRPr>
          </a:p>
        </p:txBody>
      </p:sp>
      <p:pic>
        <p:nvPicPr>
          <p:cNvPr id="10" name="媒体3_0">
            <a:hlinkClick r:id="" action="ppaction://media"/>
          </p:cNvPr>
          <p:cNvPicPr>
            <a:picLocks noChangeAspect="1"/>
          </p:cNvPicPr>
          <p:nvPr>
            <a:videoFile r:link="rId2"/>
          </p:nvPr>
        </p:nvPicPr>
        <p:blipFill>
          <a:blip r:embed="rId8"/>
          <a:stretch>
            <a:fillRect/>
          </a:stretch>
        </p:blipFill>
        <p:spPr>
          <a:xfrm>
            <a:off x="655332" y="1974227"/>
            <a:ext cx="3949270" cy="2230545"/>
          </a:xfrm>
          <a:prstGeom prst="rect">
            <a:avLst/>
          </a:prstGeom>
        </p:spPr>
      </p:pic>
    </p:spTree>
    <p:custDataLst>
      <p:tags r:id="rId1"/>
    </p:custDataLst>
  </p:cSld>
  <p:clrMapOvr>
    <a:masterClrMapping/>
  </p:clrMapOvr>
  <p:transition>
    <p:fade/>
  </p:transition>
  <p:timing>
    <p:tnLst>
      <p:par>
        <p:cTn id="1" dur="indefinite" restart="never" nodeType="tmRoot">
          <p:childTnLst>
            <p:seq concurrent="1" nextAc="seek">
              <p:cTn id="2" restart="whenNotActive" fill="hold" evtFilter="cancelBubble" nodeType="interactiveSeq">
                <p:stCondLst>
                  <p:cond evt="onClick" delay="0">
                    <p:tgtEl>
                      <p:spTgt spid="10"/>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0"/>
                                        </p:tgtEl>
                                      </p:cBhvr>
                                    </p:cmd>
                                  </p:childTnLst>
                                </p:cTn>
                              </p:par>
                            </p:childTnLst>
                          </p:cTn>
                        </p:par>
                      </p:childTnLst>
                    </p:cTn>
                  </p:par>
                </p:childTnLst>
              </p:cTn>
              <p:nextCondLst>
                <p:cond evt="onClick" delay="0">
                  <p:tgtEl>
                    <p:spTgt spid="10"/>
                  </p:tgtEl>
                </p:cond>
              </p:nextCondLst>
            </p:seq>
            <p:video>
              <p:cMediaNode vol="80000">
                <p:cTn id="7" fill="hold" display="0">
                  <p:stCondLst>
                    <p:cond delay="indefinite"/>
                  </p:stCondLst>
                </p:cTn>
                <p:tgtEl>
                  <p:spTgt spid="10"/>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3683" y="271392"/>
            <a:ext cx="11192828" cy="946413"/>
          </a:xfrm>
        </p:spPr>
        <p:txBody>
          <a:bodyPr/>
          <a:lstStyle/>
          <a:p>
            <a:r>
              <a:rPr lang="fr-FR" altLang="zh-CN" dirty="0">
                <a:gradFill>
                  <a:gsLst>
                    <a:gs pos="2917">
                      <a:schemeClr val="tx1"/>
                    </a:gs>
                    <a:gs pos="30000">
                      <a:schemeClr val="tx1"/>
                    </a:gs>
                  </a:gsLst>
                  <a:lin ang="5400000" scaled="0"/>
                </a:gradFill>
              </a:rPr>
              <a:t>Entrée</a:t>
            </a:r>
            <a:r>
              <a:rPr lang="en-US" altLang="zh-CN" dirty="0">
                <a:latin typeface="+mn-lt"/>
                <a:cs typeface="+mn-ea"/>
                <a:sym typeface="+mn-lt"/>
              </a:rPr>
              <a:t> | </a:t>
            </a:r>
            <a:r>
              <a:rPr lang="en-US" altLang="zh-CN" sz="3600" dirty="0" err="1" smtClean="0">
                <a:latin typeface="+mn-lt"/>
                <a:cs typeface="+mn-ea"/>
                <a:sym typeface="+mn-lt"/>
              </a:rPr>
              <a:t>Comptage</a:t>
            </a:r>
            <a:r>
              <a:rPr lang="en-US" altLang="zh-CN" sz="3600" dirty="0" smtClean="0">
                <a:latin typeface="+mn-lt"/>
                <a:cs typeface="+mn-ea"/>
                <a:sym typeface="+mn-lt"/>
              </a:rPr>
              <a:t> </a:t>
            </a:r>
            <a:r>
              <a:rPr lang="en-US" altLang="zh-CN" sz="3600" dirty="0">
                <a:latin typeface="+mn-lt"/>
                <a:cs typeface="+mn-ea"/>
                <a:sym typeface="+mn-lt"/>
              </a:rPr>
              <a:t>des flux clients</a:t>
            </a:r>
            <a:endParaRPr lang="zh-CN" altLang="en-US" sz="2800" dirty="0">
              <a:latin typeface="+mn-lt"/>
              <a:cs typeface="+mn-ea"/>
              <a:sym typeface="+mn-lt"/>
            </a:endParaRPr>
          </a:p>
        </p:txBody>
      </p:sp>
      <p:grpSp>
        <p:nvGrpSpPr>
          <p:cNvPr id="6" name="组合 5"/>
          <p:cNvGrpSpPr/>
          <p:nvPr/>
        </p:nvGrpSpPr>
        <p:grpSpPr>
          <a:xfrm>
            <a:off x="7623163" y="3771579"/>
            <a:ext cx="4506785" cy="3166727"/>
            <a:chOff x="7399953" y="3181693"/>
            <a:chExt cx="5004634" cy="3812832"/>
          </a:xfrm>
        </p:grpSpPr>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99953" y="3181693"/>
              <a:ext cx="5004634" cy="3812832"/>
            </a:xfrm>
            <a:prstGeom prst="rect">
              <a:avLst/>
            </a:prstGeom>
          </p:spPr>
        </p:pic>
        <p:pic>
          <p:nvPicPr>
            <p:cNvPr id="23" name="图片 2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40421" y="3251866"/>
              <a:ext cx="4897238" cy="2805688"/>
            </a:xfrm>
            <a:prstGeom prst="rect">
              <a:avLst/>
            </a:prstGeom>
          </p:spPr>
        </p:pic>
      </p:grpSp>
      <p:pic>
        <p:nvPicPr>
          <p:cNvPr id="7" name="图片 6"/>
          <p:cNvPicPr>
            <a:picLocks noChangeAspect="1"/>
          </p:cNvPicPr>
          <p:nvPr/>
        </p:nvPicPr>
        <p:blipFill>
          <a:blip r:embed="rId6"/>
          <a:stretch>
            <a:fillRect/>
          </a:stretch>
        </p:blipFill>
        <p:spPr>
          <a:xfrm>
            <a:off x="914775" y="2097377"/>
            <a:ext cx="4765932" cy="2569959"/>
          </a:xfrm>
          <a:prstGeom prst="rect">
            <a:avLst/>
          </a:prstGeom>
        </p:spPr>
      </p:pic>
      <p:sp>
        <p:nvSpPr>
          <p:cNvPr id="10" name="矩形 9"/>
          <p:cNvSpPr/>
          <p:nvPr/>
        </p:nvSpPr>
        <p:spPr>
          <a:xfrm>
            <a:off x="731897" y="4909613"/>
            <a:ext cx="5943535" cy="892552"/>
          </a:xfrm>
          <a:prstGeom prst="rect">
            <a:avLst/>
          </a:prstGeom>
        </p:spPr>
        <p:txBody>
          <a:bodyPr wrap="square">
            <a:spAutoFit/>
          </a:bodyPr>
          <a:lstStyle/>
          <a:p>
            <a:r>
              <a:rPr lang="en-US" altLang="zh-CN" sz="2000" b="1" dirty="0" err="1">
                <a:cs typeface="+mn-ea"/>
                <a:sym typeface="+mn-lt"/>
              </a:rPr>
              <a:t>Optimiser</a:t>
            </a:r>
            <a:r>
              <a:rPr lang="en-US" altLang="zh-CN" sz="2000" b="1" dirty="0">
                <a:cs typeface="+mn-ea"/>
                <a:sym typeface="+mn-lt"/>
              </a:rPr>
              <a:t> le personnel</a:t>
            </a:r>
          </a:p>
          <a:p>
            <a:r>
              <a:rPr lang="fr-FR" altLang="zh-CN" sz="1600" dirty="0" smtClean="0">
                <a:cs typeface="+mn-ea"/>
                <a:sym typeface="+mn-lt"/>
              </a:rPr>
              <a:t>Ceci vous permet d’optimiser le personnel en fonction de la fréquentation</a:t>
            </a:r>
            <a:endParaRPr lang="en-US" altLang="zh-CN" sz="1600" dirty="0">
              <a:cs typeface="+mn-ea"/>
              <a:sym typeface="+mn-lt"/>
            </a:endParaRPr>
          </a:p>
        </p:txBody>
      </p:sp>
      <p:sp>
        <p:nvSpPr>
          <p:cNvPr id="3" name="椭圆 2"/>
          <p:cNvSpPr/>
          <p:nvPr/>
        </p:nvSpPr>
        <p:spPr bwMode="auto">
          <a:xfrm>
            <a:off x="5152981" y="2737048"/>
            <a:ext cx="1182855" cy="1090750"/>
          </a:xfrm>
          <a:prstGeom prst="ellipse">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11" name="Picture 2" descr="_Foxmail"/>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6410" b="96154" l="0" r="99667">
                        <a14:foregroundMark x1="29667" y1="30769" x2="66000" y2="23077"/>
                        <a14:foregroundMark x1="72333" y1="23077" x2="86333" y2="23077"/>
                        <a14:foregroundMark x1="92000" y1="26923" x2="92000" y2="26923"/>
                        <a14:foregroundMark x1="29000" y1="34615" x2="6667" y2="38462"/>
                      </a14:backgroundRemoval>
                    </a14:imgEffect>
                  </a14:imgLayer>
                </a14:imgProps>
              </a:ext>
            </a:extLst>
          </a:blip>
          <a:srcRect/>
          <a:stretch>
            <a:fillRect/>
          </a:stretch>
        </p:blipFill>
        <p:spPr bwMode="auto">
          <a:xfrm>
            <a:off x="5229368" y="2979325"/>
            <a:ext cx="1139932" cy="545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肘形连接符 4"/>
          <p:cNvCxnSpPr/>
          <p:nvPr/>
        </p:nvCxnSpPr>
        <p:spPr>
          <a:xfrm>
            <a:off x="6332336" y="3435101"/>
            <a:ext cx="1230556" cy="1032368"/>
          </a:xfrm>
          <a:prstGeom prst="bentConnector3">
            <a:avLst>
              <a:gd name="adj1" fmla="val 11648"/>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矩形 13"/>
          <p:cNvSpPr/>
          <p:nvPr/>
        </p:nvSpPr>
        <p:spPr>
          <a:xfrm>
            <a:off x="6445687" y="1126777"/>
            <a:ext cx="6034974" cy="2308324"/>
          </a:xfrm>
          <a:prstGeom prst="rect">
            <a:avLst/>
          </a:prstGeom>
        </p:spPr>
        <p:txBody>
          <a:bodyPr wrap="square">
            <a:spAutoFit/>
          </a:bodyPr>
          <a:lstStyle/>
          <a:p>
            <a:r>
              <a:rPr lang="en-US" altLang="zh-CN" b="1" dirty="0" err="1">
                <a:cs typeface="+mn-ea"/>
                <a:sym typeface="+mn-lt"/>
              </a:rPr>
              <a:t>Taux</a:t>
            </a:r>
            <a:r>
              <a:rPr lang="en-US" altLang="zh-CN" b="1" dirty="0">
                <a:cs typeface="+mn-ea"/>
                <a:sym typeface="+mn-lt"/>
              </a:rPr>
              <a:t> </a:t>
            </a:r>
            <a:r>
              <a:rPr lang="en-US" altLang="zh-CN" b="1" dirty="0" err="1">
                <a:cs typeface="+mn-ea"/>
                <a:sym typeface="+mn-lt"/>
              </a:rPr>
              <a:t>d'entrée</a:t>
            </a:r>
            <a:endParaRPr lang="en-US" altLang="zh-CN" b="1" dirty="0">
              <a:cs typeface="+mn-ea"/>
              <a:sym typeface="+mn-lt"/>
            </a:endParaRPr>
          </a:p>
          <a:p>
            <a:r>
              <a:rPr lang="fr-FR" altLang="zh-CN" dirty="0" smtClean="0">
                <a:cs typeface="+mn-ea"/>
                <a:sym typeface="+mn-lt"/>
              </a:rPr>
              <a:t>Cette solution de caméra vous permet de savoir en temps réel le nombre d’entrées &amp; de sorties* </a:t>
            </a:r>
          </a:p>
          <a:p>
            <a:r>
              <a:rPr lang="fr-FR" altLang="zh-CN" dirty="0" smtClean="0">
                <a:cs typeface="+mn-ea"/>
                <a:sym typeface="+mn-lt"/>
              </a:rPr>
              <a:t>Le nombre de personne restant dans le magasin* </a:t>
            </a:r>
          </a:p>
          <a:p>
            <a:r>
              <a:rPr lang="en-US" altLang="zh-CN" b="1" dirty="0" err="1" smtClean="0">
                <a:cs typeface="+mn-ea"/>
                <a:sym typeface="+mn-lt"/>
              </a:rPr>
              <a:t>Analyse</a:t>
            </a:r>
            <a:r>
              <a:rPr lang="en-US" altLang="zh-CN" b="1" dirty="0" smtClean="0">
                <a:cs typeface="+mn-ea"/>
                <a:sym typeface="+mn-lt"/>
              </a:rPr>
              <a:t> </a:t>
            </a:r>
            <a:r>
              <a:rPr lang="en-US" altLang="zh-CN" b="1" dirty="0">
                <a:cs typeface="+mn-ea"/>
                <a:sym typeface="+mn-lt"/>
              </a:rPr>
              <a:t>des flux clients</a:t>
            </a:r>
          </a:p>
          <a:p>
            <a:r>
              <a:rPr lang="fr-FR" altLang="zh-CN" dirty="0">
                <a:cs typeface="+mn-ea"/>
                <a:sym typeface="+mn-lt"/>
              </a:rPr>
              <a:t>Connaître </a:t>
            </a:r>
            <a:r>
              <a:rPr lang="fr-FR" altLang="zh-CN" dirty="0" smtClean="0">
                <a:cs typeface="+mn-ea"/>
                <a:sym typeface="+mn-lt"/>
              </a:rPr>
              <a:t>en temps réel ou extraction de rapport de fréquentation du magasin </a:t>
            </a:r>
          </a:p>
          <a:p>
            <a:r>
              <a:rPr lang="fr-FR" altLang="zh-CN" b="1" i="1" dirty="0" smtClean="0">
                <a:cs typeface="+mn-ea"/>
                <a:sym typeface="+mn-lt"/>
              </a:rPr>
              <a:t>Par heure, jour, semaine, mois année </a:t>
            </a:r>
            <a:endParaRPr lang="en-US" altLang="zh-CN" b="1" i="1" dirty="0">
              <a:cs typeface="+mn-ea"/>
              <a:sym typeface="+mn-lt"/>
            </a:endParaRPr>
          </a:p>
        </p:txBody>
      </p:sp>
      <p:grpSp>
        <p:nvGrpSpPr>
          <p:cNvPr id="16" name="组合 15"/>
          <p:cNvGrpSpPr/>
          <p:nvPr/>
        </p:nvGrpSpPr>
        <p:grpSpPr>
          <a:xfrm>
            <a:off x="823336" y="6160110"/>
            <a:ext cx="5139051" cy="702777"/>
            <a:chOff x="389457" y="5755389"/>
            <a:chExt cx="5570314" cy="1005344"/>
          </a:xfrm>
        </p:grpSpPr>
        <p:sp>
          <p:nvSpPr>
            <p:cNvPr id="17" name="圆角矩形 16"/>
            <p:cNvSpPr/>
            <p:nvPr/>
          </p:nvSpPr>
          <p:spPr bwMode="auto">
            <a:xfrm>
              <a:off x="389457" y="5869975"/>
              <a:ext cx="5506559" cy="786831"/>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8" name="TextBox 4"/>
            <p:cNvSpPr txBox="1"/>
            <p:nvPr/>
          </p:nvSpPr>
          <p:spPr>
            <a:xfrm>
              <a:off x="4077336" y="5755389"/>
              <a:ext cx="1882435" cy="620800"/>
            </a:xfrm>
            <a:prstGeom prst="rect">
              <a:avLst/>
            </a:prstGeom>
            <a:noFill/>
          </p:spPr>
          <p:txBody>
            <a:bodyPr wrap="non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DH-IPC-HDW8341X-3D</a:t>
              </a:r>
              <a:endParaRPr lang="zh-CN" altLang="en-US" sz="1000" dirty="0" err="1">
                <a:gradFill>
                  <a:gsLst>
                    <a:gs pos="2917">
                      <a:schemeClr val="tx1"/>
                    </a:gs>
                    <a:gs pos="30000">
                      <a:schemeClr val="tx1"/>
                    </a:gs>
                  </a:gsLst>
                  <a:lin ang="5400000" scaled="0"/>
                </a:gradFill>
                <a:cs typeface="+mn-ea"/>
                <a:sym typeface="+mn-lt"/>
              </a:endParaRPr>
            </a:p>
          </p:txBody>
        </p:sp>
        <p:pic>
          <p:nvPicPr>
            <p:cNvPr id="19" name="Picture 2" descr="_Foxmail"/>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6410" b="96154" l="0" r="99667">
                          <a14:foregroundMark x1="29667" y1="30769" x2="66000" y2="23077"/>
                          <a14:foregroundMark x1="72333" y1="23077" x2="86333" y2="23077"/>
                          <a14:foregroundMark x1="92000" y1="26923" x2="92000" y2="26923"/>
                          <a14:foregroundMark x1="29000" y1="34615" x2="6667" y2="38462"/>
                        </a14:backgroundRemoval>
                      </a14:imgEffect>
                    </a14:imgLayer>
                  </a14:imgProps>
                </a:ext>
              </a:extLst>
            </a:blip>
            <a:srcRect/>
            <a:stretch>
              <a:fillRect/>
            </a:stretch>
          </p:blipFill>
          <p:spPr bwMode="auto">
            <a:xfrm>
              <a:off x="443535" y="5834451"/>
              <a:ext cx="1357081" cy="856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11"/>
            <p:cNvSpPr txBox="1"/>
            <p:nvPr/>
          </p:nvSpPr>
          <p:spPr>
            <a:xfrm>
              <a:off x="2151084" y="5783302"/>
              <a:ext cx="2395004" cy="977431"/>
            </a:xfrm>
            <a:prstGeom prst="rect">
              <a:avLst/>
            </a:prstGeom>
            <a:noFill/>
          </p:spPr>
          <p:txBody>
            <a:bodyPr wrap="none" lIns="182880" tIns="146304" rIns="182880" bIns="146304" rtlCol="0">
              <a:spAutoFit/>
            </a:bodyPr>
            <a:lstStyle/>
            <a:p>
              <a:pPr>
                <a:lnSpc>
                  <a:spcPct val="90000"/>
                </a:lnSpc>
                <a:spcAft>
                  <a:spcPts val="600"/>
                </a:spcAft>
              </a:pPr>
              <a:r>
                <a:rPr lang="en-US" altLang="zh-CN" sz="2800" dirty="0">
                  <a:gradFill>
                    <a:gsLst>
                      <a:gs pos="2917">
                        <a:schemeClr val="tx1"/>
                      </a:gs>
                      <a:gs pos="30000">
                        <a:schemeClr val="tx1"/>
                      </a:gs>
                    </a:gsLst>
                    <a:lin ang="5400000" scaled="0"/>
                  </a:gradFill>
                  <a:cs typeface="+mn-ea"/>
                  <a:sym typeface="+mn-lt"/>
                </a:rPr>
                <a:t>3D Camera</a:t>
              </a:r>
              <a:endParaRPr lang="zh-CN" altLang="en-US" sz="2800" dirty="0" err="1">
                <a:gradFill>
                  <a:gsLst>
                    <a:gs pos="2917">
                      <a:schemeClr val="tx1"/>
                    </a:gs>
                    <a:gs pos="30000">
                      <a:schemeClr val="tx1"/>
                    </a:gs>
                  </a:gsLst>
                  <a:lin ang="5400000" scaled="0"/>
                </a:gradFill>
                <a:cs typeface="+mn-ea"/>
                <a:sym typeface="+mn-lt"/>
              </a:endParaRPr>
            </a:p>
          </p:txBody>
        </p:sp>
      </p:grpSp>
    </p:spTree>
    <p:custDataLst>
      <p:tags r:id="rId1"/>
    </p:custData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4" cstate="print"/>
          <a:srcRect/>
          <a:stretch>
            <a:fillRect/>
          </a:stretch>
        </p:blipFill>
        <p:spPr>
          <a:xfrm>
            <a:off x="-14876" y="1072757"/>
            <a:ext cx="12461992" cy="4619041"/>
          </a:xfrm>
          <a:prstGeom prst="rect">
            <a:avLst/>
          </a:prstGeom>
        </p:spPr>
      </p:pic>
      <p:sp>
        <p:nvSpPr>
          <p:cNvPr id="2" name="标题 1"/>
          <p:cNvSpPr>
            <a:spLocks noGrp="1"/>
          </p:cNvSpPr>
          <p:nvPr>
            <p:ph type="title"/>
          </p:nvPr>
        </p:nvSpPr>
        <p:spPr/>
        <p:txBody>
          <a:bodyPr/>
          <a:lstStyle/>
          <a:p>
            <a:r>
              <a:rPr lang="en-US" altLang="zh-CN" dirty="0">
                <a:cs typeface="+mn-ea"/>
                <a:sym typeface="+mn-lt"/>
              </a:rPr>
              <a:t>Zone </a:t>
            </a:r>
            <a:r>
              <a:rPr lang="en-US" altLang="zh-CN" dirty="0" err="1">
                <a:cs typeface="+mn-ea"/>
                <a:sym typeface="+mn-lt"/>
              </a:rPr>
              <a:t>d'achat</a:t>
            </a:r>
            <a:endParaRPr lang="en-US" altLang="zh-CN" dirty="0">
              <a:cs typeface="+mn-ea"/>
              <a:sym typeface="+mn-lt"/>
            </a:endParaRPr>
          </a:p>
        </p:txBody>
      </p:sp>
      <p:sp>
        <p:nvSpPr>
          <p:cNvPr id="5" name="平行四边形 4"/>
          <p:cNvSpPr/>
          <p:nvPr/>
        </p:nvSpPr>
        <p:spPr>
          <a:xfrm>
            <a:off x="-1096883" y="6261932"/>
            <a:ext cx="12069948" cy="449583"/>
          </a:xfrm>
          <a:prstGeom prst="parallelogram">
            <a:avLst>
              <a:gd name="adj" fmla="val 3815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9" name="平行四边形 8"/>
          <p:cNvSpPr/>
          <p:nvPr/>
        </p:nvSpPr>
        <p:spPr>
          <a:xfrm>
            <a:off x="1463409" y="5480591"/>
            <a:ext cx="12524218" cy="576963"/>
          </a:xfrm>
          <a:prstGeom prst="parallelogram">
            <a:avLst>
              <a:gd name="adj" fmla="val 38158"/>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cs typeface="+mn-ea"/>
              <a:sym typeface="+mn-lt"/>
            </a:endParaRPr>
          </a:p>
        </p:txBody>
      </p:sp>
      <p:sp>
        <p:nvSpPr>
          <p:cNvPr id="10" name="文本框 9"/>
          <p:cNvSpPr txBox="1"/>
          <p:nvPr/>
        </p:nvSpPr>
        <p:spPr>
          <a:xfrm>
            <a:off x="1478670" y="5387699"/>
            <a:ext cx="11612753" cy="818686"/>
          </a:xfrm>
          <a:prstGeom prst="rect">
            <a:avLst/>
          </a:prstGeom>
          <a:noFill/>
        </p:spPr>
        <p:txBody>
          <a:bodyPr wrap="square" lIns="182880" tIns="146304" rIns="182880" bIns="146304" rtlCol="0">
            <a:spAutoFit/>
          </a:bodyPr>
          <a:lstStyle/>
          <a:p>
            <a:r>
              <a:rPr lang="en-US" altLang="zh-CN" sz="1700" dirty="0">
                <a:solidFill>
                  <a:schemeClr val="bg1"/>
                </a:solidFill>
                <a:cs typeface="+mn-ea"/>
                <a:sym typeface="+mn-lt"/>
              </a:rPr>
              <a:t> </a:t>
            </a:r>
            <a:r>
              <a:rPr lang="fr-FR" altLang="zh-CN" sz="1700" dirty="0">
                <a:solidFill>
                  <a:schemeClr val="bg1"/>
                </a:solidFill>
                <a:cs typeface="+mn-ea"/>
                <a:sym typeface="+mn-lt"/>
              </a:rPr>
              <a:t>En tant que principal lieu d’achat, la zone de stockage a tendance à avoir un flux de visiteurs différencié et nécessite des efforts de sécurité.</a:t>
            </a:r>
            <a:endParaRPr lang="en-US" altLang="zh-CN" sz="1700" dirty="0">
              <a:solidFill>
                <a:schemeClr val="bg1"/>
              </a:solidFill>
              <a:cs typeface="+mn-ea"/>
              <a:sym typeface="+mn-lt"/>
            </a:endParaRPr>
          </a:p>
        </p:txBody>
      </p:sp>
      <p:sp>
        <p:nvSpPr>
          <p:cNvPr id="11" name="平行四边形 10"/>
          <p:cNvSpPr/>
          <p:nvPr/>
        </p:nvSpPr>
        <p:spPr>
          <a:xfrm>
            <a:off x="-914005" y="6261931"/>
            <a:ext cx="12494594" cy="449583"/>
          </a:xfrm>
          <a:prstGeom prst="parallelogram">
            <a:avLst>
              <a:gd name="adj" fmla="val 381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zh-CN" dirty="0">
                <a:cs typeface="+mn-ea"/>
                <a:sym typeface="+mn-lt"/>
              </a:rPr>
              <a:t>La distribution des flux clients et la prévention </a:t>
            </a:r>
            <a:r>
              <a:rPr lang="fr-FR" altLang="zh-CN" dirty="0" smtClean="0">
                <a:cs typeface="+mn-ea"/>
                <a:sym typeface="+mn-lt"/>
              </a:rPr>
              <a:t>de la démarque inconnu </a:t>
            </a:r>
            <a:r>
              <a:rPr lang="fr-FR" altLang="zh-CN" dirty="0">
                <a:cs typeface="+mn-ea"/>
                <a:sym typeface="+mn-lt"/>
              </a:rPr>
              <a:t>sont les caractéristiques les plus importantes dans les rayons.</a:t>
            </a:r>
            <a:endParaRPr lang="zh-CN" altLang="en-US" dirty="0">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cs typeface="+mn-ea"/>
                <a:sym typeface="+mn-lt"/>
              </a:rPr>
              <a:t>Zone </a:t>
            </a:r>
            <a:r>
              <a:rPr lang="en-US" altLang="zh-CN" dirty="0" err="1">
                <a:latin typeface="+mn-lt"/>
                <a:cs typeface="+mn-ea"/>
                <a:sym typeface="+mn-lt"/>
              </a:rPr>
              <a:t>d'achat</a:t>
            </a:r>
            <a:r>
              <a:rPr lang="en-US" altLang="zh-CN" dirty="0">
                <a:latin typeface="+mn-lt"/>
                <a:cs typeface="+mn-ea"/>
                <a:sym typeface="+mn-lt"/>
              </a:rPr>
              <a:t>| </a:t>
            </a:r>
            <a:r>
              <a:rPr lang="en-US" altLang="zh-CN" sz="3600" dirty="0">
                <a:latin typeface="+mn-lt"/>
                <a:cs typeface="+mn-ea"/>
                <a:sym typeface="+mn-lt"/>
              </a:rPr>
              <a:t>Surveillance sans zone </a:t>
            </a:r>
            <a:r>
              <a:rPr lang="en-US" altLang="zh-CN" sz="3600" dirty="0" err="1">
                <a:latin typeface="+mn-lt"/>
                <a:cs typeface="+mn-ea"/>
                <a:sym typeface="+mn-lt"/>
              </a:rPr>
              <a:t>morts</a:t>
            </a:r>
            <a:endParaRPr lang="zh-CN" altLang="en-US" sz="3200" dirty="0">
              <a:latin typeface="+mn-lt"/>
              <a:cs typeface="+mn-ea"/>
              <a:sym typeface="+mn-lt"/>
            </a:endParaRPr>
          </a:p>
        </p:txBody>
      </p:sp>
      <p:sp>
        <p:nvSpPr>
          <p:cNvPr id="6" name="Rectangle 37"/>
          <p:cNvSpPr/>
          <p:nvPr/>
        </p:nvSpPr>
        <p:spPr bwMode="auto">
          <a:xfrm>
            <a:off x="1829165" y="4978966"/>
            <a:ext cx="4681840" cy="2107106"/>
          </a:xfrm>
          <a:prstGeom prst="rect">
            <a:avLst/>
          </a:prstGeom>
          <a:noFill/>
          <a:ln w="9525" cap="flat" cmpd="sng" algn="ctr">
            <a:noFill/>
            <a:prstDash val="solid"/>
            <a:headEnd type="none" w="med" len="med"/>
            <a:tailEnd type="none" w="med" len="med"/>
          </a:ln>
          <a:effectLst/>
        </p:spPr>
        <p:txBody>
          <a:bodyPr lIns="182880" tIns="146304" rIns="182880" bIns="146304"/>
          <a:lstStyle/>
          <a:p>
            <a:pPr marL="0" marR="0" lvl="0" indent="0" algn="l" defTabSz="932180" rtl="0" eaLnBrk="1" fontAlgn="auto" latinLnBrk="0" hangingPunct="1">
              <a:lnSpc>
                <a:spcPct val="100000"/>
              </a:lnSpc>
              <a:spcBef>
                <a:spcPts val="0"/>
              </a:spcBef>
              <a:spcAft>
                <a:spcPts val="0"/>
              </a:spcAft>
              <a:buClrTx/>
              <a:buSzTx/>
              <a:buFontTx/>
              <a:buNone/>
              <a:defRPr/>
            </a:pPr>
            <a:r>
              <a:rPr lang="en-US" altLang="zh-CN" sz="2000" b="1" kern="0" dirty="0">
                <a:solidFill>
                  <a:srgbClr val="505050"/>
                </a:solidFill>
                <a:cs typeface="+mn-ea"/>
                <a:sym typeface="+mn-lt"/>
              </a:rPr>
              <a:t>Moe de </a:t>
            </a:r>
            <a:r>
              <a:rPr lang="en-US" altLang="zh-CN" sz="2000" b="1" kern="0" dirty="0" err="1">
                <a:solidFill>
                  <a:srgbClr val="505050"/>
                </a:solidFill>
                <a:cs typeface="+mn-ea"/>
                <a:sym typeface="+mn-lt"/>
              </a:rPr>
              <a:t>Dewarping</a:t>
            </a:r>
            <a:r>
              <a:rPr lang="en-US" altLang="zh-CN" sz="2000" b="1" kern="0" dirty="0">
                <a:solidFill>
                  <a:srgbClr val="505050"/>
                </a:solidFill>
                <a:cs typeface="+mn-ea"/>
                <a:sym typeface="+mn-lt"/>
              </a:rPr>
              <a:t>  </a:t>
            </a:r>
          </a:p>
          <a:p>
            <a:pPr lvl="0">
              <a:defRPr/>
            </a:pPr>
            <a:r>
              <a:rPr lang="en-US" altLang="zh-CN" sz="2000" kern="0" dirty="0">
                <a:solidFill>
                  <a:srgbClr val="505050"/>
                </a:solidFill>
                <a:cs typeface="+mn-ea"/>
                <a:sym typeface="+mn-lt"/>
              </a:rPr>
              <a:t>☆ Vue </a:t>
            </a:r>
            <a:r>
              <a:rPr lang="en-US" altLang="zh-CN" sz="2000" kern="0" dirty="0" err="1">
                <a:solidFill>
                  <a:srgbClr val="505050"/>
                </a:solidFill>
                <a:cs typeface="+mn-ea"/>
                <a:sym typeface="+mn-lt"/>
              </a:rPr>
              <a:t>complète</a:t>
            </a:r>
            <a:r>
              <a:rPr lang="en-US" altLang="zh-CN" sz="2000" kern="0" dirty="0">
                <a:solidFill>
                  <a:srgbClr val="505050"/>
                </a:solidFill>
                <a:cs typeface="+mn-ea"/>
                <a:sym typeface="+mn-lt"/>
              </a:rPr>
              <a:t> du </a:t>
            </a:r>
            <a:r>
              <a:rPr lang="en-US" altLang="zh-CN" sz="2000" kern="0" dirty="0" err="1">
                <a:solidFill>
                  <a:srgbClr val="505050"/>
                </a:solidFill>
                <a:cs typeface="+mn-ea"/>
                <a:sym typeface="+mn-lt"/>
              </a:rPr>
              <a:t>magasin</a:t>
            </a:r>
            <a:endParaRPr lang="en-US" altLang="zh-CN" sz="2000" kern="0" dirty="0">
              <a:solidFill>
                <a:srgbClr val="505050"/>
              </a:solidFill>
              <a:cs typeface="+mn-ea"/>
              <a:sym typeface="+mn-lt"/>
            </a:endParaRPr>
          </a:p>
          <a:p>
            <a:pPr lvl="0">
              <a:defRPr/>
            </a:pPr>
            <a:r>
              <a:rPr lang="en-US" altLang="zh-CN" sz="2000" kern="0" dirty="0">
                <a:solidFill>
                  <a:srgbClr val="505050"/>
                </a:solidFill>
                <a:cs typeface="+mn-ea"/>
                <a:sym typeface="+mn-lt"/>
              </a:rPr>
              <a:t>☆ 1 fisheye=8 conventionnels camera</a:t>
            </a:r>
          </a:p>
          <a:p>
            <a:pPr marL="0" marR="0" lvl="0" indent="0" algn="l" defTabSz="93218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a:ln>
                <a:noFill/>
              </a:ln>
              <a:solidFill>
                <a:srgbClr val="505050"/>
              </a:solidFill>
              <a:effectLst/>
              <a:uLnTx/>
              <a:uFillTx/>
              <a:cs typeface="+mn-ea"/>
              <a:sym typeface="+mn-lt"/>
            </a:endParaRPr>
          </a:p>
        </p:txBody>
      </p:sp>
      <p:sp>
        <p:nvSpPr>
          <p:cNvPr id="8" name="Rectangle 37"/>
          <p:cNvSpPr/>
          <p:nvPr/>
        </p:nvSpPr>
        <p:spPr bwMode="auto">
          <a:xfrm>
            <a:off x="8030628" y="4978966"/>
            <a:ext cx="3665739" cy="1084393"/>
          </a:xfrm>
          <a:prstGeom prst="rect">
            <a:avLst/>
          </a:prstGeom>
          <a:noFill/>
          <a:ln w="9525" cap="flat" cmpd="sng" algn="ctr">
            <a:noFill/>
            <a:prstDash val="solid"/>
            <a:headEnd type="none" w="med" len="med"/>
            <a:tailEnd type="none" w="med" len="med"/>
          </a:ln>
          <a:effectLst/>
        </p:spPr>
        <p:txBody>
          <a:bodyPr lIns="182880" tIns="146304" rIns="182880" bIns="146304"/>
          <a:lstStyle/>
          <a:p>
            <a:pPr lvl="0">
              <a:defRPr/>
            </a:pPr>
            <a:r>
              <a:rPr lang="en-US" altLang="zh-CN" sz="2000" b="1" kern="0" dirty="0">
                <a:solidFill>
                  <a:srgbClr val="505050"/>
                </a:solidFill>
                <a:cs typeface="+mn-ea"/>
                <a:sym typeface="+mn-lt"/>
              </a:rPr>
              <a:t>Mode Couloir &amp; mini PTZ</a:t>
            </a:r>
          </a:p>
          <a:p>
            <a:pPr lvl="0">
              <a:defRPr/>
            </a:pPr>
            <a:r>
              <a:rPr lang="en-US" altLang="zh-CN" sz="2000" kern="0" dirty="0">
                <a:solidFill>
                  <a:srgbClr val="505050"/>
                </a:solidFill>
                <a:cs typeface="+mn-ea"/>
                <a:sym typeface="+mn-lt"/>
              </a:rPr>
              <a:t>☆ </a:t>
            </a:r>
            <a:r>
              <a:rPr lang="en-US" altLang="zh-CN" dirty="0">
                <a:cs typeface="+mn-ea"/>
                <a:sym typeface="+mn-lt"/>
              </a:rPr>
              <a:t>3x zoom </a:t>
            </a:r>
            <a:r>
              <a:rPr lang="en-US" altLang="zh-CN" dirty="0" err="1">
                <a:cs typeface="+mn-ea"/>
                <a:sym typeface="+mn-lt"/>
              </a:rPr>
              <a:t>optique</a:t>
            </a:r>
            <a:endParaRPr lang="en-US" altLang="zh-CN" dirty="0">
              <a:cs typeface="+mn-ea"/>
              <a:sym typeface="+mn-lt"/>
            </a:endParaRPr>
          </a:p>
          <a:p>
            <a:pPr lvl="0">
              <a:defRPr/>
            </a:pPr>
            <a:r>
              <a:rPr lang="en-US" altLang="zh-CN" sz="2000" kern="0" dirty="0">
                <a:solidFill>
                  <a:srgbClr val="505050"/>
                </a:solidFill>
                <a:cs typeface="+mn-ea"/>
                <a:sym typeface="+mn-lt"/>
              </a:rPr>
              <a:t>☆ Aspect compact</a:t>
            </a:r>
          </a:p>
          <a:p>
            <a:pPr marL="0" marR="0" lvl="0" indent="0" algn="l" defTabSz="932180" rtl="0" eaLnBrk="1" fontAlgn="auto" latinLnBrk="0" hangingPunct="1">
              <a:lnSpc>
                <a:spcPct val="100000"/>
              </a:lnSpc>
              <a:spcBef>
                <a:spcPts val="0"/>
              </a:spcBef>
              <a:spcAft>
                <a:spcPts val="0"/>
              </a:spcAft>
              <a:buClrTx/>
              <a:buSzTx/>
              <a:buFontTx/>
              <a:buNone/>
              <a:defRPr/>
            </a:pPr>
            <a:endParaRPr kumimoji="0" lang="en-US" sz="2000" b="0" i="0" u="none" strike="noStrike" kern="0" cap="none" spc="0" normalizeH="0" baseline="0" noProof="0" dirty="0">
              <a:ln>
                <a:noFill/>
              </a:ln>
              <a:solidFill>
                <a:srgbClr val="505050"/>
              </a:solidFill>
              <a:effectLst/>
              <a:uLnTx/>
              <a:uFillTx/>
              <a:cs typeface="+mn-ea"/>
              <a:sym typeface="+mn-lt"/>
            </a:endParaRPr>
          </a:p>
        </p:txBody>
      </p:sp>
      <p:grpSp>
        <p:nvGrpSpPr>
          <p:cNvPr id="3" name="组合 2"/>
          <p:cNvGrpSpPr/>
          <p:nvPr/>
        </p:nvGrpSpPr>
        <p:grpSpPr>
          <a:xfrm>
            <a:off x="364371" y="6063359"/>
            <a:ext cx="6355350" cy="790750"/>
            <a:chOff x="437359" y="5173897"/>
            <a:chExt cx="6355350" cy="1227187"/>
          </a:xfrm>
        </p:grpSpPr>
        <p:pic>
          <p:nvPicPr>
            <p:cNvPr id="12290"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253" b="93360" l="3003" r="96321">
                          <a14:foregroundMark x1="69144" y1="21110" x2="69144" y2="21110"/>
                        </a14:backgroundRemoval>
                      </a14:imgEffect>
                    </a14:imgLayer>
                  </a14:imgProps>
                </a:ext>
              </a:extLst>
            </a:blip>
            <a:srcRect/>
            <a:stretch>
              <a:fillRect/>
            </a:stretch>
          </p:blipFill>
          <p:spPr bwMode="auto">
            <a:xfrm>
              <a:off x="813096" y="5254733"/>
              <a:ext cx="1225120" cy="928038"/>
            </a:xfrm>
            <a:prstGeom prst="rect">
              <a:avLst/>
            </a:prstGeom>
            <a:noFill/>
            <a:ln>
              <a:no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圆角矩形 10"/>
            <p:cNvSpPr/>
            <p:nvPr/>
          </p:nvSpPr>
          <p:spPr bwMode="auto">
            <a:xfrm>
              <a:off x="437359" y="5254732"/>
              <a:ext cx="6146634"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6" name="TextBox 4"/>
            <p:cNvSpPr txBox="1"/>
            <p:nvPr/>
          </p:nvSpPr>
          <p:spPr>
            <a:xfrm>
              <a:off x="4964644" y="5173897"/>
              <a:ext cx="1828065" cy="716471"/>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DH-IPC-EBW81242P</a:t>
              </a:r>
              <a:endParaRPr lang="zh-CN" altLang="en-US" sz="1200" dirty="0" err="1">
                <a:gradFill>
                  <a:gsLst>
                    <a:gs pos="2917">
                      <a:schemeClr val="tx1"/>
                    </a:gs>
                    <a:gs pos="30000">
                      <a:schemeClr val="tx1"/>
                    </a:gs>
                  </a:gsLst>
                  <a:lin ang="5400000" scaled="0"/>
                </a:gradFill>
                <a:cs typeface="+mn-ea"/>
                <a:sym typeface="+mn-lt"/>
              </a:endParaRPr>
            </a:p>
          </p:txBody>
        </p:sp>
        <p:sp>
          <p:nvSpPr>
            <p:cNvPr id="17" name="TextBox 11"/>
            <p:cNvSpPr txBox="1"/>
            <p:nvPr/>
          </p:nvSpPr>
          <p:spPr>
            <a:xfrm>
              <a:off x="2014721" y="5254731"/>
              <a:ext cx="4012958" cy="1146353"/>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3200" dirty="0">
                  <a:gradFill>
                    <a:gsLst>
                      <a:gs pos="2917">
                        <a:schemeClr val="tx1"/>
                      </a:gs>
                      <a:gs pos="30000">
                        <a:schemeClr val="tx1"/>
                      </a:gs>
                    </a:gsLst>
                    <a:lin ang="5400000" scaled="0"/>
                  </a:gradFill>
                  <a:cs typeface="+mn-ea"/>
                  <a:sym typeface="+mn-lt"/>
                </a:rPr>
                <a:t>AI Fish-eye Camera</a:t>
              </a:r>
              <a:endParaRPr lang="zh-CN" altLang="en-US" sz="3200" dirty="0" err="1">
                <a:gradFill>
                  <a:gsLst>
                    <a:gs pos="2917">
                      <a:schemeClr val="tx1"/>
                    </a:gs>
                    <a:gs pos="30000">
                      <a:schemeClr val="tx1"/>
                    </a:gs>
                  </a:gsLst>
                  <a:lin ang="5400000" scaled="0"/>
                </a:gradFill>
                <a:cs typeface="+mn-ea"/>
                <a:sym typeface="+mn-lt"/>
              </a:endParaRPr>
            </a:p>
          </p:txBody>
        </p:sp>
      </p:grpSp>
      <p:grpSp>
        <p:nvGrpSpPr>
          <p:cNvPr id="9" name="组合 8"/>
          <p:cNvGrpSpPr/>
          <p:nvPr/>
        </p:nvGrpSpPr>
        <p:grpSpPr>
          <a:xfrm>
            <a:off x="7681261" y="6105493"/>
            <a:ext cx="4390208" cy="738664"/>
            <a:chOff x="7864139" y="5215276"/>
            <a:chExt cx="4390208" cy="1194320"/>
          </a:xfrm>
        </p:grpSpPr>
        <p:sp>
          <p:nvSpPr>
            <p:cNvPr id="13" name="圆角矩形 12"/>
            <p:cNvSpPr/>
            <p:nvPr/>
          </p:nvSpPr>
          <p:spPr bwMode="auto">
            <a:xfrm>
              <a:off x="7864139" y="5220954"/>
              <a:ext cx="4305292"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1" name="TextBox 11"/>
            <p:cNvSpPr txBox="1"/>
            <p:nvPr/>
          </p:nvSpPr>
          <p:spPr>
            <a:xfrm>
              <a:off x="8674200" y="5215276"/>
              <a:ext cx="3580147" cy="1194320"/>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3200" dirty="0">
                  <a:gradFill>
                    <a:gsLst>
                      <a:gs pos="2917">
                        <a:schemeClr val="tx1"/>
                      </a:gs>
                      <a:gs pos="30000">
                        <a:schemeClr val="tx1"/>
                      </a:gs>
                    </a:gsLst>
                    <a:lin ang="5400000" scaled="0"/>
                  </a:gradFill>
                  <a:cs typeface="+mn-ea"/>
                  <a:sym typeface="+mn-lt"/>
                </a:rPr>
                <a:t>Mini PTZ Camera</a:t>
              </a:r>
              <a:endParaRPr lang="zh-CN" altLang="en-US" sz="3200" dirty="0" err="1">
                <a:gradFill>
                  <a:gsLst>
                    <a:gs pos="2917">
                      <a:schemeClr val="tx1"/>
                    </a:gs>
                    <a:gs pos="30000">
                      <a:schemeClr val="tx1"/>
                    </a:gs>
                  </a:gsLst>
                  <a:lin ang="5400000" scaled="0"/>
                </a:gradFill>
                <a:cs typeface="+mn-ea"/>
                <a:sym typeface="+mn-lt"/>
              </a:endParaRPr>
            </a:p>
          </p:txBody>
        </p:sp>
      </p:grpSp>
      <p:pic>
        <p:nvPicPr>
          <p:cNvPr id="18" name="图片 17"/>
          <p:cNvPicPr>
            <a:picLocks noChangeAspect="1"/>
          </p:cNvPicPr>
          <p:nvPr/>
        </p:nvPicPr>
        <p:blipFill rotWithShape="1">
          <a:blip r:embed="rId6" cstate="print"/>
          <a:srcRect l="23989" t="10380" r="20311" b="15582"/>
          <a:stretch>
            <a:fillRect/>
          </a:stretch>
        </p:blipFill>
        <p:spPr>
          <a:xfrm>
            <a:off x="3437688" y="2079081"/>
            <a:ext cx="3136424" cy="2814192"/>
          </a:xfrm>
          <a:prstGeom prst="rect">
            <a:avLst/>
          </a:prstGeom>
        </p:spPr>
      </p:pic>
      <p:pic>
        <p:nvPicPr>
          <p:cNvPr id="19" name="图片 18"/>
          <p:cNvPicPr>
            <a:picLocks noChangeAspect="1"/>
          </p:cNvPicPr>
          <p:nvPr/>
        </p:nvPicPr>
        <p:blipFill rotWithShape="1">
          <a:blip r:embed="rId7" cstate="print"/>
          <a:srcRect/>
          <a:stretch>
            <a:fillRect/>
          </a:stretch>
        </p:blipFill>
        <p:spPr>
          <a:xfrm>
            <a:off x="8814983" y="1993238"/>
            <a:ext cx="2037847" cy="2985878"/>
          </a:xfrm>
          <a:prstGeom prst="rect">
            <a:avLst/>
          </a:prstGeom>
        </p:spPr>
      </p:pic>
      <p:pic>
        <p:nvPicPr>
          <p:cNvPr id="35" name="图片 34" descr="图片包含 事情, 室内&#10;&#10;已生成高可信度的说明"/>
          <p:cNvPicPr>
            <a:picLocks noChangeAspect="1"/>
          </p:cNvPicPr>
          <p:nvPr/>
        </p:nvPicPr>
        <p:blipFill>
          <a:blip r:embed="rId8" cstate="print"/>
          <a:stretch>
            <a:fillRect/>
          </a:stretch>
        </p:blipFill>
        <p:spPr>
          <a:xfrm>
            <a:off x="399134" y="1942799"/>
            <a:ext cx="2934740" cy="3036317"/>
          </a:xfrm>
          <a:prstGeom prst="rect">
            <a:avLst/>
          </a:prstGeom>
        </p:spPr>
      </p:pic>
      <p:pic>
        <p:nvPicPr>
          <p:cNvPr id="6146" name="Picture 2" descr="https://www.dahuasecurity.com/asset/upload/product/20180118/SD12203T-GN_thumb.png"/>
          <p:cNvPicPr>
            <a:picLocks noChangeAspect="1" noChangeArrowheads="1"/>
          </p:cNvPicPr>
          <p:nvPr/>
        </p:nvPicPr>
        <p:blipFill>
          <a:blip r:embed="rId9">
            <a:duotone>
              <a:prstClr val="black"/>
              <a:schemeClr val="tx1">
                <a:tint val="45000"/>
                <a:satMod val="400000"/>
              </a:schemeClr>
            </a:duotone>
            <a:extLst>
              <a:ext uri="{28A0092B-C50C-407E-A947-70E740481C1C}">
                <a14:useLocalDpi xmlns:a14="http://schemas.microsoft.com/office/drawing/2010/main" val="0"/>
              </a:ext>
            </a:extLst>
          </a:blip>
          <a:srcRect/>
          <a:stretch>
            <a:fillRect/>
          </a:stretch>
        </p:blipFill>
        <p:spPr bwMode="auto">
          <a:xfrm>
            <a:off x="7647248" y="5870053"/>
            <a:ext cx="1040300" cy="1040300"/>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4"/>
          <p:cNvSpPr txBox="1"/>
          <p:nvPr/>
        </p:nvSpPr>
        <p:spPr>
          <a:xfrm>
            <a:off x="10342582" y="5995279"/>
            <a:ext cx="1691360" cy="461665"/>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DH-SD12203T-GN </a:t>
            </a:r>
            <a:endParaRPr lang="zh-CN" altLang="en-US" sz="1200" dirty="0" err="1">
              <a:gradFill>
                <a:gsLst>
                  <a:gs pos="2917">
                    <a:schemeClr val="tx1"/>
                  </a:gs>
                  <a:gs pos="30000">
                    <a:schemeClr val="tx1"/>
                  </a:gs>
                </a:gsLst>
                <a:lin ang="5400000" scaled="0"/>
              </a:gradFill>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6"/>
          <p:cNvSpPr>
            <a:spLocks noGrp="1"/>
          </p:cNvSpPr>
          <p:nvPr>
            <p:ph type="title"/>
          </p:nvPr>
        </p:nvSpPr>
        <p:spPr>
          <a:xfrm>
            <a:off x="103628" y="1742935"/>
            <a:ext cx="3005683" cy="3508653"/>
          </a:xfrm>
        </p:spPr>
        <p:txBody>
          <a:bodyPr/>
          <a:lstStyle/>
          <a:p>
            <a:r>
              <a:rPr lang="en-US" altLang="zh-CN" dirty="0">
                <a:latin typeface="+mn-lt"/>
                <a:cs typeface="+mn-ea"/>
                <a:sym typeface="+mn-lt"/>
              </a:rPr>
              <a:t>Solution </a:t>
            </a:r>
            <a:r>
              <a:rPr lang="en-US" altLang="zh-CN" dirty="0" err="1">
                <a:latin typeface="+mn-lt"/>
                <a:cs typeface="+mn-ea"/>
                <a:sym typeface="+mn-lt"/>
              </a:rPr>
              <a:t>Dahua</a:t>
            </a:r>
            <a:r>
              <a:rPr lang="en-US" altLang="zh-CN" dirty="0">
                <a:latin typeface="+mn-lt"/>
                <a:cs typeface="+mn-ea"/>
                <a:sym typeface="+mn-lt"/>
              </a:rPr>
              <a:t> Retail</a:t>
            </a:r>
            <a:br>
              <a:rPr lang="en-US" altLang="zh-CN" dirty="0">
                <a:latin typeface="+mn-lt"/>
                <a:cs typeface="+mn-ea"/>
                <a:sym typeface="+mn-lt"/>
              </a:rPr>
            </a:br>
            <a:r>
              <a:rPr lang="en-US" altLang="zh-CN" dirty="0">
                <a:latin typeface="+mn-lt"/>
                <a:cs typeface="+mn-ea"/>
                <a:sym typeface="+mn-lt"/>
              </a:rPr>
              <a:t>v2.2</a:t>
            </a:r>
            <a:br>
              <a:rPr lang="en-US" altLang="zh-CN" dirty="0">
                <a:latin typeface="+mn-lt"/>
                <a:cs typeface="+mn-ea"/>
                <a:sym typeface="+mn-lt"/>
              </a:rPr>
            </a:br>
            <a:endParaRPr lang="zh-CN" altLang="en-US" dirty="0">
              <a:latin typeface="+mn-lt"/>
              <a:cs typeface="+mn-ea"/>
              <a:sym typeface="+mn-lt"/>
            </a:endParaRPr>
          </a:p>
        </p:txBody>
      </p:sp>
      <p:sp>
        <p:nvSpPr>
          <p:cNvPr id="5" name="标题 6"/>
          <p:cNvSpPr txBox="1"/>
          <p:nvPr/>
        </p:nvSpPr>
        <p:spPr>
          <a:xfrm>
            <a:off x="91825" y="6093593"/>
            <a:ext cx="3486486" cy="1514261"/>
          </a:xfrm>
          <a:prstGeom prst="rect">
            <a:avLst/>
          </a:prstGeom>
        </p:spPr>
        <p:txBody>
          <a:bodyPr vert="horz" wrap="square" lIns="146304" tIns="91440" rIns="146304" bIns="91440" rtlCol="0" anchor="ctr">
            <a:sp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a:latin typeface="+mn-lt"/>
                <a:cs typeface="+mn-ea"/>
                <a:sym typeface="+mn-lt"/>
              </a:rPr>
              <a:t/>
            </a:r>
            <a:br>
              <a:rPr lang="en-US" altLang="zh-CN" dirty="0">
                <a:latin typeface="+mn-lt"/>
                <a:cs typeface="+mn-ea"/>
                <a:sym typeface="+mn-lt"/>
              </a:rPr>
            </a:br>
            <a:endParaRPr lang="en-US" altLang="zh-CN" dirty="0">
              <a:latin typeface="+mn-lt"/>
              <a:cs typeface="+mn-ea"/>
              <a:sym typeface="+mn-lt"/>
            </a:endParaRPr>
          </a:p>
        </p:txBody>
      </p:sp>
      <p:sp>
        <p:nvSpPr>
          <p:cNvPr id="3" name="TextBox 2"/>
          <p:cNvSpPr txBox="1"/>
          <p:nvPr/>
        </p:nvSpPr>
        <p:spPr>
          <a:xfrm>
            <a:off x="3737277" y="1577043"/>
            <a:ext cx="7210307" cy="3493264"/>
          </a:xfrm>
          <a:prstGeom prst="rect">
            <a:avLst/>
          </a:prstGeom>
          <a:noFill/>
        </p:spPr>
        <p:txBody>
          <a:bodyPr wrap="none" lIns="182880" tIns="146304" rIns="182880" bIns="146304" rtlCol="0">
            <a:spAutoFit/>
          </a:bodyPr>
          <a:lstStyle/>
          <a:p>
            <a:pPr>
              <a:lnSpc>
                <a:spcPct val="90000"/>
              </a:lnSpc>
              <a:spcAft>
                <a:spcPts val="600"/>
              </a:spcAft>
            </a:pPr>
            <a:r>
              <a:rPr lang="fr-FR" sz="2400" dirty="0" smtClean="0">
                <a:gradFill>
                  <a:gsLst>
                    <a:gs pos="2917">
                      <a:schemeClr val="tx1"/>
                    </a:gs>
                    <a:gs pos="30000">
                      <a:schemeClr val="tx1"/>
                    </a:gs>
                  </a:gsLst>
                  <a:lin ang="5400000" scaled="0"/>
                </a:gradFill>
              </a:rPr>
              <a:t>Nous allons vous présenter </a:t>
            </a:r>
          </a:p>
          <a:p>
            <a:pPr>
              <a:lnSpc>
                <a:spcPct val="90000"/>
              </a:lnSpc>
              <a:spcAft>
                <a:spcPts val="600"/>
              </a:spcAft>
            </a:pPr>
            <a:endParaRPr lang="fr-FR" sz="2400" dirty="0">
              <a:gradFill>
                <a:gsLst>
                  <a:gs pos="2917">
                    <a:schemeClr val="tx1"/>
                  </a:gs>
                  <a:gs pos="30000">
                    <a:schemeClr val="tx1"/>
                  </a:gs>
                </a:gsLst>
                <a:lin ang="5400000" scaled="0"/>
              </a:gradFill>
            </a:endParaRPr>
          </a:p>
          <a:p>
            <a:pPr marL="342900" indent="-342900">
              <a:lnSpc>
                <a:spcPct val="90000"/>
              </a:lnSpc>
              <a:spcAft>
                <a:spcPts val="600"/>
              </a:spcAft>
              <a:buFontTx/>
              <a:buChar char="-"/>
            </a:pPr>
            <a:r>
              <a:rPr lang="fr-FR" sz="2400" dirty="0" smtClean="0">
                <a:gradFill>
                  <a:gsLst>
                    <a:gs pos="2917">
                      <a:schemeClr val="tx1"/>
                    </a:gs>
                    <a:gs pos="30000">
                      <a:schemeClr val="tx1"/>
                    </a:gs>
                  </a:gsLst>
                  <a:lin ang="5400000" scaled="0"/>
                </a:gradFill>
              </a:rPr>
              <a:t>Les solutions de gestion de Magasin. </a:t>
            </a:r>
          </a:p>
          <a:p>
            <a:pPr marL="1275715" lvl="2" indent="-342900">
              <a:lnSpc>
                <a:spcPct val="90000"/>
              </a:lnSpc>
              <a:spcAft>
                <a:spcPts val="600"/>
              </a:spcAft>
              <a:buFontTx/>
              <a:buChar char="-"/>
            </a:pPr>
            <a:r>
              <a:rPr lang="fr-FR" sz="2400" dirty="0" smtClean="0">
                <a:gradFill>
                  <a:gsLst>
                    <a:gs pos="2917">
                      <a:schemeClr val="tx1"/>
                    </a:gs>
                    <a:gs pos="30000">
                      <a:schemeClr val="tx1"/>
                    </a:gs>
                  </a:gsLst>
                  <a:lin ang="5400000" scaled="0"/>
                </a:gradFill>
              </a:rPr>
              <a:t>Flux </a:t>
            </a:r>
          </a:p>
          <a:p>
            <a:pPr marL="1275715" lvl="2" indent="-342900">
              <a:lnSpc>
                <a:spcPct val="90000"/>
              </a:lnSpc>
              <a:spcAft>
                <a:spcPts val="600"/>
              </a:spcAft>
              <a:buFontTx/>
              <a:buChar char="-"/>
            </a:pPr>
            <a:r>
              <a:rPr lang="fr-FR" sz="2400" dirty="0" smtClean="0">
                <a:gradFill>
                  <a:gsLst>
                    <a:gs pos="2917">
                      <a:schemeClr val="tx1"/>
                    </a:gs>
                    <a:gs pos="30000">
                      <a:schemeClr val="tx1"/>
                    </a:gs>
                  </a:gsLst>
                  <a:lin ang="5400000" scaled="0"/>
                </a:gradFill>
              </a:rPr>
              <a:t>Statistique de fréquentation</a:t>
            </a:r>
          </a:p>
          <a:p>
            <a:pPr marL="1275715" lvl="2" indent="-342900">
              <a:lnSpc>
                <a:spcPct val="90000"/>
              </a:lnSpc>
              <a:spcAft>
                <a:spcPts val="600"/>
              </a:spcAft>
              <a:buFontTx/>
              <a:buChar char="-"/>
            </a:pPr>
            <a:r>
              <a:rPr lang="fr-FR" sz="2400" dirty="0" smtClean="0">
                <a:gradFill>
                  <a:gsLst>
                    <a:gs pos="2917">
                      <a:schemeClr val="tx1"/>
                    </a:gs>
                    <a:gs pos="30000">
                      <a:schemeClr val="tx1"/>
                    </a:gs>
                  </a:gsLst>
                  <a:lin ang="5400000" scaled="0"/>
                </a:gradFill>
              </a:rPr>
              <a:t>Gestion des transactions des caisses</a:t>
            </a:r>
          </a:p>
          <a:p>
            <a:pPr marL="1275715" lvl="2" indent="-342900">
              <a:lnSpc>
                <a:spcPct val="90000"/>
              </a:lnSpc>
              <a:spcAft>
                <a:spcPts val="600"/>
              </a:spcAft>
              <a:buFontTx/>
              <a:buChar char="-"/>
            </a:pPr>
            <a:r>
              <a:rPr lang="fr-FR" sz="2400" dirty="0" smtClean="0">
                <a:gradFill>
                  <a:gsLst>
                    <a:gs pos="2917">
                      <a:schemeClr val="tx1"/>
                    </a:gs>
                    <a:gs pos="30000">
                      <a:schemeClr val="tx1"/>
                    </a:gs>
                  </a:gsLst>
                  <a:lin ang="5400000" scaled="0"/>
                </a:gradFill>
              </a:rPr>
              <a:t>Solution d’affichages </a:t>
            </a:r>
          </a:p>
          <a:p>
            <a:pPr marL="1275715" lvl="2" indent="-342900">
              <a:lnSpc>
                <a:spcPct val="90000"/>
              </a:lnSpc>
              <a:spcAft>
                <a:spcPts val="600"/>
              </a:spcAft>
              <a:buFontTx/>
              <a:buChar char="-"/>
            </a:pPr>
            <a:r>
              <a:rPr lang="fr-FR" sz="2400" dirty="0" smtClean="0">
                <a:gradFill>
                  <a:gsLst>
                    <a:gs pos="2917">
                      <a:schemeClr val="tx1"/>
                    </a:gs>
                    <a:gs pos="30000">
                      <a:schemeClr val="tx1"/>
                    </a:gs>
                  </a:gsLst>
                  <a:lin ang="5400000" scaled="0"/>
                </a:gradFill>
              </a:rPr>
              <a:t>Comment utiliser intelligence IA</a:t>
            </a:r>
          </a:p>
        </p:txBody>
      </p:sp>
      <p:sp>
        <p:nvSpPr>
          <p:cNvPr id="4" name="TextBox 3"/>
          <p:cNvSpPr txBox="1"/>
          <p:nvPr/>
        </p:nvSpPr>
        <p:spPr>
          <a:xfrm>
            <a:off x="1799012" y="143066"/>
            <a:ext cx="9461564" cy="683264"/>
          </a:xfrm>
          <a:prstGeom prst="rect">
            <a:avLst/>
          </a:prstGeom>
          <a:noFill/>
        </p:spPr>
        <p:txBody>
          <a:bodyPr wrap="none" lIns="182880" tIns="146304" rIns="182880" bIns="146304" rtlCol="0">
            <a:spAutoFit/>
          </a:bodyPr>
          <a:lstStyle/>
          <a:p>
            <a:pPr>
              <a:lnSpc>
                <a:spcPct val="90000"/>
              </a:lnSpc>
              <a:spcAft>
                <a:spcPts val="600"/>
              </a:spcAft>
            </a:pPr>
            <a:r>
              <a:rPr lang="fr-FR" sz="2800" b="1" dirty="0" smtClean="0">
                <a:gradFill>
                  <a:gsLst>
                    <a:gs pos="2917">
                      <a:schemeClr val="tx1"/>
                    </a:gs>
                    <a:gs pos="30000">
                      <a:schemeClr val="tx1"/>
                    </a:gs>
                  </a:gsLst>
                  <a:lin ang="5400000" scaled="0"/>
                </a:gradFill>
              </a:rPr>
              <a:t>Merci de couper votre micro pendant l’intervention </a:t>
            </a:r>
            <a:endParaRPr lang="fr-FR" sz="2800" b="1"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978677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7"/>
          <p:cNvSpPr/>
          <p:nvPr/>
        </p:nvSpPr>
        <p:spPr bwMode="auto">
          <a:xfrm>
            <a:off x="587920" y="4511637"/>
            <a:ext cx="5478022" cy="2107106"/>
          </a:xfrm>
          <a:prstGeom prst="rect">
            <a:avLst/>
          </a:prstGeom>
          <a:noFill/>
          <a:ln w="9525" cap="flat" cmpd="sng" algn="ctr">
            <a:noFill/>
            <a:prstDash val="solid"/>
            <a:headEnd type="none" w="med" len="med"/>
            <a:tailEnd type="none" w="med" len="med"/>
          </a:ln>
          <a:effectLst/>
        </p:spPr>
        <p:txBody>
          <a:bodyPr lIns="182880" tIns="146304" rIns="182880" bIns="146304"/>
          <a:lstStyle/>
          <a:p>
            <a:pPr lvl="0">
              <a:defRPr/>
            </a:pPr>
            <a:r>
              <a:rPr lang="en-US" altLang="zh-CN" sz="2000" b="1" kern="0" dirty="0">
                <a:solidFill>
                  <a:srgbClr val="505050"/>
                </a:solidFill>
                <a:cs typeface="+mn-ea"/>
                <a:sym typeface="+mn-lt"/>
              </a:rPr>
              <a:t>Deux </a:t>
            </a:r>
            <a:r>
              <a:rPr lang="en-US" altLang="zh-CN" sz="2000" b="1" kern="0" dirty="0" err="1">
                <a:solidFill>
                  <a:srgbClr val="505050"/>
                </a:solidFill>
                <a:cs typeface="+mn-ea"/>
                <a:sym typeface="+mn-lt"/>
              </a:rPr>
              <a:t>en</a:t>
            </a:r>
            <a:r>
              <a:rPr lang="en-US" altLang="zh-CN" sz="2000" b="1" kern="0" dirty="0">
                <a:solidFill>
                  <a:srgbClr val="505050"/>
                </a:solidFill>
                <a:cs typeface="+mn-ea"/>
                <a:sym typeface="+mn-lt"/>
              </a:rPr>
              <a:t> un</a:t>
            </a:r>
          </a:p>
          <a:p>
            <a:pPr lvl="0">
              <a:defRPr/>
            </a:pPr>
            <a:r>
              <a:rPr lang="en-US" altLang="zh-CN" sz="2000" kern="0" dirty="0">
                <a:solidFill>
                  <a:srgbClr val="505050"/>
                </a:solidFill>
                <a:cs typeface="+mn-ea"/>
                <a:sym typeface="+mn-lt"/>
              </a:rPr>
              <a:t>☆ </a:t>
            </a:r>
            <a:r>
              <a:rPr lang="fr-FR" altLang="zh-CN" sz="2000" kern="0" dirty="0">
                <a:solidFill>
                  <a:srgbClr val="505050"/>
                </a:solidFill>
                <a:cs typeface="+mn-ea"/>
                <a:sym typeface="+mn-lt"/>
              </a:rPr>
              <a:t>Sortie 2 canaux par un </a:t>
            </a:r>
            <a:r>
              <a:rPr lang="fr-FR" altLang="zh-CN" sz="2000" kern="0" dirty="0" smtClean="0">
                <a:solidFill>
                  <a:srgbClr val="505050"/>
                </a:solidFill>
                <a:cs typeface="+mn-ea"/>
                <a:sym typeface="+mn-lt"/>
              </a:rPr>
              <a:t>seul FLUX</a:t>
            </a:r>
            <a:endParaRPr lang="fr-FR" altLang="zh-CN" sz="2000" kern="0" dirty="0">
              <a:solidFill>
                <a:srgbClr val="505050"/>
              </a:solidFill>
              <a:cs typeface="+mn-ea"/>
              <a:sym typeface="+mn-lt"/>
            </a:endParaRPr>
          </a:p>
          <a:p>
            <a:pPr lvl="0">
              <a:defRPr/>
            </a:pPr>
            <a:r>
              <a:rPr lang="en-US" altLang="zh-CN" sz="2000" kern="0" dirty="0">
                <a:solidFill>
                  <a:srgbClr val="505050"/>
                </a:solidFill>
                <a:cs typeface="+mn-ea"/>
                <a:sym typeface="+mn-lt"/>
              </a:rPr>
              <a:t>☆ </a:t>
            </a:r>
            <a:r>
              <a:rPr lang="fr-FR" altLang="zh-CN" sz="2000" kern="0" dirty="0">
                <a:solidFill>
                  <a:srgbClr val="505050"/>
                </a:solidFill>
                <a:cs typeface="+mn-ea"/>
                <a:sym typeface="+mn-lt"/>
              </a:rPr>
              <a:t>Économisez le câblage </a:t>
            </a:r>
            <a:endParaRPr kumimoji="0" lang="en-US" sz="2000" b="0" i="0" u="none" strike="noStrike" kern="0" cap="none" spc="0" normalizeH="0" baseline="0" noProof="0" dirty="0">
              <a:ln>
                <a:noFill/>
              </a:ln>
              <a:solidFill>
                <a:srgbClr val="505050"/>
              </a:solidFill>
              <a:effectLst/>
              <a:uLnTx/>
              <a:uFillTx/>
              <a:cs typeface="+mn-ea"/>
              <a:sym typeface="+mn-lt"/>
            </a:endParaRPr>
          </a:p>
        </p:txBody>
      </p:sp>
      <p:grpSp>
        <p:nvGrpSpPr>
          <p:cNvPr id="3" name="组合 2"/>
          <p:cNvGrpSpPr/>
          <p:nvPr/>
        </p:nvGrpSpPr>
        <p:grpSpPr>
          <a:xfrm>
            <a:off x="364371" y="5849296"/>
            <a:ext cx="5305232" cy="825059"/>
            <a:chOff x="437359" y="5120652"/>
            <a:chExt cx="6146634" cy="1280432"/>
          </a:xfrm>
        </p:grpSpPr>
        <p:sp>
          <p:nvSpPr>
            <p:cNvPr id="11" name="圆角矩形 10"/>
            <p:cNvSpPr/>
            <p:nvPr/>
          </p:nvSpPr>
          <p:spPr bwMode="auto">
            <a:xfrm>
              <a:off x="437359" y="5254732"/>
              <a:ext cx="6146634"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6" name="TextBox 4"/>
            <p:cNvSpPr txBox="1"/>
            <p:nvPr/>
          </p:nvSpPr>
          <p:spPr>
            <a:xfrm>
              <a:off x="4030989" y="5120652"/>
              <a:ext cx="2108707" cy="716471"/>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IPC-HDBW4231F-E2</a:t>
              </a:r>
              <a:endParaRPr lang="zh-CN" altLang="en-US" sz="1200" dirty="0" err="1">
                <a:gradFill>
                  <a:gsLst>
                    <a:gs pos="2917">
                      <a:schemeClr val="tx1"/>
                    </a:gs>
                    <a:gs pos="30000">
                      <a:schemeClr val="tx1"/>
                    </a:gs>
                  </a:gsLst>
                  <a:lin ang="5400000" scaled="0"/>
                </a:gradFill>
                <a:cs typeface="+mn-ea"/>
                <a:sym typeface="+mn-lt"/>
              </a:endParaRPr>
            </a:p>
          </p:txBody>
        </p:sp>
        <p:sp>
          <p:nvSpPr>
            <p:cNvPr id="17" name="TextBox 11"/>
            <p:cNvSpPr txBox="1"/>
            <p:nvPr/>
          </p:nvSpPr>
          <p:spPr>
            <a:xfrm>
              <a:off x="2014721" y="5254731"/>
              <a:ext cx="3224906" cy="1146353"/>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3200" dirty="0">
                  <a:gradFill>
                    <a:gsLst>
                      <a:gs pos="2917">
                        <a:schemeClr val="tx1"/>
                      </a:gs>
                      <a:gs pos="30000">
                        <a:schemeClr val="tx1"/>
                      </a:gs>
                    </a:gsLst>
                    <a:lin ang="5400000" scaled="0"/>
                  </a:gradFill>
                  <a:cs typeface="+mn-ea"/>
                  <a:sym typeface="+mn-lt"/>
                </a:rPr>
                <a:t>Dual Camera</a:t>
              </a:r>
              <a:endParaRPr lang="zh-CN" altLang="en-US" sz="3200" dirty="0" err="1">
                <a:gradFill>
                  <a:gsLst>
                    <a:gs pos="2917">
                      <a:schemeClr val="tx1"/>
                    </a:gs>
                    <a:gs pos="30000">
                      <a:schemeClr val="tx1"/>
                    </a:gs>
                  </a:gsLst>
                  <a:lin ang="5400000" scaled="0"/>
                </a:gradFill>
                <a:cs typeface="+mn-ea"/>
                <a:sym typeface="+mn-lt"/>
              </a:endParaRPr>
            </a:p>
          </p:txBody>
        </p:sp>
      </p:grpSp>
      <p:grpSp>
        <p:nvGrpSpPr>
          <p:cNvPr id="9" name="组合 8"/>
          <p:cNvGrpSpPr/>
          <p:nvPr/>
        </p:nvGrpSpPr>
        <p:grpSpPr>
          <a:xfrm>
            <a:off x="6638407" y="5905792"/>
            <a:ext cx="4945365" cy="738664"/>
            <a:chOff x="7864139" y="5207779"/>
            <a:chExt cx="4305292" cy="1162630"/>
          </a:xfrm>
        </p:grpSpPr>
        <p:sp>
          <p:nvSpPr>
            <p:cNvPr id="13" name="圆角矩形 12"/>
            <p:cNvSpPr/>
            <p:nvPr/>
          </p:nvSpPr>
          <p:spPr bwMode="auto">
            <a:xfrm>
              <a:off x="7864139" y="5220954"/>
              <a:ext cx="4305292"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1" name="TextBox 11"/>
            <p:cNvSpPr txBox="1"/>
            <p:nvPr/>
          </p:nvSpPr>
          <p:spPr>
            <a:xfrm>
              <a:off x="8494197" y="5207779"/>
              <a:ext cx="3448015" cy="1162630"/>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3200" dirty="0">
                  <a:gradFill>
                    <a:gsLst>
                      <a:gs pos="2917">
                        <a:schemeClr val="tx1"/>
                      </a:gs>
                      <a:gs pos="30000">
                        <a:schemeClr val="tx1"/>
                      </a:gs>
                    </a:gsLst>
                    <a:lin ang="5400000" scaled="0"/>
                  </a:gradFill>
                  <a:cs typeface="+mn-ea"/>
                  <a:sym typeface="+mn-lt"/>
                </a:rPr>
                <a:t>Body Worn Camera</a:t>
              </a:r>
              <a:endParaRPr lang="zh-CN" altLang="en-US" sz="3200" dirty="0" err="1">
                <a:gradFill>
                  <a:gsLst>
                    <a:gs pos="2917">
                      <a:schemeClr val="tx1"/>
                    </a:gs>
                    <a:gs pos="30000">
                      <a:schemeClr val="tx1"/>
                    </a:gs>
                  </a:gsLst>
                  <a:lin ang="5400000" scaled="0"/>
                </a:gradFill>
                <a:cs typeface="+mn-ea"/>
                <a:sym typeface="+mn-lt"/>
              </a:endParaRPr>
            </a:p>
          </p:txBody>
        </p:sp>
      </p:grpSp>
      <p:pic>
        <p:nvPicPr>
          <p:cNvPr id="18" name="图片 17"/>
          <p:cNvPicPr>
            <a:picLocks noChangeAspect="1"/>
          </p:cNvPicPr>
          <p:nvPr/>
        </p:nvPicPr>
        <p:blipFill rotWithShape="1">
          <a:blip r:embed="rId4" cstate="print"/>
          <a:srcRect l="43499" t="10379" r="20244" b="65141"/>
          <a:stretch>
            <a:fillRect/>
          </a:stretch>
        </p:blipFill>
        <p:spPr>
          <a:xfrm>
            <a:off x="731897" y="2060761"/>
            <a:ext cx="5183943" cy="2362682"/>
          </a:xfrm>
          <a:prstGeom prst="rect">
            <a:avLst/>
          </a:prstGeom>
        </p:spPr>
      </p:pic>
      <p:pic>
        <p:nvPicPr>
          <p:cNvPr id="5122" name="Picture 2" descr="https://www.dahuasecurity.com/asset/upload/product/20180316/DH-IPC-HDBW4231F-E2-M-M12_thum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130" y="5744556"/>
            <a:ext cx="980264" cy="980264"/>
          </a:xfrm>
          <a:prstGeom prst="rect">
            <a:avLst/>
          </a:prstGeom>
          <a:noFill/>
          <a:extLst>
            <a:ext uri="{909E8E84-426E-40DD-AFC4-6F175D3DCCD1}">
              <a14:hiddenFill xmlns:a14="http://schemas.microsoft.com/office/drawing/2010/main">
                <a:solidFill>
                  <a:srgbClr val="FFFFFF"/>
                </a:solidFill>
              </a14:hiddenFill>
            </a:ext>
          </a:extLst>
        </p:spPr>
      </p:pic>
      <p:pic>
        <p:nvPicPr>
          <p:cNvPr id="20" name="图片 19"/>
          <p:cNvPicPr>
            <a:picLocks noChangeAspect="1"/>
          </p:cNvPicPr>
          <p:nvPr/>
        </p:nvPicPr>
        <p:blipFill rotWithShape="1">
          <a:blip r:embed="rId6" cstate="print">
            <a:extLst>
              <a:ext uri="{28A0092B-C50C-407E-A947-70E740481C1C}">
                <a14:useLocalDpi xmlns:a14="http://schemas.microsoft.com/office/drawing/2010/main" val="0"/>
              </a:ext>
            </a:extLst>
          </a:blip>
          <a:srcRect l="35899" t="15217" r="34975" b="17092"/>
          <a:stretch>
            <a:fillRect/>
          </a:stretch>
        </p:blipFill>
        <p:spPr>
          <a:xfrm>
            <a:off x="6924203" y="5948371"/>
            <a:ext cx="339597" cy="564879"/>
          </a:xfrm>
          <a:prstGeom prst="rect">
            <a:avLst/>
          </a:prstGeom>
        </p:spPr>
      </p:pic>
      <p:pic>
        <p:nvPicPr>
          <p:cNvPr id="22" name="图片 21"/>
          <p:cNvPicPr>
            <a:picLocks noChangeAspect="1"/>
          </p:cNvPicPr>
          <p:nvPr/>
        </p:nvPicPr>
        <p:blipFill rotWithShape="1">
          <a:blip r:embed="rId7">
            <a:extLst>
              <a:ext uri="{28A0092B-C50C-407E-A947-70E740481C1C}">
                <a14:useLocalDpi xmlns:a14="http://schemas.microsoft.com/office/drawing/2010/main" val="0"/>
              </a:ext>
            </a:extLst>
          </a:blip>
          <a:srcRect l="11789" t="-1250" r="-11789" b="1250"/>
          <a:stretch>
            <a:fillRect/>
          </a:stretch>
        </p:blipFill>
        <p:spPr>
          <a:xfrm>
            <a:off x="6638407" y="2093303"/>
            <a:ext cx="2975162" cy="2303373"/>
          </a:xfrm>
          <a:prstGeom prst="rect">
            <a:avLst/>
          </a:prstGeom>
        </p:spPr>
      </p:pic>
      <p:sp>
        <p:nvSpPr>
          <p:cNvPr id="23" name="Rectangle 37"/>
          <p:cNvSpPr/>
          <p:nvPr/>
        </p:nvSpPr>
        <p:spPr bwMode="auto">
          <a:xfrm>
            <a:off x="6468711" y="4566707"/>
            <a:ext cx="6703127" cy="2107106"/>
          </a:xfrm>
          <a:prstGeom prst="rect">
            <a:avLst/>
          </a:prstGeom>
          <a:noFill/>
          <a:ln w="9525" cap="flat" cmpd="sng" algn="ctr">
            <a:noFill/>
            <a:prstDash val="solid"/>
            <a:headEnd type="none" w="med" len="med"/>
            <a:tailEnd type="none" w="med" len="med"/>
          </a:ln>
          <a:effectLst/>
        </p:spPr>
        <p:txBody>
          <a:bodyPr lIns="182880" tIns="146304" rIns="182880" bIns="146304"/>
          <a:lstStyle/>
          <a:p>
            <a:pPr lvl="0">
              <a:defRPr/>
            </a:pPr>
            <a:r>
              <a:rPr lang="en-US" altLang="zh-CN" sz="2000" b="1" kern="0" dirty="0" err="1">
                <a:solidFill>
                  <a:srgbClr val="505050"/>
                </a:solidFill>
                <a:cs typeface="+mn-ea"/>
                <a:sym typeface="+mn-lt"/>
              </a:rPr>
              <a:t>Appareil</a:t>
            </a:r>
            <a:r>
              <a:rPr lang="en-US" altLang="zh-CN" sz="2000" b="1" kern="0" dirty="0">
                <a:solidFill>
                  <a:srgbClr val="505050"/>
                </a:solidFill>
                <a:cs typeface="+mn-ea"/>
                <a:sym typeface="+mn-lt"/>
              </a:rPr>
              <a:t> mobile</a:t>
            </a:r>
          </a:p>
          <a:p>
            <a:pPr lvl="0">
              <a:defRPr/>
            </a:pPr>
            <a:r>
              <a:rPr lang="en-US" altLang="zh-CN" kern="0" dirty="0">
                <a:solidFill>
                  <a:srgbClr val="505050"/>
                </a:solidFill>
                <a:cs typeface="+mn-ea"/>
                <a:sym typeface="+mn-lt"/>
              </a:rPr>
              <a:t>☆ 4G \ WIFI \ NFC \ Bluetooth \ GPS \ Compass</a:t>
            </a:r>
          </a:p>
          <a:p>
            <a:pPr lvl="0">
              <a:defRPr/>
            </a:pPr>
            <a:r>
              <a:rPr lang="en-US" altLang="zh-CN" kern="0" dirty="0">
                <a:solidFill>
                  <a:srgbClr val="505050"/>
                </a:solidFill>
                <a:cs typeface="+mn-ea"/>
                <a:sym typeface="+mn-lt"/>
              </a:rPr>
              <a:t>☆ </a:t>
            </a:r>
            <a:r>
              <a:rPr lang="fr-FR" altLang="zh-CN" kern="0" dirty="0">
                <a:solidFill>
                  <a:srgbClr val="505050"/>
                </a:solidFill>
                <a:cs typeface="+mn-ea"/>
                <a:sym typeface="+mn-lt"/>
              </a:rPr>
              <a:t>Plus de 8 heures de l'enregistrement 1080P </a:t>
            </a:r>
            <a:endParaRPr lang="en-US" altLang="zh-CN" kern="0" dirty="0">
              <a:solidFill>
                <a:srgbClr val="505050"/>
              </a:solidFill>
              <a:cs typeface="+mn-ea"/>
              <a:sym typeface="+mn-lt"/>
            </a:endParaRPr>
          </a:p>
          <a:p>
            <a:pPr lvl="0">
              <a:defRPr/>
            </a:pPr>
            <a:r>
              <a:rPr lang="en-US" altLang="zh-CN" kern="0" dirty="0">
                <a:solidFill>
                  <a:srgbClr val="505050"/>
                </a:solidFill>
                <a:cs typeface="+mn-ea"/>
                <a:sym typeface="+mn-lt"/>
              </a:rPr>
              <a:t>☆ </a:t>
            </a:r>
            <a:r>
              <a:rPr lang="fr-FR" altLang="zh-CN" kern="0" dirty="0">
                <a:solidFill>
                  <a:srgbClr val="505050"/>
                </a:solidFill>
                <a:cs typeface="+mn-ea"/>
                <a:sym typeface="+mn-lt"/>
              </a:rPr>
              <a:t>Appel Groupe, push d'alarme, lecture à distance</a:t>
            </a:r>
            <a:endParaRPr lang="en-US" altLang="zh-CN" kern="0" dirty="0">
              <a:solidFill>
                <a:srgbClr val="505050"/>
              </a:solidFill>
              <a:cs typeface="+mn-ea"/>
              <a:sym typeface="+mn-lt"/>
            </a:endParaRPr>
          </a:p>
        </p:txBody>
      </p:sp>
      <p:sp>
        <p:nvSpPr>
          <p:cNvPr id="24" name="TextBox 4"/>
          <p:cNvSpPr txBox="1"/>
          <p:nvPr/>
        </p:nvSpPr>
        <p:spPr>
          <a:xfrm>
            <a:off x="10671022" y="5807265"/>
            <a:ext cx="949619" cy="461665"/>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MPT310</a:t>
            </a:r>
            <a:endParaRPr lang="zh-CN" altLang="en-US" sz="1200" dirty="0" err="1">
              <a:gradFill>
                <a:gsLst>
                  <a:gs pos="2917">
                    <a:schemeClr val="tx1"/>
                  </a:gs>
                  <a:gs pos="30000">
                    <a:schemeClr val="tx1"/>
                  </a:gs>
                </a:gsLst>
                <a:lin ang="5400000" scaled="0"/>
              </a:gradFill>
              <a:cs typeface="+mn-ea"/>
              <a:sym typeface="+mn-lt"/>
            </a:endParaRPr>
          </a:p>
        </p:txBody>
      </p:sp>
      <p:sp>
        <p:nvSpPr>
          <p:cNvPr id="19" name="标题 1">
            <a:extLst>
              <a:ext uri="{FF2B5EF4-FFF2-40B4-BE49-F238E27FC236}">
                <a16:creationId xmlns:a16="http://schemas.microsoft.com/office/drawing/2014/main" id="{2185A803-1CC1-46F5-BDCF-082BE505F144}"/>
              </a:ext>
            </a:extLst>
          </p:cNvPr>
          <p:cNvSpPr txBox="1">
            <a:spLocks/>
          </p:cNvSpPr>
          <p:nvPr/>
        </p:nvSpPr>
        <p:spPr>
          <a:xfrm>
            <a:off x="405540" y="458445"/>
            <a:ext cx="11192828" cy="946413"/>
          </a:xfrm>
          <a:prstGeom prst="rect">
            <a:avLst/>
          </a:prstGeom>
        </p:spPr>
        <p:txBody>
          <a:bodyPr vert="horz" wrap="square" lIns="146304" tIns="91440" rIns="146304" bIns="91440" rtlCol="0" anchor="t">
            <a:no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Century Gothic" panose="020B0502020202020204" pitchFamily="34" charset="0"/>
                <a:ea typeface="Century Gothic" panose="020B0502020202020204" pitchFamily="34" charset="0"/>
                <a:cs typeface="Segoe UI" panose="020B0502040204020203" pitchFamily="34" charset="0"/>
              </a:defRPr>
            </a:lvl1pPr>
          </a:lstStyle>
          <a:p>
            <a:r>
              <a:rPr lang="fr-FR" altLang="zh-CN">
                <a:latin typeface="+mn-lt"/>
                <a:cs typeface="+mn-ea"/>
                <a:sym typeface="+mn-lt"/>
              </a:rPr>
              <a:t>Zone d'achat| </a:t>
            </a:r>
            <a:r>
              <a:rPr lang="fr-FR" altLang="zh-CN" sz="3600">
                <a:latin typeface="+mn-lt"/>
                <a:cs typeface="+mn-ea"/>
                <a:sym typeface="+mn-lt"/>
              </a:rPr>
              <a:t>Surveillance sans zone morts</a:t>
            </a:r>
            <a:endParaRPr lang="fr-FR" altLang="zh-CN" sz="3200" dirty="0">
              <a:latin typeface="+mn-lt"/>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34232" y="1185910"/>
            <a:ext cx="4830294" cy="1569660"/>
          </a:xfrm>
          <a:prstGeom prst="rect">
            <a:avLst/>
          </a:prstGeom>
        </p:spPr>
        <p:txBody>
          <a:bodyPr wrap="square">
            <a:spAutoFit/>
          </a:bodyPr>
          <a:lstStyle/>
          <a:p>
            <a:r>
              <a:rPr lang="fr-FR" altLang="zh-CN" sz="1600" dirty="0" smtClean="0"/>
              <a:t>Une fonction qui détecte le mouvement de foule</a:t>
            </a:r>
          </a:p>
          <a:p>
            <a:r>
              <a:rPr lang="fr-FR" altLang="zh-CN" sz="1600" b="1" dirty="0" smtClean="0">
                <a:solidFill>
                  <a:srgbClr val="180D82"/>
                </a:solidFill>
                <a:latin typeface="Century Gothic" panose="020B0502020202020204" pitchFamily="34" charset="0"/>
              </a:rPr>
              <a:t>Vous définissez un nombre de personnes dans une zone et si vous dépassez ce nombre une alerte arrive sur le PC sécurité,</a:t>
            </a:r>
          </a:p>
          <a:p>
            <a:endParaRPr lang="en-US" altLang="zh-CN" sz="1600" b="1" dirty="0">
              <a:solidFill>
                <a:srgbClr val="180D82"/>
              </a:solidFill>
              <a:latin typeface="Century Gothic" panose="020B0502020202020204" pitchFamily="34" charset="0"/>
            </a:endParaRPr>
          </a:p>
        </p:txBody>
      </p:sp>
      <p:pic>
        <p:nvPicPr>
          <p:cNvPr id="4" name="Picture 2" descr="Escalator &amp; moving walk safety featur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041" y="3314384"/>
            <a:ext cx="6949464" cy="25264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5" name="标题 1"/>
          <p:cNvSpPr txBox="1"/>
          <p:nvPr/>
        </p:nvSpPr>
        <p:spPr>
          <a:xfrm>
            <a:off x="253140" y="306045"/>
            <a:ext cx="11192828" cy="946413"/>
          </a:xfrm>
          <a:prstGeom prst="rect">
            <a:avLst/>
          </a:prstGeom>
        </p:spPr>
        <p:txBody>
          <a:bodyPr vert="horz" wrap="square" lIns="146304" tIns="91440" rIns="146304" bIns="91440" rtlCol="0" anchor="t">
            <a:noAutofit/>
          </a:bodyPr>
          <a:lstStyle>
            <a:lvl1pPr algn="l" defTabSz="932815"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err="1">
                <a:latin typeface="Century Gothic" panose="020B0502020202020204" pitchFamily="34" charset="0"/>
              </a:rPr>
              <a:t>Alarme</a:t>
            </a:r>
            <a:r>
              <a:rPr lang="en-US" altLang="zh-CN" dirty="0">
                <a:latin typeface="Century Gothic" panose="020B0502020202020204" pitchFamily="34" charset="0"/>
              </a:rPr>
              <a:t> de </a:t>
            </a:r>
            <a:r>
              <a:rPr lang="en-US" altLang="zh-CN" dirty="0" err="1" smtClean="0">
                <a:latin typeface="Century Gothic" panose="020B0502020202020204" pitchFamily="34" charset="0"/>
              </a:rPr>
              <a:t>Mouvement</a:t>
            </a:r>
            <a:r>
              <a:rPr lang="en-US" altLang="zh-CN" dirty="0" smtClean="0">
                <a:latin typeface="Century Gothic" panose="020B0502020202020204" pitchFamily="34" charset="0"/>
              </a:rPr>
              <a:t> de </a:t>
            </a:r>
            <a:r>
              <a:rPr lang="en-US" altLang="zh-CN" dirty="0" err="1" smtClean="0">
                <a:latin typeface="Century Gothic" panose="020B0502020202020204" pitchFamily="34" charset="0"/>
              </a:rPr>
              <a:t>foule</a:t>
            </a:r>
            <a:endParaRPr lang="en-US" altLang="zh-CN" dirty="0">
              <a:latin typeface="Century Gothic" panose="020B0502020202020204" pitchFamily="34" charset="0"/>
            </a:endParaRPr>
          </a:p>
        </p:txBody>
      </p:sp>
      <p:cxnSp>
        <p:nvCxnSpPr>
          <p:cNvPr id="6" name="直接连接符 5"/>
          <p:cNvCxnSpPr/>
          <p:nvPr/>
        </p:nvCxnSpPr>
        <p:spPr>
          <a:xfrm>
            <a:off x="382114" y="3222945"/>
            <a:ext cx="1164831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7" name="组合 6"/>
          <p:cNvGrpSpPr/>
          <p:nvPr/>
        </p:nvGrpSpPr>
        <p:grpSpPr>
          <a:xfrm>
            <a:off x="5212408" y="1183645"/>
            <a:ext cx="2926048" cy="1947151"/>
            <a:chOff x="4572335" y="1119848"/>
            <a:chExt cx="3657667" cy="2743250"/>
          </a:xfrm>
        </p:grpSpPr>
        <p:pic>
          <p:nvPicPr>
            <p:cNvPr id="8" name="Picture 4" descr="“crowded mall”的图片搜索结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335" y="1119848"/>
              <a:ext cx="3657667" cy="27432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9" name="椭圆 8"/>
            <p:cNvSpPr/>
            <p:nvPr/>
          </p:nvSpPr>
          <p:spPr bwMode="auto">
            <a:xfrm>
              <a:off x="6401215" y="1477748"/>
              <a:ext cx="822951" cy="893215"/>
            </a:xfrm>
            <a:prstGeom prst="ellipse">
              <a:avLst/>
            </a:prstGeom>
            <a:noFill/>
            <a:ln w="381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grpSp>
        <p:nvGrpSpPr>
          <p:cNvPr id="10" name="组合 9"/>
          <p:cNvGrpSpPr>
            <a:grpSpLocks noChangeAspect="1"/>
          </p:cNvGrpSpPr>
          <p:nvPr/>
        </p:nvGrpSpPr>
        <p:grpSpPr>
          <a:xfrm>
            <a:off x="9144286" y="1215174"/>
            <a:ext cx="2560292" cy="1916131"/>
            <a:chOff x="8412773" y="1119848"/>
            <a:chExt cx="3665471" cy="2743250"/>
          </a:xfrm>
        </p:grpSpPr>
        <p:pic>
          <p:nvPicPr>
            <p:cNvPr id="11" name="Picture 6" descr="A busy, crowded mall"/>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2773" y="1119848"/>
              <a:ext cx="3665471" cy="27432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2" name="椭圆 11"/>
            <p:cNvSpPr/>
            <p:nvPr/>
          </p:nvSpPr>
          <p:spPr bwMode="auto">
            <a:xfrm>
              <a:off x="10233216" y="1768509"/>
              <a:ext cx="822951" cy="893215"/>
            </a:xfrm>
            <a:prstGeom prst="ellipse">
              <a:avLst/>
            </a:prstGeom>
            <a:noFill/>
            <a:ln w="381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sp>
        <p:nvSpPr>
          <p:cNvPr id="13" name="矩形 12"/>
          <p:cNvSpPr/>
          <p:nvPr/>
        </p:nvSpPr>
        <p:spPr>
          <a:xfrm>
            <a:off x="7458481" y="3825272"/>
            <a:ext cx="4571949" cy="677108"/>
          </a:xfrm>
          <a:prstGeom prst="rect">
            <a:avLst/>
          </a:prstGeom>
        </p:spPr>
        <p:txBody>
          <a:bodyPr wrap="square">
            <a:spAutoFit/>
          </a:bodyPr>
          <a:lstStyle/>
          <a:p>
            <a:r>
              <a:rPr lang="fr-FR" altLang="zh-CN" sz="2000" b="1" dirty="0">
                <a:solidFill>
                  <a:srgbClr val="180D82"/>
                </a:solidFill>
                <a:latin typeface="Century Gothic" panose="020B0502020202020204" pitchFamily="34" charset="0"/>
              </a:rPr>
              <a:t>Alarme de surcharge de l'escalator:</a:t>
            </a:r>
          </a:p>
          <a:p>
            <a:pPr algn="just"/>
            <a:r>
              <a:rPr lang="fr-FR" altLang="zh-CN" dirty="0" smtClean="0">
                <a:solidFill>
                  <a:srgbClr val="555555"/>
                </a:solidFill>
                <a:latin typeface="Century Gothic" panose="020B0502020202020204" pitchFamily="34" charset="0"/>
              </a:rPr>
              <a:t>Ceci est un exemple</a:t>
            </a:r>
            <a:endParaRPr lang="zh-CN" altLang="en-US" dirty="0">
              <a:solidFill>
                <a:srgbClr val="555555"/>
              </a:solidFill>
              <a:latin typeface="Century Gothic" panose="020B0502020202020204" pitchFamily="34" charset="0"/>
            </a:endParaRPr>
          </a:p>
        </p:txBody>
      </p:sp>
      <p:sp>
        <p:nvSpPr>
          <p:cNvPr id="14" name="椭圆 13"/>
          <p:cNvSpPr/>
          <p:nvPr/>
        </p:nvSpPr>
        <p:spPr bwMode="auto">
          <a:xfrm>
            <a:off x="4663774" y="3680140"/>
            <a:ext cx="1554463" cy="784446"/>
          </a:xfrm>
          <a:prstGeom prst="ellipse">
            <a:avLst/>
          </a:prstGeom>
          <a:noFill/>
          <a:ln w="38100">
            <a:solidFill>
              <a:srgbClr val="FF0000"/>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15" name="直接连接符 14"/>
          <p:cNvCxnSpPr/>
          <p:nvPr/>
        </p:nvCxnSpPr>
        <p:spPr>
          <a:xfrm>
            <a:off x="394079" y="5966115"/>
            <a:ext cx="1164831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16" name="组合 15"/>
          <p:cNvGrpSpPr/>
          <p:nvPr/>
        </p:nvGrpSpPr>
        <p:grpSpPr>
          <a:xfrm>
            <a:off x="3265197" y="5966115"/>
            <a:ext cx="5854933" cy="802192"/>
            <a:chOff x="437359" y="5075489"/>
            <a:chExt cx="5854933" cy="1244945"/>
          </a:xfrm>
        </p:grpSpPr>
        <p:sp>
          <p:nvSpPr>
            <p:cNvPr id="17" name="圆角矩形 16"/>
            <p:cNvSpPr/>
            <p:nvPr/>
          </p:nvSpPr>
          <p:spPr bwMode="auto">
            <a:xfrm>
              <a:off x="437359" y="5254732"/>
              <a:ext cx="5854933" cy="928038"/>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latin typeface="Century Gothic" panose="020B0502020202020204" pitchFamily="34" charset="0"/>
                <a:ea typeface="Segoe UI" panose="020B0502040204020203" pitchFamily="34" charset="0"/>
                <a:cs typeface="Segoe UI" panose="020B0502040204020203" pitchFamily="34" charset="0"/>
              </a:endParaRPr>
            </a:p>
          </p:txBody>
        </p:sp>
        <p:sp>
          <p:nvSpPr>
            <p:cNvPr id="18" name="TextBox 4"/>
            <p:cNvSpPr txBox="1"/>
            <p:nvPr/>
          </p:nvSpPr>
          <p:spPr>
            <a:xfrm>
              <a:off x="2018814" y="5075489"/>
              <a:ext cx="2613536" cy="1093811"/>
            </a:xfrm>
            <a:prstGeom prst="rect">
              <a:avLst/>
            </a:prstGeom>
            <a:noFill/>
          </p:spPr>
          <p:txBody>
            <a:bodyPr wrap="none" lIns="182880" tIns="146304" rIns="182880" bIns="146304" rtlCol="0">
              <a:spAutoFit/>
            </a:bodyPr>
            <a:lst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1260" algn="l" defTabSz="932815"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latin typeface="Century Gothic" panose="020B0502020202020204" pitchFamily="34" charset="0"/>
                </a:rPr>
                <a:t>Pro Ai Series IPC-HDBW5541R-S</a:t>
              </a:r>
            </a:p>
            <a:p>
              <a:pPr>
                <a:lnSpc>
                  <a:spcPct val="90000"/>
                </a:lnSpc>
                <a:spcAft>
                  <a:spcPts val="600"/>
                </a:spcAft>
              </a:pPr>
              <a:r>
                <a:rPr lang="en-US" altLang="zh-CN" sz="1200" dirty="0">
                  <a:gradFill>
                    <a:gsLst>
                      <a:gs pos="2917">
                        <a:schemeClr val="tx1"/>
                      </a:gs>
                      <a:gs pos="30000">
                        <a:schemeClr val="tx1"/>
                      </a:gs>
                    </a:gsLst>
                    <a:lin ang="5400000" scaled="0"/>
                  </a:gradFill>
                  <a:latin typeface="Century Gothic" panose="020B0502020202020204" pitchFamily="34" charset="0"/>
                </a:rPr>
                <a:t> </a:t>
              </a:r>
              <a:endParaRPr lang="zh-CN" altLang="en-US" sz="1200" dirty="0" err="1">
                <a:gradFill>
                  <a:gsLst>
                    <a:gs pos="2917">
                      <a:schemeClr val="tx1"/>
                    </a:gs>
                    <a:gs pos="30000">
                      <a:schemeClr val="tx1"/>
                    </a:gs>
                  </a:gsLst>
                  <a:lin ang="5400000" scaled="0"/>
                </a:gradFill>
                <a:latin typeface="Century Gothic" panose="020B0502020202020204" pitchFamily="34" charset="0"/>
              </a:endParaRPr>
            </a:p>
          </p:txBody>
        </p:sp>
        <p:sp>
          <p:nvSpPr>
            <p:cNvPr id="19" name="TextBox 11"/>
            <p:cNvSpPr txBox="1"/>
            <p:nvPr/>
          </p:nvSpPr>
          <p:spPr>
            <a:xfrm>
              <a:off x="1283210" y="5346034"/>
              <a:ext cx="4667481" cy="974400"/>
            </a:xfrm>
            <a:prstGeom prst="rect">
              <a:avLst/>
            </a:prstGeom>
            <a:noFill/>
          </p:spPr>
          <p:txBody>
            <a:bodyPr wrap="square" lIns="182880" tIns="146304" rIns="182880" bIns="146304" rtlCol="0">
              <a:spAutoFit/>
            </a:bodyPr>
            <a:lstStyle>
              <a:defPPr>
                <a:defRPr lang="en-US"/>
              </a:defPPr>
              <a:lvl1pPr marL="0" algn="l" defTabSz="932815" rtl="0" eaLnBrk="1" latinLnBrk="0" hangingPunct="1">
                <a:defRPr sz="1800" kern="1200">
                  <a:solidFill>
                    <a:schemeClr val="tx1"/>
                  </a:solidFill>
                  <a:latin typeface="+mn-lt"/>
                  <a:ea typeface="+mn-ea"/>
                  <a:cs typeface="+mn-cs"/>
                </a:defRPr>
              </a:lvl1pPr>
              <a:lvl2pPr marL="466090" algn="l" defTabSz="932815" rtl="0" eaLnBrk="1" latinLnBrk="0" hangingPunct="1">
                <a:defRPr sz="1800" kern="1200">
                  <a:solidFill>
                    <a:schemeClr val="tx1"/>
                  </a:solidFill>
                  <a:latin typeface="+mn-lt"/>
                  <a:ea typeface="+mn-ea"/>
                  <a:cs typeface="+mn-cs"/>
                </a:defRPr>
              </a:lvl2pPr>
              <a:lvl3pPr marL="932815" algn="l" defTabSz="932815" rtl="0" eaLnBrk="1" latinLnBrk="0" hangingPunct="1">
                <a:defRPr sz="1800" kern="1200">
                  <a:solidFill>
                    <a:schemeClr val="tx1"/>
                  </a:solidFill>
                  <a:latin typeface="+mn-lt"/>
                  <a:ea typeface="+mn-ea"/>
                  <a:cs typeface="+mn-cs"/>
                </a:defRPr>
              </a:lvl3pPr>
              <a:lvl4pPr marL="1398905" algn="l" defTabSz="932815" rtl="0" eaLnBrk="1" latinLnBrk="0" hangingPunct="1">
                <a:defRPr sz="1800" kern="1200">
                  <a:solidFill>
                    <a:schemeClr val="tx1"/>
                  </a:solidFill>
                  <a:latin typeface="+mn-lt"/>
                  <a:ea typeface="+mn-ea"/>
                  <a:cs typeface="+mn-cs"/>
                </a:defRPr>
              </a:lvl4pPr>
              <a:lvl5pPr marL="1865630" algn="l" defTabSz="932815" rtl="0" eaLnBrk="1" latinLnBrk="0" hangingPunct="1">
                <a:defRPr sz="1800" kern="1200">
                  <a:solidFill>
                    <a:schemeClr val="tx1"/>
                  </a:solidFill>
                  <a:latin typeface="+mn-lt"/>
                  <a:ea typeface="+mn-ea"/>
                  <a:cs typeface="+mn-cs"/>
                </a:defRPr>
              </a:lvl5pPr>
              <a:lvl6pPr marL="2331720" algn="l" defTabSz="932815" rtl="0" eaLnBrk="1" latinLnBrk="0" hangingPunct="1">
                <a:defRPr sz="1800" kern="1200">
                  <a:solidFill>
                    <a:schemeClr val="tx1"/>
                  </a:solidFill>
                  <a:latin typeface="+mn-lt"/>
                  <a:ea typeface="+mn-ea"/>
                  <a:cs typeface="+mn-cs"/>
                </a:defRPr>
              </a:lvl6pPr>
              <a:lvl7pPr marL="2798445" algn="l" defTabSz="932815" rtl="0" eaLnBrk="1" latinLnBrk="0" hangingPunct="1">
                <a:defRPr sz="1800" kern="1200">
                  <a:solidFill>
                    <a:schemeClr val="tx1"/>
                  </a:solidFill>
                  <a:latin typeface="+mn-lt"/>
                  <a:ea typeface="+mn-ea"/>
                  <a:cs typeface="+mn-cs"/>
                </a:defRPr>
              </a:lvl7pPr>
              <a:lvl8pPr marL="3264535" algn="l" defTabSz="932815" rtl="0" eaLnBrk="1" latinLnBrk="0" hangingPunct="1">
                <a:defRPr sz="1800" kern="1200">
                  <a:solidFill>
                    <a:schemeClr val="tx1"/>
                  </a:solidFill>
                  <a:latin typeface="+mn-lt"/>
                  <a:ea typeface="+mn-ea"/>
                  <a:cs typeface="+mn-cs"/>
                </a:defRPr>
              </a:lvl8pPr>
              <a:lvl9pPr marL="3731260" algn="l" defTabSz="932815"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2400" dirty="0">
                  <a:gradFill>
                    <a:gsLst>
                      <a:gs pos="2917">
                        <a:schemeClr val="tx1"/>
                      </a:gs>
                      <a:gs pos="30000">
                        <a:schemeClr val="tx1"/>
                      </a:gs>
                    </a:gsLst>
                    <a:lin ang="5400000" scaled="0"/>
                  </a:gradFill>
                  <a:latin typeface="Century Gothic" panose="020B0502020202020204" pitchFamily="34" charset="0"/>
                </a:rPr>
                <a:t>Gathering alarm camera </a:t>
              </a:r>
              <a:endParaRPr lang="zh-CN" altLang="en-US" sz="2400" dirty="0" err="1">
                <a:gradFill>
                  <a:gsLst>
                    <a:gs pos="2917">
                      <a:schemeClr val="tx1"/>
                    </a:gs>
                    <a:gs pos="30000">
                      <a:schemeClr val="tx1"/>
                    </a:gs>
                  </a:gsLst>
                  <a:lin ang="5400000" scaled="0"/>
                </a:gradFill>
                <a:latin typeface="Century Gothic" panose="020B0502020202020204" pitchFamily="34" charset="0"/>
              </a:endParaRPr>
            </a:p>
          </p:txBody>
        </p:sp>
      </p:gr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63921" y="114019"/>
            <a:ext cx="11908632" cy="1463024"/>
          </a:xfrm>
        </p:spPr>
        <p:txBody>
          <a:bodyPr/>
          <a:lstStyle/>
          <a:p>
            <a:r>
              <a:rPr lang="en-US" altLang="zh-CN" dirty="0" err="1">
                <a:latin typeface="+mn-lt"/>
                <a:cs typeface="+mn-ea"/>
                <a:sym typeface="+mn-lt"/>
              </a:rPr>
              <a:t>Analyse</a:t>
            </a:r>
            <a:r>
              <a:rPr lang="en-US" altLang="zh-CN" dirty="0">
                <a:latin typeface="+mn-lt"/>
                <a:cs typeface="+mn-ea"/>
                <a:sym typeface="+mn-lt"/>
              </a:rPr>
              <a:t> </a:t>
            </a:r>
            <a:r>
              <a:rPr lang="en-US" altLang="zh-CN" dirty="0" err="1">
                <a:latin typeface="+mn-lt"/>
                <a:cs typeface="+mn-ea"/>
                <a:sym typeface="+mn-lt"/>
              </a:rPr>
              <a:t>intérieure</a:t>
            </a:r>
            <a:r>
              <a:rPr lang="en-US" altLang="zh-CN" dirty="0">
                <a:latin typeface="+mn-lt"/>
                <a:cs typeface="+mn-ea"/>
                <a:sym typeface="+mn-lt"/>
              </a:rPr>
              <a:t> | </a:t>
            </a:r>
            <a:r>
              <a:rPr lang="en-US" altLang="zh-CN" sz="3600" dirty="0" err="1">
                <a:latin typeface="+mn-lt"/>
                <a:cs typeface="+mn-ea"/>
                <a:sym typeface="+mn-lt"/>
              </a:rPr>
              <a:t>Aperçu</a:t>
            </a:r>
            <a:r>
              <a:rPr lang="en-US" altLang="zh-CN" sz="3600" dirty="0">
                <a:latin typeface="+mn-lt"/>
                <a:cs typeface="+mn-ea"/>
                <a:sym typeface="+mn-lt"/>
              </a:rPr>
              <a:t> </a:t>
            </a:r>
            <a:r>
              <a:rPr lang="en-US" altLang="zh-CN" sz="3600" dirty="0" smtClean="0">
                <a:latin typeface="+mn-lt"/>
                <a:cs typeface="+mn-ea"/>
                <a:sym typeface="+mn-lt"/>
              </a:rPr>
              <a:t>des flux de 								passages</a:t>
            </a:r>
            <a:endParaRPr lang="zh-CN" altLang="en-US" dirty="0">
              <a:latin typeface="+mn-lt"/>
              <a:cs typeface="+mn-ea"/>
              <a:sym typeface="+mn-lt"/>
            </a:endParaRPr>
          </a:p>
        </p:txBody>
      </p:sp>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6141" y="4685970"/>
            <a:ext cx="2926048" cy="2194536"/>
          </a:xfrm>
          <a:prstGeom prst="rect">
            <a:avLst/>
          </a:prstGeom>
        </p:spPr>
      </p:pic>
      <p:pic>
        <p:nvPicPr>
          <p:cNvPr id="3" name="图片 2"/>
          <p:cNvPicPr>
            <a:picLocks noChangeAspect="1"/>
          </p:cNvPicPr>
          <p:nvPr/>
        </p:nvPicPr>
        <p:blipFill>
          <a:blip r:embed="rId4"/>
          <a:stretch>
            <a:fillRect/>
          </a:stretch>
        </p:blipFill>
        <p:spPr>
          <a:xfrm>
            <a:off x="3383628" y="4685970"/>
            <a:ext cx="2904324" cy="2194536"/>
          </a:xfrm>
          <a:prstGeom prst="rect">
            <a:avLst/>
          </a:prstGeom>
        </p:spPr>
      </p:pic>
      <p:sp>
        <p:nvSpPr>
          <p:cNvPr id="6" name="矩形 5">
            <a:extLst>
              <a:ext uri="{FF2B5EF4-FFF2-40B4-BE49-F238E27FC236}">
                <a16:creationId xmlns:a16="http://schemas.microsoft.com/office/drawing/2014/main" id="{1472DC1D-9D41-4FFE-8575-B2AADAA602E4}"/>
              </a:ext>
            </a:extLst>
          </p:cNvPr>
          <p:cNvSpPr/>
          <p:nvPr/>
        </p:nvSpPr>
        <p:spPr>
          <a:xfrm>
            <a:off x="6675432" y="1300811"/>
            <a:ext cx="5422900" cy="2862322"/>
          </a:xfrm>
          <a:prstGeom prst="rect">
            <a:avLst/>
          </a:prstGeom>
        </p:spPr>
        <p:txBody>
          <a:bodyPr wrap="square">
            <a:spAutoFit/>
          </a:bodyPr>
          <a:lstStyle/>
          <a:p>
            <a:pPr algn="l" rtl="0"/>
            <a:r>
              <a:rPr lang="fr-FR" sz="2000" b="1" i="0" u="none" baseline="0" dirty="0"/>
              <a:t>Déterminer</a:t>
            </a:r>
            <a:r>
              <a:rPr lang="fr-FR" sz="2000" b="0" i="0" u="none" baseline="0" dirty="0"/>
              <a:t> la variation de la densité de visiteurs au cours de la journée et la comparer avec une journée spécifique de l'année précédente.</a:t>
            </a:r>
          </a:p>
          <a:p>
            <a:pPr algn="l" rtl="0"/>
            <a:r>
              <a:rPr lang="fr-FR" sz="2000" b="1" i="0" u="none" baseline="0" dirty="0"/>
              <a:t>Identifier</a:t>
            </a:r>
            <a:r>
              <a:rPr lang="fr-FR" sz="2000" b="0" i="0" u="none" baseline="0" dirty="0"/>
              <a:t> les sections et les produits les plus et les moins visités dans le magasin.</a:t>
            </a:r>
          </a:p>
          <a:p>
            <a:pPr algn="l" rtl="0"/>
            <a:r>
              <a:rPr lang="fr-FR" sz="2000" b="1" i="0" u="none" baseline="0" dirty="0"/>
              <a:t>Définir</a:t>
            </a:r>
            <a:r>
              <a:rPr lang="fr-FR" sz="2000" b="0" i="0" u="none" baseline="0" dirty="0"/>
              <a:t> l'efficacité de l'agencement du magasin et détecter les points d'encombrement.</a:t>
            </a:r>
          </a:p>
          <a:p>
            <a:pPr algn="l" rtl="0"/>
            <a:r>
              <a:rPr lang="fr-FR" sz="2000" b="0" i="0" u="none" baseline="0" dirty="0"/>
              <a:t>Repérer les sections, produits ou campagnes publicitaires qui attirent le plus de visiteurs.</a:t>
            </a:r>
            <a:endParaRPr lang="fr-FR" altLang="en-US" sz="2000" dirty="0"/>
          </a:p>
        </p:txBody>
      </p:sp>
      <p:pic>
        <p:nvPicPr>
          <p:cNvPr id="7" name="图片 6">
            <a:extLst>
              <a:ext uri="{FF2B5EF4-FFF2-40B4-BE49-F238E27FC236}">
                <a16:creationId xmlns:a16="http://schemas.microsoft.com/office/drawing/2014/main" id="{EF393DA8-B53C-4CAA-A1B7-7EFF263FDA05}"/>
              </a:ext>
            </a:extLst>
          </p:cNvPr>
          <p:cNvPicPr>
            <a:picLocks noChangeAspect="1"/>
          </p:cNvPicPr>
          <p:nvPr/>
        </p:nvPicPr>
        <p:blipFill>
          <a:blip r:embed="rId5" cstate="print"/>
          <a:stretch>
            <a:fillRect/>
          </a:stretch>
        </p:blipFill>
        <p:spPr>
          <a:xfrm>
            <a:off x="1097653" y="1319222"/>
            <a:ext cx="4206194" cy="3112022"/>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7"/>
          <p:cNvSpPr/>
          <p:nvPr/>
        </p:nvSpPr>
        <p:spPr bwMode="auto">
          <a:xfrm>
            <a:off x="948100" y="5467540"/>
            <a:ext cx="4721503" cy="1434035"/>
          </a:xfrm>
          <a:prstGeom prst="rect">
            <a:avLst/>
          </a:prstGeom>
          <a:noFill/>
          <a:ln w="9525" cap="flat" cmpd="sng" algn="ctr">
            <a:noFill/>
            <a:prstDash val="solid"/>
            <a:headEnd type="none" w="med" len="med"/>
            <a:tailEnd type="none" w="med" len="med"/>
          </a:ln>
          <a:effectLst/>
        </p:spPr>
        <p:txBody>
          <a:bodyPr lIns="182880" tIns="146304" rIns="182880" bIns="146304"/>
          <a:lstStyle/>
          <a:p>
            <a:pPr>
              <a:defRPr/>
            </a:pPr>
            <a:r>
              <a:rPr lang="en-US" altLang="zh-CN" b="1" i="1" kern="0" dirty="0" err="1">
                <a:solidFill>
                  <a:srgbClr val="505050"/>
                </a:solidFill>
                <a:cs typeface="+mn-ea"/>
                <a:sym typeface="+mn-lt"/>
              </a:rPr>
              <a:t>Comptage</a:t>
            </a:r>
            <a:r>
              <a:rPr lang="en-US" altLang="zh-CN" b="1" i="1" kern="0" dirty="0">
                <a:solidFill>
                  <a:srgbClr val="505050"/>
                </a:solidFill>
                <a:cs typeface="+mn-ea"/>
                <a:sym typeface="+mn-lt"/>
              </a:rPr>
              <a:t> </a:t>
            </a:r>
            <a:r>
              <a:rPr lang="en-US" altLang="zh-CN" b="1" i="1" kern="0" dirty="0" err="1">
                <a:solidFill>
                  <a:srgbClr val="505050"/>
                </a:solidFill>
                <a:cs typeface="+mn-ea"/>
                <a:sym typeface="+mn-lt"/>
              </a:rPr>
              <a:t>régional</a:t>
            </a:r>
            <a:r>
              <a:rPr lang="en-US" altLang="zh-CN" b="1" i="1" kern="0" dirty="0">
                <a:solidFill>
                  <a:srgbClr val="505050"/>
                </a:solidFill>
                <a:cs typeface="+mn-ea"/>
                <a:sym typeface="+mn-lt"/>
              </a:rPr>
              <a:t> des </a:t>
            </a:r>
            <a:r>
              <a:rPr lang="en-US" altLang="zh-CN" b="1" i="1" kern="0" dirty="0" err="1">
                <a:solidFill>
                  <a:srgbClr val="505050"/>
                </a:solidFill>
                <a:cs typeface="+mn-ea"/>
                <a:sym typeface="+mn-lt"/>
              </a:rPr>
              <a:t>personnes</a:t>
            </a:r>
            <a:endParaRPr lang="en-US" altLang="zh-CN" b="1" i="1" kern="0" dirty="0">
              <a:solidFill>
                <a:srgbClr val="505050"/>
              </a:solidFill>
              <a:cs typeface="+mn-ea"/>
              <a:sym typeface="+mn-lt"/>
            </a:endParaRPr>
          </a:p>
          <a:p>
            <a:pPr>
              <a:defRPr/>
            </a:pPr>
            <a:r>
              <a:rPr lang="en-US" altLang="zh-CN" kern="0" dirty="0">
                <a:solidFill>
                  <a:srgbClr val="505050"/>
                </a:solidFill>
                <a:cs typeface="+mn-ea"/>
                <a:sym typeface="+mn-lt"/>
              </a:rPr>
              <a:t>☆ support 4 </a:t>
            </a:r>
            <a:r>
              <a:rPr lang="en-US" altLang="zh-CN" kern="0" dirty="0" smtClean="0">
                <a:solidFill>
                  <a:srgbClr val="505050"/>
                </a:solidFill>
                <a:cs typeface="+mn-ea"/>
                <a:sym typeface="+mn-lt"/>
              </a:rPr>
              <a:t>zones</a:t>
            </a:r>
            <a:endParaRPr lang="en-US" altLang="zh-CN" kern="0" dirty="0">
              <a:solidFill>
                <a:srgbClr val="505050"/>
              </a:solidFill>
              <a:cs typeface="+mn-ea"/>
              <a:sym typeface="+mn-lt"/>
            </a:endParaRPr>
          </a:p>
          <a:p>
            <a:pPr>
              <a:defRPr/>
            </a:pPr>
            <a:r>
              <a:rPr lang="en-US" altLang="zh-CN" kern="0" dirty="0">
                <a:solidFill>
                  <a:srgbClr val="505050"/>
                </a:solidFill>
                <a:cs typeface="+mn-ea"/>
                <a:sym typeface="+mn-lt"/>
              </a:rPr>
              <a:t>☆ </a:t>
            </a:r>
            <a:r>
              <a:rPr lang="fr-FR" altLang="zh-CN" kern="0" dirty="0">
                <a:solidFill>
                  <a:srgbClr val="505050"/>
                </a:solidFill>
                <a:cs typeface="+mn-ea"/>
                <a:sym typeface="+mn-lt"/>
              </a:rPr>
              <a:t>Données précises sur le </a:t>
            </a:r>
            <a:r>
              <a:rPr lang="fr-FR" altLang="zh-CN" kern="0" dirty="0" smtClean="0">
                <a:solidFill>
                  <a:srgbClr val="505050"/>
                </a:solidFill>
                <a:cs typeface="+mn-ea"/>
                <a:sym typeface="+mn-lt"/>
              </a:rPr>
              <a:t>nombre de passage par zone</a:t>
            </a:r>
            <a:endParaRPr lang="en-US" altLang="zh-CN" dirty="0">
              <a:cs typeface="+mn-ea"/>
              <a:sym typeface="+mn-lt"/>
            </a:endParaRPr>
          </a:p>
        </p:txBody>
      </p:sp>
      <p:sp>
        <p:nvSpPr>
          <p:cNvPr id="12" name="Rectangle 37"/>
          <p:cNvSpPr/>
          <p:nvPr/>
        </p:nvSpPr>
        <p:spPr bwMode="auto">
          <a:xfrm>
            <a:off x="6586363" y="1233874"/>
            <a:ext cx="5850112" cy="1848531"/>
          </a:xfrm>
          <a:prstGeom prst="rect">
            <a:avLst/>
          </a:prstGeom>
          <a:noFill/>
          <a:ln w="9525" cap="flat" cmpd="sng" algn="ctr">
            <a:noFill/>
            <a:prstDash val="solid"/>
            <a:headEnd type="none" w="med" len="med"/>
            <a:tailEnd type="none" w="med" len="med"/>
          </a:ln>
          <a:effectLst/>
        </p:spPr>
        <p:txBody>
          <a:bodyPr lIns="182880" tIns="146304" rIns="182880" bIns="146304"/>
          <a:lstStyle/>
          <a:p>
            <a:pPr>
              <a:defRPr/>
            </a:pPr>
            <a:r>
              <a:rPr lang="en-US" altLang="zh-CN" b="1" i="1" dirty="0">
                <a:cs typeface="+mn-ea"/>
                <a:sym typeface="+mn-lt"/>
              </a:rPr>
              <a:t>Aperçu des </a:t>
            </a:r>
            <a:r>
              <a:rPr lang="en-US" altLang="zh-CN" b="1" i="1" dirty="0" smtClean="0">
                <a:cs typeface="+mn-ea"/>
                <a:sym typeface="+mn-lt"/>
              </a:rPr>
              <a:t>flux de passages par zones</a:t>
            </a:r>
            <a:endParaRPr lang="en-US" altLang="zh-CN" b="1" i="1" dirty="0">
              <a:cs typeface="+mn-ea"/>
              <a:sym typeface="+mn-lt"/>
            </a:endParaRPr>
          </a:p>
          <a:p>
            <a:pPr>
              <a:defRPr/>
            </a:pPr>
            <a:r>
              <a:rPr lang="fr-FR" altLang="zh-CN" kern="0" dirty="0" smtClean="0">
                <a:solidFill>
                  <a:srgbClr val="505050"/>
                </a:solidFill>
                <a:cs typeface="+mn-ea"/>
                <a:sym typeface="+mn-lt"/>
              </a:rPr>
              <a:t>Vous pouvez comparer qu’elle </a:t>
            </a:r>
            <a:r>
              <a:rPr lang="fr-FR" altLang="zh-CN" kern="0" dirty="0">
                <a:solidFill>
                  <a:srgbClr val="505050"/>
                </a:solidFill>
                <a:cs typeface="+mn-ea"/>
                <a:sym typeface="+mn-lt"/>
              </a:rPr>
              <a:t>zone est la plus </a:t>
            </a:r>
            <a:r>
              <a:rPr lang="fr-FR" altLang="zh-CN" kern="0" dirty="0" smtClean="0">
                <a:solidFill>
                  <a:srgbClr val="505050"/>
                </a:solidFill>
                <a:cs typeface="+mn-ea"/>
                <a:sym typeface="+mn-lt"/>
              </a:rPr>
              <a:t>attractive </a:t>
            </a:r>
            <a:r>
              <a:rPr lang="fr-FR" altLang="zh-CN" kern="0" dirty="0">
                <a:solidFill>
                  <a:srgbClr val="505050"/>
                </a:solidFill>
                <a:cs typeface="+mn-ea"/>
                <a:sym typeface="+mn-lt"/>
              </a:rPr>
              <a:t>et combien de temps </a:t>
            </a:r>
            <a:r>
              <a:rPr lang="fr-FR" altLang="zh-CN" kern="0" dirty="0" smtClean="0">
                <a:solidFill>
                  <a:srgbClr val="505050"/>
                </a:solidFill>
                <a:cs typeface="+mn-ea"/>
                <a:sym typeface="+mn-lt"/>
              </a:rPr>
              <a:t>les clients sont restés pour </a:t>
            </a:r>
            <a:r>
              <a:rPr lang="fr-FR" altLang="zh-CN" kern="0" dirty="0">
                <a:solidFill>
                  <a:srgbClr val="505050"/>
                </a:solidFill>
                <a:cs typeface="+mn-ea"/>
                <a:sym typeface="+mn-lt"/>
              </a:rPr>
              <a:t>les différents </a:t>
            </a:r>
            <a:r>
              <a:rPr lang="fr-FR" altLang="zh-CN" kern="0" dirty="0" smtClean="0">
                <a:solidFill>
                  <a:srgbClr val="505050"/>
                </a:solidFill>
                <a:cs typeface="+mn-ea"/>
                <a:sym typeface="+mn-lt"/>
              </a:rPr>
              <a:t>produits.</a:t>
            </a:r>
          </a:p>
          <a:p>
            <a:pPr>
              <a:defRPr/>
            </a:pPr>
            <a:endParaRPr lang="fr-FR" altLang="zh-CN" kern="0" dirty="0" smtClean="0">
              <a:solidFill>
                <a:srgbClr val="505050"/>
              </a:solidFill>
              <a:cs typeface="+mn-ea"/>
              <a:sym typeface="+mn-lt"/>
            </a:endParaRPr>
          </a:p>
          <a:p>
            <a:pPr>
              <a:defRPr/>
            </a:pPr>
            <a:r>
              <a:rPr lang="fr-FR" altLang="zh-CN" kern="0" dirty="0" smtClean="0">
                <a:solidFill>
                  <a:srgbClr val="505050"/>
                </a:solidFill>
                <a:cs typeface="+mn-ea"/>
                <a:sym typeface="+mn-lt"/>
              </a:rPr>
              <a:t>MARCHANDISING – Amélioration des ventes</a:t>
            </a:r>
            <a:endParaRPr lang="en-US" altLang="zh-CN" dirty="0">
              <a:cs typeface="+mn-ea"/>
              <a:sym typeface="+mn-lt"/>
            </a:endParaRPr>
          </a:p>
        </p:txBody>
      </p:sp>
      <p:pic>
        <p:nvPicPr>
          <p:cNvPr id="3" name="图片 2"/>
          <p:cNvPicPr>
            <a:picLocks noChangeAspect="1"/>
          </p:cNvPicPr>
          <p:nvPr/>
        </p:nvPicPr>
        <p:blipFill>
          <a:blip r:embed="rId3"/>
          <a:stretch>
            <a:fillRect/>
          </a:stretch>
        </p:blipFill>
        <p:spPr>
          <a:xfrm>
            <a:off x="948100" y="1583248"/>
            <a:ext cx="4442729" cy="3792446"/>
          </a:xfrm>
          <a:prstGeom prst="rect">
            <a:avLst/>
          </a:prstGeom>
        </p:spPr>
      </p:pic>
      <p:pic>
        <p:nvPicPr>
          <p:cNvPr id="9" name="图片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97182" y="3342736"/>
            <a:ext cx="5004634" cy="3812832"/>
          </a:xfrm>
          <a:prstGeom prst="rect">
            <a:avLst/>
          </a:prstGeom>
        </p:spPr>
      </p:pic>
      <p:pic>
        <p:nvPicPr>
          <p:cNvPr id="13" name="图片 12"/>
          <p:cNvPicPr>
            <a:picLocks noChangeAspect="1"/>
          </p:cNvPicPr>
          <p:nvPr/>
        </p:nvPicPr>
        <p:blipFill>
          <a:blip r:embed="rId5"/>
          <a:stretch>
            <a:fillRect/>
          </a:stretch>
        </p:blipFill>
        <p:spPr>
          <a:xfrm>
            <a:off x="7333831" y="3479471"/>
            <a:ext cx="4867985" cy="2743170"/>
          </a:xfrm>
          <a:prstGeom prst="rect">
            <a:avLst/>
          </a:prstGeom>
        </p:spPr>
      </p:pic>
      <p:sp>
        <p:nvSpPr>
          <p:cNvPr id="15" name="椭圆 14"/>
          <p:cNvSpPr/>
          <p:nvPr/>
        </p:nvSpPr>
        <p:spPr bwMode="auto">
          <a:xfrm>
            <a:off x="4865353" y="2667216"/>
            <a:ext cx="1182855" cy="1090750"/>
          </a:xfrm>
          <a:prstGeom prst="ellipse">
            <a:avLst/>
          </a:prstGeom>
          <a:solidFill>
            <a:schemeClr val="bg1">
              <a:lumMod val="95000"/>
            </a:scheme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cxnSp>
        <p:nvCxnSpPr>
          <p:cNvPr id="16" name="肘形连接符 15"/>
          <p:cNvCxnSpPr>
            <a:stCxn id="17" idx="3"/>
          </p:cNvCxnSpPr>
          <p:nvPr/>
        </p:nvCxnSpPr>
        <p:spPr>
          <a:xfrm>
            <a:off x="6069341" y="3169182"/>
            <a:ext cx="1334113" cy="1327977"/>
          </a:xfrm>
          <a:prstGeom prst="bentConnector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5253" b="93360" l="3003" r="96321">
                        <a14:foregroundMark x1="69144" y1="21110" x2="69144" y2="21110"/>
                      </a14:backgroundRemoval>
                    </a14:imgEffect>
                  </a14:imgLayer>
                </a14:imgProps>
              </a:ext>
            </a:extLst>
          </a:blip>
          <a:srcRect/>
          <a:stretch>
            <a:fillRect/>
          </a:stretch>
        </p:blipFill>
        <p:spPr bwMode="auto">
          <a:xfrm>
            <a:off x="4844221" y="2870186"/>
            <a:ext cx="1225120" cy="597991"/>
          </a:xfrm>
          <a:prstGeom prst="rect">
            <a:avLst/>
          </a:prstGeom>
          <a:noFill/>
          <a:ln>
            <a:no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标题 1">
            <a:extLst>
              <a:ext uri="{FF2B5EF4-FFF2-40B4-BE49-F238E27FC236}">
                <a16:creationId xmlns:a16="http://schemas.microsoft.com/office/drawing/2014/main" id="{61172866-42F2-40A4-8913-79326CDFD84D}"/>
              </a:ext>
            </a:extLst>
          </p:cNvPr>
          <p:cNvSpPr>
            <a:spLocks noGrp="1"/>
          </p:cNvSpPr>
          <p:nvPr>
            <p:ph type="title"/>
          </p:nvPr>
        </p:nvSpPr>
        <p:spPr>
          <a:xfrm>
            <a:off x="261901" y="286492"/>
            <a:ext cx="11908632" cy="946413"/>
          </a:xfrm>
        </p:spPr>
        <p:txBody>
          <a:bodyPr/>
          <a:lstStyle/>
          <a:p>
            <a:r>
              <a:rPr lang="en-US" altLang="zh-CN" dirty="0" err="1">
                <a:latin typeface="+mn-lt"/>
                <a:cs typeface="+mn-ea"/>
                <a:sym typeface="+mn-lt"/>
              </a:rPr>
              <a:t>Analyse</a:t>
            </a:r>
            <a:r>
              <a:rPr lang="en-US" altLang="zh-CN" dirty="0">
                <a:latin typeface="+mn-lt"/>
                <a:cs typeface="+mn-ea"/>
                <a:sym typeface="+mn-lt"/>
              </a:rPr>
              <a:t> </a:t>
            </a:r>
            <a:r>
              <a:rPr lang="en-US" altLang="zh-CN" dirty="0" err="1">
                <a:latin typeface="+mn-lt"/>
                <a:cs typeface="+mn-ea"/>
                <a:sym typeface="+mn-lt"/>
              </a:rPr>
              <a:t>intérieure</a:t>
            </a:r>
            <a:r>
              <a:rPr lang="en-US" altLang="zh-CN" dirty="0">
                <a:latin typeface="+mn-lt"/>
                <a:cs typeface="+mn-ea"/>
                <a:sym typeface="+mn-lt"/>
              </a:rPr>
              <a:t> | </a:t>
            </a:r>
            <a:r>
              <a:rPr lang="en-US" altLang="zh-CN" sz="3600" dirty="0">
                <a:latin typeface="+mn-lt"/>
                <a:cs typeface="+mn-ea"/>
                <a:sym typeface="+mn-lt"/>
              </a:rPr>
              <a:t>Aperçu des </a:t>
            </a:r>
            <a:r>
              <a:rPr lang="en-US" altLang="zh-CN" sz="3600" dirty="0" err="1">
                <a:latin typeface="+mn-lt"/>
                <a:cs typeface="+mn-ea"/>
                <a:sym typeface="+mn-lt"/>
              </a:rPr>
              <a:t>marchandises</a:t>
            </a:r>
            <a:endParaRPr lang="zh-CN" altLang="en-US" dirty="0">
              <a:latin typeface="+mn-lt"/>
              <a:cs typeface="+mn-ea"/>
              <a:sym typeface="+mn-lt"/>
            </a:endParaRPr>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err="1"/>
              <a:t>Tendance</a:t>
            </a:r>
            <a:r>
              <a:rPr lang="en-US" altLang="zh-CN" dirty="0"/>
              <a:t> des flux clients</a:t>
            </a:r>
            <a:endParaRPr lang="zh-CN" altLang="en-US" dirty="0"/>
          </a:p>
        </p:txBody>
      </p:sp>
      <p:sp>
        <p:nvSpPr>
          <p:cNvPr id="8" name="矩形 7"/>
          <p:cNvSpPr/>
          <p:nvPr/>
        </p:nvSpPr>
        <p:spPr>
          <a:xfrm>
            <a:off x="547666" y="1194690"/>
            <a:ext cx="11338436" cy="1169551"/>
          </a:xfrm>
          <a:prstGeom prst="rect">
            <a:avLst/>
          </a:prstGeom>
        </p:spPr>
        <p:txBody>
          <a:bodyPr wrap="square">
            <a:spAutoFit/>
          </a:bodyPr>
          <a:lstStyle/>
          <a:p>
            <a:pPr algn="just"/>
            <a:r>
              <a:rPr lang="fr-FR" altLang="zh-CN" sz="1400" dirty="0">
                <a:solidFill>
                  <a:srgbClr val="222222"/>
                </a:solidFill>
                <a:latin typeface="Century Gothic" panose="020B0502020202020204" pitchFamily="34" charset="0"/>
              </a:rPr>
              <a:t>Dahua Business Intelligence aide les commerciaux, ainsi que les partenaires qui les soutiennent, à optimiser et à innover à chaque étape du parcours client.</a:t>
            </a:r>
          </a:p>
          <a:p>
            <a:pPr algn="just"/>
            <a:r>
              <a:rPr lang="fr-FR" altLang="zh-CN" sz="1400" dirty="0">
                <a:solidFill>
                  <a:srgbClr val="222222"/>
                </a:solidFill>
                <a:latin typeface="Century Gothic" panose="020B0502020202020204" pitchFamily="34" charset="0"/>
              </a:rPr>
              <a:t>Les cartes thermiques et les mouvements des acheteurs fournissent des informations exploitables qui permettent aux </a:t>
            </a:r>
            <a:r>
              <a:rPr lang="fr-FR" altLang="zh-CN" sz="1400" dirty="0" smtClean="0">
                <a:solidFill>
                  <a:srgbClr val="222222"/>
                </a:solidFill>
                <a:latin typeface="Century Gothic" panose="020B0502020202020204" pitchFamily="34" charset="0"/>
              </a:rPr>
              <a:t>commerçants </a:t>
            </a:r>
            <a:r>
              <a:rPr lang="fr-FR" altLang="zh-CN" sz="1400" dirty="0">
                <a:solidFill>
                  <a:srgbClr val="222222"/>
                </a:solidFill>
                <a:latin typeface="Century Gothic" panose="020B0502020202020204" pitchFamily="34" charset="0"/>
              </a:rPr>
              <a:t>d'optimiser la circulation des </a:t>
            </a:r>
            <a:r>
              <a:rPr lang="fr-FR" altLang="zh-CN" sz="1400" dirty="0" smtClean="0">
                <a:solidFill>
                  <a:srgbClr val="222222"/>
                </a:solidFill>
                <a:latin typeface="Century Gothic" panose="020B0502020202020204" pitchFamily="34" charset="0"/>
              </a:rPr>
              <a:t>zones attractives , l'agencement, </a:t>
            </a:r>
            <a:r>
              <a:rPr lang="fr-FR" altLang="zh-CN" sz="1400" dirty="0">
                <a:solidFill>
                  <a:srgbClr val="222222"/>
                </a:solidFill>
                <a:latin typeface="Century Gothic" panose="020B0502020202020204" pitchFamily="34" charset="0"/>
              </a:rPr>
              <a:t>les prix, le marchandisage et la gestion des stocks afin de mieux </a:t>
            </a:r>
            <a:r>
              <a:rPr lang="fr-FR" altLang="zh-CN" sz="1400" dirty="0" smtClean="0">
                <a:solidFill>
                  <a:srgbClr val="222222"/>
                </a:solidFill>
                <a:latin typeface="Century Gothic" panose="020B0502020202020204" pitchFamily="34" charset="0"/>
              </a:rPr>
              <a:t>vendre .</a:t>
            </a:r>
            <a:endParaRPr lang="zh-CN" altLang="en-US" sz="1400" dirty="0">
              <a:solidFill>
                <a:srgbClr val="222222"/>
              </a:solidFill>
              <a:latin typeface="Century Gothic" panose="020B0502020202020204" pitchFamily="34" charset="0"/>
            </a:endParaRPr>
          </a:p>
        </p:txBody>
      </p:sp>
      <p:pic>
        <p:nvPicPr>
          <p:cNvPr id="9" name="图片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35359" y="2455144"/>
            <a:ext cx="5423562" cy="4059605"/>
          </a:xfrm>
          <a:prstGeom prst="rect">
            <a:avLst/>
          </a:prstGeom>
          <a:ln>
            <a:noFill/>
          </a:ln>
          <a:effectLst>
            <a:outerShdw blurRad="190500" algn="tl" rotWithShape="0">
              <a:srgbClr val="000000">
                <a:alpha val="70000"/>
              </a:srgbClr>
            </a:outerShdw>
          </a:effectLst>
        </p:spPr>
      </p:pic>
      <p:pic>
        <p:nvPicPr>
          <p:cNvPr id="10" name="Picture 2" descr="“heat map mall”的图片搜索结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214" y="2490362"/>
            <a:ext cx="3076744" cy="176317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2" name="虚尾箭头 11"/>
          <p:cNvSpPr/>
          <p:nvPr/>
        </p:nvSpPr>
        <p:spPr bwMode="auto">
          <a:xfrm>
            <a:off x="4378501" y="3006924"/>
            <a:ext cx="1371585" cy="914390"/>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13" name="虚尾箭头 12"/>
          <p:cNvSpPr/>
          <p:nvPr/>
        </p:nvSpPr>
        <p:spPr bwMode="auto">
          <a:xfrm>
            <a:off x="4378501" y="5146120"/>
            <a:ext cx="1371585" cy="914390"/>
          </a:xfrm>
          <a:prstGeom prst="striped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14" name="Straight Connector 10"/>
          <p:cNvCxnSpPr/>
          <p:nvPr/>
        </p:nvCxnSpPr>
        <p:spPr>
          <a:xfrm flipH="1">
            <a:off x="366141" y="2308555"/>
            <a:ext cx="11701486" cy="0"/>
          </a:xfrm>
          <a:prstGeom prst="line">
            <a:avLst/>
          </a:prstGeom>
          <a:ln w="127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484" y="4495345"/>
            <a:ext cx="3076744" cy="2019404"/>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1519909" y="5051725"/>
            <a:ext cx="9418217" cy="1800493"/>
          </a:xfrm>
          <a:prstGeom prst="rect">
            <a:avLst/>
          </a:prstGeom>
        </p:spPr>
        <p:txBody>
          <a:bodyPr wrap="square">
            <a:spAutoFit/>
          </a:bodyPr>
          <a:lstStyle/>
          <a:p>
            <a:pPr>
              <a:lnSpc>
                <a:spcPct val="150000"/>
              </a:lnSpc>
            </a:pPr>
            <a:r>
              <a:rPr lang="en-US" altLang="zh-CN" sz="2000" b="1" dirty="0">
                <a:cs typeface="+mn-ea"/>
                <a:sym typeface="+mn-lt"/>
              </a:rPr>
              <a:t>Marketing </a:t>
            </a:r>
            <a:r>
              <a:rPr lang="en-US" altLang="zh-CN" sz="2000" b="1" dirty="0" err="1">
                <a:cs typeface="+mn-ea"/>
                <a:sym typeface="+mn-lt"/>
              </a:rPr>
              <a:t>ciblé</a:t>
            </a:r>
            <a:endParaRPr lang="en-US" altLang="zh-CN" sz="2000" b="1" dirty="0">
              <a:cs typeface="+mn-ea"/>
              <a:sym typeface="+mn-lt"/>
            </a:endParaRPr>
          </a:p>
          <a:p>
            <a:pPr>
              <a:lnSpc>
                <a:spcPct val="150000"/>
              </a:lnSpc>
            </a:pPr>
            <a:r>
              <a:rPr lang="fr-FR" altLang="zh-CN" dirty="0">
                <a:cs typeface="+mn-ea"/>
                <a:sym typeface="+mn-lt"/>
              </a:rPr>
              <a:t>Faites </a:t>
            </a:r>
            <a:r>
              <a:rPr lang="fr-FR" altLang="zh-CN" dirty="0" smtClean="0">
                <a:cs typeface="+mn-ea"/>
                <a:sym typeface="+mn-lt"/>
              </a:rPr>
              <a:t>de la publicité </a:t>
            </a:r>
            <a:r>
              <a:rPr lang="fr-FR" altLang="zh-CN" dirty="0">
                <a:cs typeface="+mn-ea"/>
                <a:sym typeface="+mn-lt"/>
              </a:rPr>
              <a:t>de produits auprès de vos </a:t>
            </a:r>
            <a:r>
              <a:rPr lang="fr-FR" altLang="zh-CN" dirty="0" smtClean="0">
                <a:cs typeface="+mn-ea"/>
                <a:sym typeface="+mn-lt"/>
              </a:rPr>
              <a:t>clients </a:t>
            </a:r>
            <a:r>
              <a:rPr lang="fr-FR" altLang="zh-CN" dirty="0">
                <a:cs typeface="+mn-ea"/>
                <a:sym typeface="+mn-lt"/>
              </a:rPr>
              <a:t>sur les afficheurs en fonction de leurs caractéristiques telles </a:t>
            </a:r>
            <a:r>
              <a:rPr lang="fr-FR" altLang="zh-CN" dirty="0" smtClean="0">
                <a:cs typeface="+mn-ea"/>
                <a:sym typeface="+mn-lt"/>
              </a:rPr>
              <a:t>que le genre, l'âge moyen, pour en </a:t>
            </a:r>
            <a:r>
              <a:rPr lang="fr-FR" altLang="zh-CN" dirty="0">
                <a:cs typeface="+mn-ea"/>
                <a:sym typeface="+mn-lt"/>
              </a:rPr>
              <a:t>augmenter </a:t>
            </a:r>
            <a:r>
              <a:rPr lang="fr-FR" altLang="zh-CN" dirty="0" smtClean="0">
                <a:cs typeface="+mn-ea"/>
                <a:sym typeface="+mn-lt"/>
              </a:rPr>
              <a:t>l'efficacité. </a:t>
            </a:r>
            <a:endParaRPr lang="zh-CN" altLang="zh-CN" dirty="0">
              <a:cs typeface="+mn-ea"/>
              <a:sym typeface="+mn-lt"/>
            </a:endParaRPr>
          </a:p>
        </p:txBody>
      </p:sp>
      <p:sp>
        <p:nvSpPr>
          <p:cNvPr id="17" name="标题 1"/>
          <p:cNvSpPr txBox="1"/>
          <p:nvPr/>
        </p:nvSpPr>
        <p:spPr>
          <a:xfrm>
            <a:off x="183263" y="211945"/>
            <a:ext cx="12091511" cy="946413"/>
          </a:xfrm>
          <a:prstGeom prst="rect">
            <a:avLst/>
          </a:prstGeom>
        </p:spPr>
        <p:txBody>
          <a:bodyPr vert="horz" wrap="square" lIns="146304" tIns="91440" rIns="146304" bIns="91440" rtlCol="0" anchor="t">
            <a:no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a:cs typeface="+mn-ea"/>
                <a:sym typeface="+mn-lt"/>
              </a:rPr>
              <a:t>Zone </a:t>
            </a:r>
            <a:r>
              <a:rPr lang="en-US" altLang="zh-CN" dirty="0" err="1">
                <a:cs typeface="+mn-ea"/>
                <a:sym typeface="+mn-lt"/>
              </a:rPr>
              <a:t>d'achat</a:t>
            </a:r>
            <a:r>
              <a:rPr lang="en-US" altLang="zh-CN" dirty="0">
                <a:cs typeface="+mn-ea"/>
                <a:sym typeface="+mn-lt"/>
              </a:rPr>
              <a:t> </a:t>
            </a:r>
            <a:r>
              <a:rPr lang="en-US" altLang="zh-CN" dirty="0">
                <a:latin typeface="+mn-lt"/>
                <a:cs typeface="+mn-ea"/>
                <a:sym typeface="+mn-lt"/>
              </a:rPr>
              <a:t>| </a:t>
            </a:r>
            <a:r>
              <a:rPr lang="en-US" altLang="zh-CN" sz="3600" dirty="0" err="1">
                <a:latin typeface="+mn-lt"/>
                <a:cs typeface="+mn-ea"/>
                <a:sym typeface="+mn-lt"/>
              </a:rPr>
              <a:t>Affichage</a:t>
            </a:r>
            <a:r>
              <a:rPr lang="en-US" altLang="zh-CN" sz="3600" dirty="0">
                <a:latin typeface="+mn-lt"/>
                <a:cs typeface="+mn-ea"/>
                <a:sym typeface="+mn-lt"/>
              </a:rPr>
              <a:t> intelligent</a:t>
            </a:r>
            <a:endParaRPr lang="en-US" altLang="zh-CN" dirty="0">
              <a:latin typeface="+mn-lt"/>
              <a:cs typeface="+mn-ea"/>
              <a:sym typeface="+mn-lt"/>
            </a:endParaRPr>
          </a:p>
        </p:txBody>
      </p:sp>
      <p:pic>
        <p:nvPicPr>
          <p:cNvPr id="19" name="图片 18"/>
          <p:cNvPicPr>
            <a:picLocks noChangeAspect="1"/>
          </p:cNvPicPr>
          <p:nvPr/>
        </p:nvPicPr>
        <p:blipFill>
          <a:blip r:embed="rId4"/>
          <a:stretch>
            <a:fillRect/>
          </a:stretch>
        </p:blipFill>
        <p:spPr>
          <a:xfrm>
            <a:off x="7498383" y="1608605"/>
            <a:ext cx="2364891" cy="3318495"/>
          </a:xfrm>
          <a:prstGeom prst="rect">
            <a:avLst/>
          </a:prstGeom>
          <a:effectLst>
            <a:glow rad="63500">
              <a:schemeClr val="accent1">
                <a:satMod val="175000"/>
                <a:alpha val="40000"/>
              </a:schemeClr>
            </a:glow>
          </a:effectLst>
        </p:spPr>
      </p:pic>
      <p:pic>
        <p:nvPicPr>
          <p:cNvPr id="20" name="图片 19"/>
          <p:cNvPicPr>
            <a:picLocks noChangeAspect="1"/>
          </p:cNvPicPr>
          <p:nvPr/>
        </p:nvPicPr>
        <p:blipFill>
          <a:blip r:embed="rId5"/>
          <a:stretch>
            <a:fillRect/>
          </a:stretch>
        </p:blipFill>
        <p:spPr>
          <a:xfrm>
            <a:off x="2194921" y="1624996"/>
            <a:ext cx="2703671" cy="3285711"/>
          </a:xfrm>
          <a:prstGeom prst="rect">
            <a:avLst/>
          </a:prstGeom>
          <a:effectLst>
            <a:glow rad="63500">
              <a:schemeClr val="accent1">
                <a:satMod val="175000"/>
                <a:alpha val="40000"/>
              </a:schemeClr>
            </a:glow>
          </a:effectLst>
        </p:spPr>
      </p:pic>
    </p:spTree>
    <p:custDataLst>
      <p:tags r:id="rId1"/>
    </p:custData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2"/>
          <p:cNvSpPr txBox="1"/>
          <p:nvPr/>
        </p:nvSpPr>
        <p:spPr>
          <a:xfrm>
            <a:off x="3133697" y="1403929"/>
            <a:ext cx="3654350" cy="495731"/>
          </a:xfrm>
          <a:prstGeom prst="rect">
            <a:avLst/>
          </a:prstGeom>
        </p:spPr>
        <p:txBody>
          <a:bodyPr vert="horz" lIns="67231" tIns="33615" rIns="67231" bIns="33615"/>
          <a:lstStyle>
            <a:lvl1pPr marL="0" indent="0" algn="l" defTabSz="609600" rtl="0" eaLnBrk="1" latinLnBrk="0" hangingPunct="1">
              <a:spcBef>
                <a:spcPct val="20000"/>
              </a:spcBef>
              <a:buFont typeface="Arial" panose="020B0604020202020204"/>
              <a:buNone/>
              <a:defRPr sz="2400" b="1" kern="1200">
                <a:solidFill>
                  <a:srgbClr val="133C65"/>
                </a:solidFill>
                <a:latin typeface="+mn-lt"/>
                <a:ea typeface="+mn-ea"/>
                <a:cs typeface="+mn-cs"/>
              </a:defRPr>
            </a:lvl1pPr>
            <a:lvl2pPr marL="990600" indent="-381000" algn="l" defTabSz="609600" rtl="0" eaLnBrk="1" latinLnBrk="0" hangingPunct="1">
              <a:spcBef>
                <a:spcPct val="20000"/>
              </a:spcBef>
              <a:buFont typeface="Arial" panose="020B0604020202020204"/>
              <a:buChar char="–"/>
              <a:defRPr sz="3735" kern="1200">
                <a:solidFill>
                  <a:schemeClr val="tx1"/>
                </a:solidFill>
                <a:latin typeface="+mn-lt"/>
                <a:ea typeface="+mn-ea"/>
                <a:cs typeface="+mn-cs"/>
              </a:defRPr>
            </a:lvl2pPr>
            <a:lvl3pPr marL="1524000" indent="-304800" algn="l" defTabSz="609600" rtl="0" eaLnBrk="1" latinLnBrk="0" hangingPunct="1">
              <a:spcBef>
                <a:spcPct val="20000"/>
              </a:spcBef>
              <a:buFont typeface="Arial" panose="020B0604020202020204"/>
              <a:buChar char="•"/>
              <a:defRPr sz="3200" kern="1200">
                <a:solidFill>
                  <a:schemeClr val="tx1"/>
                </a:solidFill>
                <a:latin typeface="+mn-lt"/>
                <a:ea typeface="+mn-ea"/>
                <a:cs typeface="+mn-cs"/>
              </a:defRPr>
            </a:lvl3pPr>
            <a:lvl4pPr marL="21336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4pPr>
            <a:lvl5pPr marL="27432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5pPr>
            <a:lvl6pPr marL="33528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6pPr>
            <a:lvl7pPr marL="39624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7pPr>
            <a:lvl8pPr marL="45720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8pPr>
            <a:lvl9pPr marL="5181600" indent="-304800" algn="l" defTabSz="609600" rtl="0" eaLnBrk="1" latinLnBrk="0" hangingPunct="1">
              <a:spcBef>
                <a:spcPct val="20000"/>
              </a:spcBef>
              <a:buFont typeface="Arial" panose="020B0604020202020204"/>
              <a:buChar char="•"/>
              <a:defRPr sz="2665" kern="1200">
                <a:solidFill>
                  <a:schemeClr val="tx1"/>
                </a:solidFill>
                <a:latin typeface="+mn-lt"/>
                <a:ea typeface="+mn-ea"/>
                <a:cs typeface="+mn-cs"/>
              </a:defRPr>
            </a:lvl9pPr>
          </a:lstStyle>
          <a:p>
            <a:endParaRPr kumimoji="1" lang="en-US" altLang="zh-CN" sz="2550" dirty="0">
              <a:solidFill>
                <a:prstClr val="black">
                  <a:lumMod val="95000"/>
                  <a:lumOff val="5000"/>
                </a:prstClr>
              </a:solidFill>
              <a:cs typeface="+mn-ea"/>
              <a:sym typeface="+mn-lt"/>
            </a:endParaRPr>
          </a:p>
        </p:txBody>
      </p:sp>
      <p:pic>
        <p:nvPicPr>
          <p:cNvPr id="21" name="图片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93971" y="5030815"/>
            <a:ext cx="1100913" cy="77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组合 26"/>
          <p:cNvGrpSpPr/>
          <p:nvPr/>
        </p:nvGrpSpPr>
        <p:grpSpPr>
          <a:xfrm>
            <a:off x="456661" y="1343630"/>
            <a:ext cx="2677036" cy="5432118"/>
            <a:chOff x="261137" y="1317402"/>
            <a:chExt cx="2624781" cy="5326089"/>
          </a:xfrm>
        </p:grpSpPr>
        <p:sp>
          <p:nvSpPr>
            <p:cNvPr id="28" name="KSO_Shape"/>
            <p:cNvSpPr/>
            <p:nvPr/>
          </p:nvSpPr>
          <p:spPr bwMode="auto">
            <a:xfrm>
              <a:off x="576059" y="2969219"/>
              <a:ext cx="1161312" cy="1047116"/>
            </a:xfrm>
            <a:custGeom>
              <a:avLst/>
              <a:gdLst>
                <a:gd name="T0" fmla="*/ 2147483646 w 6057"/>
                <a:gd name="T1" fmla="*/ 2147483646 h 5454"/>
                <a:gd name="T2" fmla="*/ 0 w 6057"/>
                <a:gd name="T3" fmla="*/ 2147483646 h 5454"/>
                <a:gd name="T4" fmla="*/ 0 w 6057"/>
                <a:gd name="T5" fmla="*/ 2147483646 h 5454"/>
                <a:gd name="T6" fmla="*/ 2147483646 w 6057"/>
                <a:gd name="T7" fmla="*/ 2147483646 h 5454"/>
                <a:gd name="T8" fmla="*/ 2147483646 w 6057"/>
                <a:gd name="T9" fmla="*/ 2147483646 h 5454"/>
                <a:gd name="T10" fmla="*/ 2147483646 w 6057"/>
                <a:gd name="T11" fmla="*/ 2147483646 h 5454"/>
                <a:gd name="T12" fmla="*/ 2147483646 w 6057"/>
                <a:gd name="T13" fmla="*/ 2147483646 h 5454"/>
                <a:gd name="T14" fmla="*/ 2147483646 w 6057"/>
                <a:gd name="T15" fmla="*/ 2147483646 h 5454"/>
                <a:gd name="T16" fmla="*/ 2147483646 w 6057"/>
                <a:gd name="T17" fmla="*/ 2147483646 h 5454"/>
                <a:gd name="T18" fmla="*/ 2147483646 w 6057"/>
                <a:gd name="T19" fmla="*/ 2147483646 h 5454"/>
                <a:gd name="T20" fmla="*/ 2147483646 w 6057"/>
                <a:gd name="T21" fmla="*/ 2147483646 h 5454"/>
                <a:gd name="T22" fmla="*/ 2147483646 w 6057"/>
                <a:gd name="T23" fmla="*/ 2147483646 h 5454"/>
                <a:gd name="T24" fmla="*/ 2147483646 w 6057"/>
                <a:gd name="T25" fmla="*/ 2147483646 h 5454"/>
                <a:gd name="T26" fmla="*/ 2147483646 w 6057"/>
                <a:gd name="T27" fmla="*/ 2147483646 h 5454"/>
                <a:gd name="T28" fmla="*/ 2147483646 w 6057"/>
                <a:gd name="T29" fmla="*/ 2147483646 h 5454"/>
                <a:gd name="T30" fmla="*/ 2147483646 w 6057"/>
                <a:gd name="T31" fmla="*/ 2147483646 h 5454"/>
                <a:gd name="T32" fmla="*/ 2147483646 w 6057"/>
                <a:gd name="T33" fmla="*/ 2147483646 h 5454"/>
                <a:gd name="T34" fmla="*/ 2147483646 w 6057"/>
                <a:gd name="T35" fmla="*/ 2147483646 h 5454"/>
                <a:gd name="T36" fmla="*/ 2147483646 w 6057"/>
                <a:gd name="T37" fmla="*/ 2147483646 h 5454"/>
                <a:gd name="T38" fmla="*/ 2147483646 w 6057"/>
                <a:gd name="T39" fmla="*/ 2147483646 h 5454"/>
                <a:gd name="T40" fmla="*/ 2147483646 w 6057"/>
                <a:gd name="T41" fmla="*/ 2147483646 h 5454"/>
                <a:gd name="T42" fmla="*/ 2147483646 w 6057"/>
                <a:gd name="T43" fmla="*/ 2147483646 h 5454"/>
                <a:gd name="T44" fmla="*/ 2147483646 w 6057"/>
                <a:gd name="T45" fmla="*/ 2147483646 h 5454"/>
                <a:gd name="T46" fmla="*/ 2147483646 w 6057"/>
                <a:gd name="T47" fmla="*/ 2147483646 h 5454"/>
                <a:gd name="T48" fmla="*/ 2147483646 w 6057"/>
                <a:gd name="T49" fmla="*/ 2147483646 h 5454"/>
                <a:gd name="T50" fmla="*/ 2147483646 w 6057"/>
                <a:gd name="T51" fmla="*/ 2147483646 h 5454"/>
                <a:gd name="T52" fmla="*/ 2147483646 w 6057"/>
                <a:gd name="T53" fmla="*/ 2147483646 h 5454"/>
                <a:gd name="T54" fmla="*/ 2147483646 w 6057"/>
                <a:gd name="T55" fmla="*/ 2147483646 h 5454"/>
                <a:gd name="T56" fmla="*/ 2147483646 w 6057"/>
                <a:gd name="T57" fmla="*/ 2147483646 h 5454"/>
                <a:gd name="T58" fmla="*/ 2147483646 w 6057"/>
                <a:gd name="T59" fmla="*/ 2147483646 h 5454"/>
                <a:gd name="T60" fmla="*/ 2147483646 w 6057"/>
                <a:gd name="T61" fmla="*/ 2147483646 h 5454"/>
                <a:gd name="T62" fmla="*/ 2147483646 w 6057"/>
                <a:gd name="T63" fmla="*/ 2147483646 h 5454"/>
                <a:gd name="T64" fmla="*/ 2147483646 w 6057"/>
                <a:gd name="T65" fmla="*/ 2147483646 h 5454"/>
                <a:gd name="T66" fmla="*/ 2147483646 w 6057"/>
                <a:gd name="T67" fmla="*/ 2147483646 h 5454"/>
                <a:gd name="T68" fmla="*/ 2147483646 w 6057"/>
                <a:gd name="T69" fmla="*/ 2147483646 h 5454"/>
                <a:gd name="T70" fmla="*/ 2147483646 w 6057"/>
                <a:gd name="T71" fmla="*/ 2147483646 h 5454"/>
                <a:gd name="T72" fmla="*/ 2147483646 w 6057"/>
                <a:gd name="T73" fmla="*/ 2147483646 h 5454"/>
                <a:gd name="T74" fmla="*/ 2147483646 w 6057"/>
                <a:gd name="T75" fmla="*/ 2147483646 h 5454"/>
                <a:gd name="T76" fmla="*/ 2147483646 w 6057"/>
                <a:gd name="T77" fmla="*/ 0 h 5454"/>
                <a:gd name="T78" fmla="*/ 2147483646 w 6057"/>
                <a:gd name="T79" fmla="*/ 2147483646 h 54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057" h="5454">
                  <a:moveTo>
                    <a:pt x="0" y="959"/>
                  </a:moveTo>
                  <a:lnTo>
                    <a:pt x="1930" y="1981"/>
                  </a:lnTo>
                  <a:lnTo>
                    <a:pt x="1930" y="5454"/>
                  </a:lnTo>
                  <a:lnTo>
                    <a:pt x="0" y="4432"/>
                  </a:lnTo>
                  <a:lnTo>
                    <a:pt x="0" y="959"/>
                  </a:lnTo>
                  <a:close/>
                  <a:moveTo>
                    <a:pt x="3263" y="849"/>
                  </a:moveTo>
                  <a:lnTo>
                    <a:pt x="3260" y="1196"/>
                  </a:lnTo>
                  <a:lnTo>
                    <a:pt x="3082" y="1115"/>
                  </a:lnTo>
                  <a:lnTo>
                    <a:pt x="3082" y="871"/>
                  </a:lnTo>
                  <a:lnTo>
                    <a:pt x="2883" y="783"/>
                  </a:lnTo>
                  <a:lnTo>
                    <a:pt x="2883" y="1024"/>
                  </a:lnTo>
                  <a:lnTo>
                    <a:pt x="1772" y="520"/>
                  </a:lnTo>
                  <a:lnTo>
                    <a:pt x="269" y="883"/>
                  </a:lnTo>
                  <a:lnTo>
                    <a:pt x="2160" y="1837"/>
                  </a:lnTo>
                  <a:lnTo>
                    <a:pt x="2149" y="5385"/>
                  </a:lnTo>
                  <a:lnTo>
                    <a:pt x="3705" y="4796"/>
                  </a:lnTo>
                  <a:lnTo>
                    <a:pt x="3705" y="4070"/>
                  </a:lnTo>
                  <a:lnTo>
                    <a:pt x="4114" y="3933"/>
                  </a:lnTo>
                  <a:lnTo>
                    <a:pt x="4114" y="4296"/>
                  </a:lnTo>
                  <a:lnTo>
                    <a:pt x="4599" y="4524"/>
                  </a:lnTo>
                  <a:lnTo>
                    <a:pt x="5626" y="4144"/>
                  </a:lnTo>
                  <a:lnTo>
                    <a:pt x="5627" y="4077"/>
                  </a:lnTo>
                  <a:lnTo>
                    <a:pt x="5122" y="3921"/>
                  </a:lnTo>
                  <a:lnTo>
                    <a:pt x="5122" y="3593"/>
                  </a:lnTo>
                  <a:lnTo>
                    <a:pt x="6057" y="3278"/>
                  </a:lnTo>
                  <a:lnTo>
                    <a:pt x="6057" y="95"/>
                  </a:lnTo>
                  <a:lnTo>
                    <a:pt x="3263" y="849"/>
                  </a:lnTo>
                  <a:close/>
                  <a:moveTo>
                    <a:pt x="3705" y="3759"/>
                  </a:moveTo>
                  <a:lnTo>
                    <a:pt x="3705" y="2603"/>
                  </a:lnTo>
                  <a:lnTo>
                    <a:pt x="2433" y="2997"/>
                  </a:lnTo>
                  <a:lnTo>
                    <a:pt x="2433" y="2598"/>
                  </a:lnTo>
                  <a:lnTo>
                    <a:pt x="3705" y="2204"/>
                  </a:lnTo>
                  <a:lnTo>
                    <a:pt x="3705" y="1972"/>
                  </a:lnTo>
                  <a:lnTo>
                    <a:pt x="2433" y="2365"/>
                  </a:lnTo>
                  <a:lnTo>
                    <a:pt x="2433" y="1966"/>
                  </a:lnTo>
                  <a:lnTo>
                    <a:pt x="3705" y="1574"/>
                  </a:lnTo>
                  <a:lnTo>
                    <a:pt x="3705" y="1397"/>
                  </a:lnTo>
                  <a:lnTo>
                    <a:pt x="3614" y="1356"/>
                  </a:lnTo>
                  <a:lnTo>
                    <a:pt x="3617" y="1043"/>
                  </a:lnTo>
                  <a:lnTo>
                    <a:pt x="5797" y="461"/>
                  </a:lnTo>
                  <a:lnTo>
                    <a:pt x="5797" y="3054"/>
                  </a:lnTo>
                  <a:lnTo>
                    <a:pt x="3705" y="3759"/>
                  </a:lnTo>
                  <a:close/>
                  <a:moveTo>
                    <a:pt x="215" y="1434"/>
                  </a:moveTo>
                  <a:lnTo>
                    <a:pt x="215" y="1579"/>
                  </a:lnTo>
                  <a:lnTo>
                    <a:pt x="862" y="1925"/>
                  </a:lnTo>
                  <a:lnTo>
                    <a:pt x="862" y="1780"/>
                  </a:lnTo>
                  <a:lnTo>
                    <a:pt x="215" y="1434"/>
                  </a:lnTo>
                  <a:close/>
                  <a:moveTo>
                    <a:pt x="215" y="1909"/>
                  </a:moveTo>
                  <a:lnTo>
                    <a:pt x="215" y="2053"/>
                  </a:lnTo>
                  <a:lnTo>
                    <a:pt x="862" y="2399"/>
                  </a:lnTo>
                  <a:lnTo>
                    <a:pt x="862" y="2255"/>
                  </a:lnTo>
                  <a:lnTo>
                    <a:pt x="215" y="1909"/>
                  </a:lnTo>
                  <a:close/>
                  <a:moveTo>
                    <a:pt x="215" y="1670"/>
                  </a:moveTo>
                  <a:lnTo>
                    <a:pt x="215" y="1814"/>
                  </a:lnTo>
                  <a:lnTo>
                    <a:pt x="862" y="2160"/>
                  </a:lnTo>
                  <a:lnTo>
                    <a:pt x="862" y="2016"/>
                  </a:lnTo>
                  <a:lnTo>
                    <a:pt x="215" y="1670"/>
                  </a:lnTo>
                  <a:close/>
                  <a:moveTo>
                    <a:pt x="2458" y="3255"/>
                  </a:moveTo>
                  <a:lnTo>
                    <a:pt x="2820" y="3153"/>
                  </a:lnTo>
                  <a:lnTo>
                    <a:pt x="2820" y="3376"/>
                  </a:lnTo>
                  <a:lnTo>
                    <a:pt x="2458" y="3478"/>
                  </a:lnTo>
                  <a:lnTo>
                    <a:pt x="2458" y="3255"/>
                  </a:lnTo>
                  <a:close/>
                  <a:moveTo>
                    <a:pt x="2458" y="3645"/>
                  </a:moveTo>
                  <a:lnTo>
                    <a:pt x="2820" y="3543"/>
                  </a:lnTo>
                  <a:lnTo>
                    <a:pt x="2820" y="3764"/>
                  </a:lnTo>
                  <a:lnTo>
                    <a:pt x="2458" y="3867"/>
                  </a:lnTo>
                  <a:lnTo>
                    <a:pt x="2458" y="3645"/>
                  </a:lnTo>
                  <a:close/>
                  <a:moveTo>
                    <a:pt x="3097" y="793"/>
                  </a:moveTo>
                  <a:lnTo>
                    <a:pt x="2938" y="714"/>
                  </a:lnTo>
                  <a:lnTo>
                    <a:pt x="5774" y="0"/>
                  </a:lnTo>
                  <a:lnTo>
                    <a:pt x="5915" y="61"/>
                  </a:lnTo>
                  <a:lnTo>
                    <a:pt x="3097" y="793"/>
                  </a:lnTo>
                  <a:close/>
                </a:path>
              </a:pathLst>
            </a:custGeom>
            <a:solidFill>
              <a:schemeClr val="tx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931545">
                <a:defRPr/>
              </a:pPr>
              <a:endParaRPr lang="zh-CN" altLang="en-US" sz="1835">
                <a:solidFill>
                  <a:srgbClr val="FFFFFF"/>
                </a:solidFill>
                <a:latin typeface="+mn-lt"/>
                <a:ea typeface="+mn-ea"/>
                <a:cs typeface="+mn-ea"/>
                <a:sym typeface="+mn-lt"/>
              </a:endParaRPr>
            </a:p>
          </p:txBody>
        </p:sp>
        <p:sp>
          <p:nvSpPr>
            <p:cNvPr id="40" name="KSO_Shape"/>
            <p:cNvSpPr/>
            <p:nvPr/>
          </p:nvSpPr>
          <p:spPr bwMode="auto">
            <a:xfrm>
              <a:off x="576059" y="1768959"/>
              <a:ext cx="1161312" cy="1047116"/>
            </a:xfrm>
            <a:custGeom>
              <a:avLst/>
              <a:gdLst>
                <a:gd name="T0" fmla="*/ 2147483646 w 6057"/>
                <a:gd name="T1" fmla="*/ 2147483646 h 5454"/>
                <a:gd name="T2" fmla="*/ 0 w 6057"/>
                <a:gd name="T3" fmla="*/ 2147483646 h 5454"/>
                <a:gd name="T4" fmla="*/ 0 w 6057"/>
                <a:gd name="T5" fmla="*/ 2147483646 h 5454"/>
                <a:gd name="T6" fmla="*/ 2147483646 w 6057"/>
                <a:gd name="T7" fmla="*/ 2147483646 h 5454"/>
                <a:gd name="T8" fmla="*/ 2147483646 w 6057"/>
                <a:gd name="T9" fmla="*/ 2147483646 h 5454"/>
                <a:gd name="T10" fmla="*/ 2147483646 w 6057"/>
                <a:gd name="T11" fmla="*/ 2147483646 h 5454"/>
                <a:gd name="T12" fmla="*/ 2147483646 w 6057"/>
                <a:gd name="T13" fmla="*/ 2147483646 h 5454"/>
                <a:gd name="T14" fmla="*/ 2147483646 w 6057"/>
                <a:gd name="T15" fmla="*/ 2147483646 h 5454"/>
                <a:gd name="T16" fmla="*/ 2147483646 w 6057"/>
                <a:gd name="T17" fmla="*/ 2147483646 h 5454"/>
                <a:gd name="T18" fmla="*/ 2147483646 w 6057"/>
                <a:gd name="T19" fmla="*/ 2147483646 h 5454"/>
                <a:gd name="T20" fmla="*/ 2147483646 w 6057"/>
                <a:gd name="T21" fmla="*/ 2147483646 h 5454"/>
                <a:gd name="T22" fmla="*/ 2147483646 w 6057"/>
                <a:gd name="T23" fmla="*/ 2147483646 h 5454"/>
                <a:gd name="T24" fmla="*/ 2147483646 w 6057"/>
                <a:gd name="T25" fmla="*/ 2147483646 h 5454"/>
                <a:gd name="T26" fmla="*/ 2147483646 w 6057"/>
                <a:gd name="T27" fmla="*/ 2147483646 h 5454"/>
                <a:gd name="T28" fmla="*/ 2147483646 w 6057"/>
                <a:gd name="T29" fmla="*/ 2147483646 h 5454"/>
                <a:gd name="T30" fmla="*/ 2147483646 w 6057"/>
                <a:gd name="T31" fmla="*/ 2147483646 h 5454"/>
                <a:gd name="T32" fmla="*/ 2147483646 w 6057"/>
                <a:gd name="T33" fmla="*/ 2147483646 h 5454"/>
                <a:gd name="T34" fmla="*/ 2147483646 w 6057"/>
                <a:gd name="T35" fmla="*/ 2147483646 h 5454"/>
                <a:gd name="T36" fmla="*/ 2147483646 w 6057"/>
                <a:gd name="T37" fmla="*/ 2147483646 h 5454"/>
                <a:gd name="T38" fmla="*/ 2147483646 w 6057"/>
                <a:gd name="T39" fmla="*/ 2147483646 h 5454"/>
                <a:gd name="T40" fmla="*/ 2147483646 w 6057"/>
                <a:gd name="T41" fmla="*/ 2147483646 h 5454"/>
                <a:gd name="T42" fmla="*/ 2147483646 w 6057"/>
                <a:gd name="T43" fmla="*/ 2147483646 h 5454"/>
                <a:gd name="T44" fmla="*/ 2147483646 w 6057"/>
                <a:gd name="T45" fmla="*/ 2147483646 h 5454"/>
                <a:gd name="T46" fmla="*/ 2147483646 w 6057"/>
                <a:gd name="T47" fmla="*/ 2147483646 h 5454"/>
                <a:gd name="T48" fmla="*/ 2147483646 w 6057"/>
                <a:gd name="T49" fmla="*/ 2147483646 h 5454"/>
                <a:gd name="T50" fmla="*/ 2147483646 w 6057"/>
                <a:gd name="T51" fmla="*/ 2147483646 h 5454"/>
                <a:gd name="T52" fmla="*/ 2147483646 w 6057"/>
                <a:gd name="T53" fmla="*/ 2147483646 h 5454"/>
                <a:gd name="T54" fmla="*/ 2147483646 w 6057"/>
                <a:gd name="T55" fmla="*/ 2147483646 h 5454"/>
                <a:gd name="T56" fmla="*/ 2147483646 w 6057"/>
                <a:gd name="T57" fmla="*/ 2147483646 h 5454"/>
                <a:gd name="T58" fmla="*/ 2147483646 w 6057"/>
                <a:gd name="T59" fmla="*/ 2147483646 h 5454"/>
                <a:gd name="T60" fmla="*/ 2147483646 w 6057"/>
                <a:gd name="T61" fmla="*/ 2147483646 h 5454"/>
                <a:gd name="T62" fmla="*/ 2147483646 w 6057"/>
                <a:gd name="T63" fmla="*/ 2147483646 h 5454"/>
                <a:gd name="T64" fmla="*/ 2147483646 w 6057"/>
                <a:gd name="T65" fmla="*/ 2147483646 h 5454"/>
                <a:gd name="T66" fmla="*/ 2147483646 w 6057"/>
                <a:gd name="T67" fmla="*/ 2147483646 h 5454"/>
                <a:gd name="T68" fmla="*/ 2147483646 w 6057"/>
                <a:gd name="T69" fmla="*/ 2147483646 h 5454"/>
                <a:gd name="T70" fmla="*/ 2147483646 w 6057"/>
                <a:gd name="T71" fmla="*/ 2147483646 h 5454"/>
                <a:gd name="T72" fmla="*/ 2147483646 w 6057"/>
                <a:gd name="T73" fmla="*/ 2147483646 h 5454"/>
                <a:gd name="T74" fmla="*/ 2147483646 w 6057"/>
                <a:gd name="T75" fmla="*/ 2147483646 h 5454"/>
                <a:gd name="T76" fmla="*/ 2147483646 w 6057"/>
                <a:gd name="T77" fmla="*/ 0 h 5454"/>
                <a:gd name="T78" fmla="*/ 2147483646 w 6057"/>
                <a:gd name="T79" fmla="*/ 2147483646 h 54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057" h="5454">
                  <a:moveTo>
                    <a:pt x="0" y="959"/>
                  </a:moveTo>
                  <a:lnTo>
                    <a:pt x="1930" y="1981"/>
                  </a:lnTo>
                  <a:lnTo>
                    <a:pt x="1930" y="5454"/>
                  </a:lnTo>
                  <a:lnTo>
                    <a:pt x="0" y="4432"/>
                  </a:lnTo>
                  <a:lnTo>
                    <a:pt x="0" y="959"/>
                  </a:lnTo>
                  <a:close/>
                  <a:moveTo>
                    <a:pt x="3263" y="849"/>
                  </a:moveTo>
                  <a:lnTo>
                    <a:pt x="3260" y="1196"/>
                  </a:lnTo>
                  <a:lnTo>
                    <a:pt x="3082" y="1115"/>
                  </a:lnTo>
                  <a:lnTo>
                    <a:pt x="3082" y="871"/>
                  </a:lnTo>
                  <a:lnTo>
                    <a:pt x="2883" y="783"/>
                  </a:lnTo>
                  <a:lnTo>
                    <a:pt x="2883" y="1024"/>
                  </a:lnTo>
                  <a:lnTo>
                    <a:pt x="1772" y="520"/>
                  </a:lnTo>
                  <a:lnTo>
                    <a:pt x="269" y="883"/>
                  </a:lnTo>
                  <a:lnTo>
                    <a:pt x="2160" y="1837"/>
                  </a:lnTo>
                  <a:lnTo>
                    <a:pt x="2149" y="5385"/>
                  </a:lnTo>
                  <a:lnTo>
                    <a:pt x="3705" y="4796"/>
                  </a:lnTo>
                  <a:lnTo>
                    <a:pt x="3705" y="4070"/>
                  </a:lnTo>
                  <a:lnTo>
                    <a:pt x="4114" y="3933"/>
                  </a:lnTo>
                  <a:lnTo>
                    <a:pt x="4114" y="4296"/>
                  </a:lnTo>
                  <a:lnTo>
                    <a:pt x="4599" y="4524"/>
                  </a:lnTo>
                  <a:lnTo>
                    <a:pt x="5626" y="4144"/>
                  </a:lnTo>
                  <a:lnTo>
                    <a:pt x="5627" y="4077"/>
                  </a:lnTo>
                  <a:lnTo>
                    <a:pt x="5122" y="3921"/>
                  </a:lnTo>
                  <a:lnTo>
                    <a:pt x="5122" y="3593"/>
                  </a:lnTo>
                  <a:lnTo>
                    <a:pt x="6057" y="3278"/>
                  </a:lnTo>
                  <a:lnTo>
                    <a:pt x="6057" y="95"/>
                  </a:lnTo>
                  <a:lnTo>
                    <a:pt x="3263" y="849"/>
                  </a:lnTo>
                  <a:close/>
                  <a:moveTo>
                    <a:pt x="3705" y="3759"/>
                  </a:moveTo>
                  <a:lnTo>
                    <a:pt x="3705" y="2603"/>
                  </a:lnTo>
                  <a:lnTo>
                    <a:pt x="2433" y="2997"/>
                  </a:lnTo>
                  <a:lnTo>
                    <a:pt x="2433" y="2598"/>
                  </a:lnTo>
                  <a:lnTo>
                    <a:pt x="3705" y="2204"/>
                  </a:lnTo>
                  <a:lnTo>
                    <a:pt x="3705" y="1972"/>
                  </a:lnTo>
                  <a:lnTo>
                    <a:pt x="2433" y="2365"/>
                  </a:lnTo>
                  <a:lnTo>
                    <a:pt x="2433" y="1966"/>
                  </a:lnTo>
                  <a:lnTo>
                    <a:pt x="3705" y="1574"/>
                  </a:lnTo>
                  <a:lnTo>
                    <a:pt x="3705" y="1397"/>
                  </a:lnTo>
                  <a:lnTo>
                    <a:pt x="3614" y="1356"/>
                  </a:lnTo>
                  <a:lnTo>
                    <a:pt x="3617" y="1043"/>
                  </a:lnTo>
                  <a:lnTo>
                    <a:pt x="5797" y="461"/>
                  </a:lnTo>
                  <a:lnTo>
                    <a:pt x="5797" y="3054"/>
                  </a:lnTo>
                  <a:lnTo>
                    <a:pt x="3705" y="3759"/>
                  </a:lnTo>
                  <a:close/>
                  <a:moveTo>
                    <a:pt x="215" y="1434"/>
                  </a:moveTo>
                  <a:lnTo>
                    <a:pt x="215" y="1579"/>
                  </a:lnTo>
                  <a:lnTo>
                    <a:pt x="862" y="1925"/>
                  </a:lnTo>
                  <a:lnTo>
                    <a:pt x="862" y="1780"/>
                  </a:lnTo>
                  <a:lnTo>
                    <a:pt x="215" y="1434"/>
                  </a:lnTo>
                  <a:close/>
                  <a:moveTo>
                    <a:pt x="215" y="1909"/>
                  </a:moveTo>
                  <a:lnTo>
                    <a:pt x="215" y="2053"/>
                  </a:lnTo>
                  <a:lnTo>
                    <a:pt x="862" y="2399"/>
                  </a:lnTo>
                  <a:lnTo>
                    <a:pt x="862" y="2255"/>
                  </a:lnTo>
                  <a:lnTo>
                    <a:pt x="215" y="1909"/>
                  </a:lnTo>
                  <a:close/>
                  <a:moveTo>
                    <a:pt x="215" y="1670"/>
                  </a:moveTo>
                  <a:lnTo>
                    <a:pt x="215" y="1814"/>
                  </a:lnTo>
                  <a:lnTo>
                    <a:pt x="862" y="2160"/>
                  </a:lnTo>
                  <a:lnTo>
                    <a:pt x="862" y="2016"/>
                  </a:lnTo>
                  <a:lnTo>
                    <a:pt x="215" y="1670"/>
                  </a:lnTo>
                  <a:close/>
                  <a:moveTo>
                    <a:pt x="2458" y="3255"/>
                  </a:moveTo>
                  <a:lnTo>
                    <a:pt x="2820" y="3153"/>
                  </a:lnTo>
                  <a:lnTo>
                    <a:pt x="2820" y="3376"/>
                  </a:lnTo>
                  <a:lnTo>
                    <a:pt x="2458" y="3478"/>
                  </a:lnTo>
                  <a:lnTo>
                    <a:pt x="2458" y="3255"/>
                  </a:lnTo>
                  <a:close/>
                  <a:moveTo>
                    <a:pt x="2458" y="3645"/>
                  </a:moveTo>
                  <a:lnTo>
                    <a:pt x="2820" y="3543"/>
                  </a:lnTo>
                  <a:lnTo>
                    <a:pt x="2820" y="3764"/>
                  </a:lnTo>
                  <a:lnTo>
                    <a:pt x="2458" y="3867"/>
                  </a:lnTo>
                  <a:lnTo>
                    <a:pt x="2458" y="3645"/>
                  </a:lnTo>
                  <a:close/>
                  <a:moveTo>
                    <a:pt x="3097" y="793"/>
                  </a:moveTo>
                  <a:lnTo>
                    <a:pt x="2938" y="714"/>
                  </a:lnTo>
                  <a:lnTo>
                    <a:pt x="5774" y="0"/>
                  </a:lnTo>
                  <a:lnTo>
                    <a:pt x="5915" y="61"/>
                  </a:lnTo>
                  <a:lnTo>
                    <a:pt x="3097" y="793"/>
                  </a:lnTo>
                  <a:close/>
                </a:path>
              </a:pathLst>
            </a:custGeom>
            <a:solidFill>
              <a:schemeClr val="tx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defTabSz="931545">
                <a:defRPr/>
              </a:pPr>
              <a:endParaRPr lang="zh-CN" altLang="en-US" sz="1835">
                <a:solidFill>
                  <a:srgbClr val="FFFFFF"/>
                </a:solidFill>
                <a:latin typeface="+mn-lt"/>
                <a:ea typeface="+mn-ea"/>
                <a:cs typeface="+mn-ea"/>
                <a:sym typeface="+mn-lt"/>
              </a:endParaRPr>
            </a:p>
          </p:txBody>
        </p:sp>
        <p:sp>
          <p:nvSpPr>
            <p:cNvPr id="41" name="TextBox 40"/>
            <p:cNvSpPr txBox="1"/>
            <p:nvPr/>
          </p:nvSpPr>
          <p:spPr>
            <a:xfrm>
              <a:off x="261137" y="1317402"/>
              <a:ext cx="2624781" cy="359201"/>
            </a:xfrm>
            <a:prstGeom prst="rect">
              <a:avLst/>
            </a:prstGeom>
            <a:noFill/>
          </p:spPr>
          <p:txBody>
            <a:bodyPr wrap="square" rtlCol="0">
              <a:spAutoFit/>
            </a:bodyPr>
            <a:lstStyle/>
            <a:p>
              <a:pPr defTabSz="931545">
                <a:defRPr/>
              </a:pPr>
              <a:r>
                <a:rPr lang="en-US" altLang="zh-CN" sz="1735" b="1" i="1" dirty="0">
                  <a:solidFill>
                    <a:srgbClr val="002060"/>
                  </a:solidFill>
                  <a:cs typeface="+mn-ea"/>
                  <a:sym typeface="+mn-lt"/>
                </a:rPr>
                <a:t>Management Center</a:t>
              </a:r>
              <a:endParaRPr lang="zh-CN" altLang="en-US" sz="1735" b="1" i="1" dirty="0">
                <a:solidFill>
                  <a:srgbClr val="002060"/>
                </a:solidFill>
                <a:cs typeface="+mn-ea"/>
                <a:sym typeface="+mn-lt"/>
              </a:endParaRPr>
            </a:p>
          </p:txBody>
        </p:sp>
        <p:pic>
          <p:nvPicPr>
            <p:cNvPr id="42" name="图片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285" y="4214960"/>
              <a:ext cx="1151086" cy="876137"/>
            </a:xfrm>
            <a:prstGeom prst="rect">
              <a:avLst/>
            </a:prstGeom>
          </p:spPr>
        </p:pic>
        <p:pic>
          <p:nvPicPr>
            <p:cNvPr id="43" name="图片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285" y="5140895"/>
              <a:ext cx="1151086" cy="876137"/>
            </a:xfrm>
            <a:prstGeom prst="rect">
              <a:avLst/>
            </a:prstGeom>
          </p:spPr>
        </p:pic>
        <p:sp>
          <p:nvSpPr>
            <p:cNvPr id="44" name="TextBox 43"/>
            <p:cNvSpPr txBox="1"/>
            <p:nvPr/>
          </p:nvSpPr>
          <p:spPr>
            <a:xfrm>
              <a:off x="347637" y="6017422"/>
              <a:ext cx="2080641" cy="626069"/>
            </a:xfrm>
            <a:prstGeom prst="rect">
              <a:avLst/>
            </a:prstGeom>
            <a:noFill/>
          </p:spPr>
          <p:txBody>
            <a:bodyPr wrap="square" rtlCol="0">
              <a:spAutoFit/>
            </a:bodyPr>
            <a:lstStyle/>
            <a:p>
              <a:pPr algn="ctr" defTabSz="931545">
                <a:defRPr/>
              </a:pPr>
              <a:r>
                <a:rPr lang="en-US" altLang="zh-CN" sz="1735" b="1" i="1" dirty="0" err="1">
                  <a:cs typeface="+mn-ea"/>
                  <a:sym typeface="+mn-lt"/>
                </a:rPr>
                <a:t>Serveurs</a:t>
              </a:r>
              <a:r>
                <a:rPr lang="en-US" altLang="zh-CN" sz="1735" b="1" i="1" dirty="0">
                  <a:cs typeface="+mn-ea"/>
                  <a:sym typeface="+mn-lt"/>
                </a:rPr>
                <a:t> </a:t>
              </a:r>
              <a:r>
                <a:rPr lang="en-US" altLang="zh-CN" sz="1735" b="1" i="1" dirty="0" err="1">
                  <a:cs typeface="+mn-ea"/>
                  <a:sym typeface="+mn-lt"/>
                </a:rPr>
                <a:t>puissants</a:t>
              </a:r>
              <a:endParaRPr lang="en-US" altLang="zh-CN" sz="1735" b="1" i="1" dirty="0">
                <a:cs typeface="+mn-ea"/>
                <a:sym typeface="+mn-lt"/>
              </a:endParaRPr>
            </a:p>
            <a:p>
              <a:pPr algn="ctr" defTabSz="931545">
                <a:defRPr/>
              </a:pPr>
              <a:r>
                <a:rPr lang="en-US" altLang="zh-CN" sz="1735" b="1" i="1" dirty="0" err="1">
                  <a:cs typeface="+mn-ea"/>
                  <a:sym typeface="+mn-lt"/>
                </a:rPr>
                <a:t>Logiciel</a:t>
              </a:r>
              <a:r>
                <a:rPr lang="en-US" altLang="zh-CN" sz="1735" b="1" i="1" dirty="0">
                  <a:cs typeface="+mn-ea"/>
                  <a:sym typeface="+mn-lt"/>
                </a:rPr>
                <a:t> MPS</a:t>
              </a:r>
              <a:endParaRPr lang="zh-CN" altLang="en-US" sz="1735" b="1" kern="0" dirty="0">
                <a:cs typeface="+mn-ea"/>
                <a:sym typeface="+mn-lt"/>
              </a:endParaRPr>
            </a:p>
          </p:txBody>
        </p:sp>
      </p:grpSp>
      <p:sp>
        <p:nvSpPr>
          <p:cNvPr id="45" name="KSO_Shape"/>
          <p:cNvSpPr/>
          <p:nvPr/>
        </p:nvSpPr>
        <p:spPr>
          <a:xfrm>
            <a:off x="2307412" y="3602414"/>
            <a:ext cx="1001854" cy="709646"/>
          </a:xfrm>
          <a:custGeom>
            <a:avLst/>
            <a:gdLst>
              <a:gd name="connsiteX0" fmla="*/ 2723651 w 2860172"/>
              <a:gd name="connsiteY0" fmla="*/ 817 h 2023853"/>
              <a:gd name="connsiteX1" fmla="*/ 2826935 w 2860172"/>
              <a:gd name="connsiteY1" fmla="*/ 33337 h 2023853"/>
              <a:gd name="connsiteX2" fmla="*/ 2829774 w 2860172"/>
              <a:gd name="connsiteY2" fmla="*/ 35326 h 2023853"/>
              <a:gd name="connsiteX3" fmla="*/ 2849613 w 2860172"/>
              <a:gd name="connsiteY3" fmla="*/ 185007 h 2023853"/>
              <a:gd name="connsiteX4" fmla="*/ 2807494 w 2860172"/>
              <a:gd name="connsiteY4" fmla="*/ 326285 h 2023853"/>
              <a:gd name="connsiteX5" fmla="*/ 2480152 w 2860172"/>
              <a:gd name="connsiteY5" fmla="*/ 1326140 h 2023853"/>
              <a:gd name="connsiteX6" fmla="*/ 2479216 w 2860172"/>
              <a:gd name="connsiteY6" fmla="*/ 1322755 h 2023853"/>
              <a:gd name="connsiteX7" fmla="*/ 2348905 w 2860172"/>
              <a:gd name="connsiteY7" fmla="*/ 1721466 h 2023853"/>
              <a:gd name="connsiteX8" fmla="*/ 2280556 w 2860172"/>
              <a:gd name="connsiteY8" fmla="*/ 1058272 h 2023853"/>
              <a:gd name="connsiteX9" fmla="*/ 2226338 w 2860172"/>
              <a:gd name="connsiteY9" fmla="*/ 1103673 h 2023853"/>
              <a:gd name="connsiteX10" fmla="*/ 0 w 2860172"/>
              <a:gd name="connsiteY10" fmla="*/ 2023853 h 2023853"/>
              <a:gd name="connsiteX11" fmla="*/ 1702841 w 2860172"/>
              <a:gd name="connsiteY11" fmla="*/ 735848 h 2023853"/>
              <a:gd name="connsiteX12" fmla="*/ 1811294 w 2860172"/>
              <a:gd name="connsiteY12" fmla="*/ 575004 h 2023853"/>
              <a:gd name="connsiteX13" fmla="*/ 1151281 w 2860172"/>
              <a:gd name="connsiteY13" fmla="*/ 506068 h 2023853"/>
              <a:gd name="connsiteX14" fmla="*/ 2640411 w 2860172"/>
              <a:gd name="connsiteY14" fmla="*/ 20803 h 2023853"/>
              <a:gd name="connsiteX15" fmla="*/ 2675299 w 2860172"/>
              <a:gd name="connsiteY15" fmla="*/ 10454 h 2023853"/>
              <a:gd name="connsiteX16" fmla="*/ 2723651 w 2860172"/>
              <a:gd name="connsiteY16" fmla="*/ 817 h 202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0172" h="2023853">
                <a:moveTo>
                  <a:pt x="2723651" y="817"/>
                </a:moveTo>
                <a:cubicBezTo>
                  <a:pt x="2768908" y="-3349"/>
                  <a:pt x="2804496" y="8545"/>
                  <a:pt x="2826935" y="33337"/>
                </a:cubicBezTo>
                <a:cubicBezTo>
                  <a:pt x="2828146" y="33729"/>
                  <a:pt x="2828970" y="34520"/>
                  <a:pt x="2829774" y="35326"/>
                </a:cubicBezTo>
                <a:cubicBezTo>
                  <a:pt x="2860445" y="66039"/>
                  <a:pt x="2869482" y="118360"/>
                  <a:pt x="2849613" y="185007"/>
                </a:cubicBezTo>
                <a:lnTo>
                  <a:pt x="2807494" y="326285"/>
                </a:lnTo>
                <a:lnTo>
                  <a:pt x="2480152" y="1326140"/>
                </a:lnTo>
                <a:lnTo>
                  <a:pt x="2479216" y="1322755"/>
                </a:lnTo>
                <a:lnTo>
                  <a:pt x="2348905" y="1721466"/>
                </a:lnTo>
                <a:lnTo>
                  <a:pt x="2280556" y="1058272"/>
                </a:lnTo>
                <a:lnTo>
                  <a:pt x="2226338" y="1103673"/>
                </a:lnTo>
                <a:cubicBezTo>
                  <a:pt x="1323053" y="1809646"/>
                  <a:pt x="162385" y="2005519"/>
                  <a:pt x="0" y="2023853"/>
                </a:cubicBezTo>
                <a:cubicBezTo>
                  <a:pt x="722027" y="1807246"/>
                  <a:pt x="1311081" y="1275400"/>
                  <a:pt x="1702841" y="735848"/>
                </a:cubicBezTo>
                <a:lnTo>
                  <a:pt x="1811294" y="575004"/>
                </a:lnTo>
                <a:lnTo>
                  <a:pt x="1151281" y="506068"/>
                </a:lnTo>
                <a:lnTo>
                  <a:pt x="2640411" y="20803"/>
                </a:lnTo>
                <a:lnTo>
                  <a:pt x="2675299" y="10454"/>
                </a:lnTo>
                <a:cubicBezTo>
                  <a:pt x="2692405" y="5379"/>
                  <a:pt x="2708565" y="2206"/>
                  <a:pt x="2723651" y="817"/>
                </a:cubicBezTo>
                <a:close/>
              </a:path>
            </a:pathLst>
          </a:custGeom>
          <a:solidFill>
            <a:schemeClr val="tx1"/>
          </a:solidFill>
          <a:ln w="12700" cap="flat" cmpd="sng" algn="ctr">
            <a:noFill/>
            <a:prstDash val="solid"/>
            <a:miter lim="800000"/>
          </a:ln>
          <a:effectLst/>
        </p:spPr>
        <p:txBody>
          <a:bodyPr lIns="93182" tIns="46591" rIns="93182" bIns="46591"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a:solidFill>
                <a:srgbClr val="FFFFFF"/>
              </a:solidFill>
              <a:cs typeface="+mn-ea"/>
              <a:sym typeface="+mn-lt"/>
            </a:endParaRPr>
          </a:p>
        </p:txBody>
      </p:sp>
      <p:sp>
        <p:nvSpPr>
          <p:cNvPr id="46" name="KSO_Shape"/>
          <p:cNvSpPr/>
          <p:nvPr/>
        </p:nvSpPr>
        <p:spPr bwMode="auto">
          <a:xfrm rot="5400000">
            <a:off x="6317232" y="3187363"/>
            <a:ext cx="530600" cy="598420"/>
          </a:xfrm>
          <a:custGeom>
            <a:avLst/>
            <a:gdLst>
              <a:gd name="T0" fmla="*/ 604779902 w 4773"/>
              <a:gd name="T1" fmla="*/ 604564574 h 5385"/>
              <a:gd name="T2" fmla="*/ 604779902 w 4773"/>
              <a:gd name="T3" fmla="*/ 604564574 h 5385"/>
              <a:gd name="T4" fmla="*/ 604779902 w 4773"/>
              <a:gd name="T5" fmla="*/ 604564574 h 5385"/>
              <a:gd name="T6" fmla="*/ 604779902 w 4773"/>
              <a:gd name="T7" fmla="*/ 604564574 h 5385"/>
              <a:gd name="T8" fmla="*/ 604779902 w 4773"/>
              <a:gd name="T9" fmla="*/ 604564574 h 5385"/>
              <a:gd name="T10" fmla="*/ 604779902 w 4773"/>
              <a:gd name="T11" fmla="*/ 604564574 h 5385"/>
              <a:gd name="T12" fmla="*/ 604779902 w 4773"/>
              <a:gd name="T13" fmla="*/ 604564574 h 5385"/>
              <a:gd name="T14" fmla="*/ 604779902 w 4773"/>
              <a:gd name="T15" fmla="*/ 604564574 h 5385"/>
              <a:gd name="T16" fmla="*/ 604779902 w 4773"/>
              <a:gd name="T17" fmla="*/ 604564574 h 5385"/>
              <a:gd name="T18" fmla="*/ 604779902 w 4773"/>
              <a:gd name="T19" fmla="*/ 604564574 h 5385"/>
              <a:gd name="T20" fmla="*/ 604779902 w 4773"/>
              <a:gd name="T21" fmla="*/ 604564574 h 5385"/>
              <a:gd name="T22" fmla="*/ 604779902 w 4773"/>
              <a:gd name="T23" fmla="*/ 604564574 h 5385"/>
              <a:gd name="T24" fmla="*/ 604779902 w 4773"/>
              <a:gd name="T25" fmla="*/ 604564574 h 5385"/>
              <a:gd name="T26" fmla="*/ 604779902 w 4773"/>
              <a:gd name="T27" fmla="*/ 604564574 h 5385"/>
              <a:gd name="T28" fmla="*/ 604779902 w 4773"/>
              <a:gd name="T29" fmla="*/ 604564574 h 5385"/>
              <a:gd name="T30" fmla="*/ 604779902 w 4773"/>
              <a:gd name="T31" fmla="*/ 604564574 h 5385"/>
              <a:gd name="T32" fmla="*/ 604779902 w 4773"/>
              <a:gd name="T33" fmla="*/ 604564574 h 5385"/>
              <a:gd name="T34" fmla="*/ 604779902 w 4773"/>
              <a:gd name="T35" fmla="*/ 604564574 h 5385"/>
              <a:gd name="T36" fmla="*/ 604779902 w 4773"/>
              <a:gd name="T37" fmla="*/ 604564574 h 5385"/>
              <a:gd name="T38" fmla="*/ 604779902 w 4773"/>
              <a:gd name="T39" fmla="*/ 604564574 h 5385"/>
              <a:gd name="T40" fmla="*/ 604779902 w 4773"/>
              <a:gd name="T41" fmla="*/ 604564574 h 5385"/>
              <a:gd name="T42" fmla="*/ 604779902 w 4773"/>
              <a:gd name="T43" fmla="*/ 604564574 h 5385"/>
              <a:gd name="T44" fmla="*/ 604779902 w 4773"/>
              <a:gd name="T45" fmla="*/ 604564574 h 5385"/>
              <a:gd name="T46" fmla="*/ 604779902 w 4773"/>
              <a:gd name="T47" fmla="*/ 604564574 h 5385"/>
              <a:gd name="T48" fmla="*/ 604779902 w 4773"/>
              <a:gd name="T49" fmla="*/ 604564574 h 5385"/>
              <a:gd name="T50" fmla="*/ 604779902 w 4773"/>
              <a:gd name="T51" fmla="*/ 604564574 h 5385"/>
              <a:gd name="T52" fmla="*/ 604779902 w 4773"/>
              <a:gd name="T53" fmla="*/ 604564574 h 5385"/>
              <a:gd name="T54" fmla="*/ 604779902 w 4773"/>
              <a:gd name="T55" fmla="*/ 604564574 h 5385"/>
              <a:gd name="T56" fmla="*/ 604779902 w 4773"/>
              <a:gd name="T57" fmla="*/ 604564574 h 5385"/>
              <a:gd name="T58" fmla="*/ 604779902 w 4773"/>
              <a:gd name="T59" fmla="*/ 604564574 h 5385"/>
              <a:gd name="T60" fmla="*/ 604779902 w 4773"/>
              <a:gd name="T61" fmla="*/ 604564574 h 5385"/>
              <a:gd name="T62" fmla="*/ 604779902 w 4773"/>
              <a:gd name="T63" fmla="*/ 604564574 h 5385"/>
              <a:gd name="T64" fmla="*/ 604779902 w 4773"/>
              <a:gd name="T65" fmla="*/ 604564574 h 5385"/>
              <a:gd name="T66" fmla="*/ 604779902 w 4773"/>
              <a:gd name="T67" fmla="*/ 604564574 h 5385"/>
              <a:gd name="T68" fmla="*/ 604779902 w 4773"/>
              <a:gd name="T69" fmla="*/ 604564574 h 5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773" h="5385">
                <a:moveTo>
                  <a:pt x="1934" y="5385"/>
                </a:moveTo>
                <a:lnTo>
                  <a:pt x="2833" y="5385"/>
                </a:lnTo>
                <a:lnTo>
                  <a:pt x="2834" y="3899"/>
                </a:lnTo>
                <a:lnTo>
                  <a:pt x="2913" y="3779"/>
                </a:lnTo>
                <a:lnTo>
                  <a:pt x="2996" y="3662"/>
                </a:lnTo>
                <a:lnTo>
                  <a:pt x="3092" y="3531"/>
                </a:lnTo>
                <a:lnTo>
                  <a:pt x="3174" y="3430"/>
                </a:lnTo>
                <a:lnTo>
                  <a:pt x="3250" y="3333"/>
                </a:lnTo>
                <a:lnTo>
                  <a:pt x="3370" y="3203"/>
                </a:lnTo>
                <a:lnTo>
                  <a:pt x="3445" y="3124"/>
                </a:lnTo>
                <a:lnTo>
                  <a:pt x="3517" y="3049"/>
                </a:lnTo>
                <a:lnTo>
                  <a:pt x="3613" y="2955"/>
                </a:lnTo>
                <a:lnTo>
                  <a:pt x="3712" y="2862"/>
                </a:lnTo>
                <a:lnTo>
                  <a:pt x="3769" y="2813"/>
                </a:lnTo>
                <a:lnTo>
                  <a:pt x="3834" y="2759"/>
                </a:lnTo>
                <a:lnTo>
                  <a:pt x="3899" y="2709"/>
                </a:lnTo>
                <a:lnTo>
                  <a:pt x="3968" y="2660"/>
                </a:lnTo>
                <a:lnTo>
                  <a:pt x="4039" y="2611"/>
                </a:lnTo>
                <a:lnTo>
                  <a:pt x="4118" y="2561"/>
                </a:lnTo>
                <a:lnTo>
                  <a:pt x="4232" y="2500"/>
                </a:lnTo>
                <a:lnTo>
                  <a:pt x="4475" y="2805"/>
                </a:lnTo>
                <a:lnTo>
                  <a:pt x="4773" y="1571"/>
                </a:lnTo>
                <a:lnTo>
                  <a:pt x="3507" y="1571"/>
                </a:lnTo>
                <a:lnTo>
                  <a:pt x="3736" y="1868"/>
                </a:lnTo>
                <a:lnTo>
                  <a:pt x="3639" y="1924"/>
                </a:lnTo>
                <a:lnTo>
                  <a:pt x="3548" y="1982"/>
                </a:lnTo>
                <a:lnTo>
                  <a:pt x="3446" y="2057"/>
                </a:lnTo>
                <a:lnTo>
                  <a:pt x="3355" y="2134"/>
                </a:lnTo>
                <a:lnTo>
                  <a:pt x="3273" y="2205"/>
                </a:lnTo>
                <a:lnTo>
                  <a:pt x="3186" y="2282"/>
                </a:lnTo>
                <a:lnTo>
                  <a:pt x="3111" y="2355"/>
                </a:lnTo>
                <a:lnTo>
                  <a:pt x="3028" y="2444"/>
                </a:lnTo>
                <a:lnTo>
                  <a:pt x="2947" y="2543"/>
                </a:lnTo>
                <a:lnTo>
                  <a:pt x="2836" y="2677"/>
                </a:lnTo>
                <a:lnTo>
                  <a:pt x="2837" y="1122"/>
                </a:lnTo>
                <a:lnTo>
                  <a:pt x="3287" y="1122"/>
                </a:lnTo>
                <a:lnTo>
                  <a:pt x="2388" y="0"/>
                </a:lnTo>
                <a:lnTo>
                  <a:pt x="1490" y="1122"/>
                </a:lnTo>
                <a:lnTo>
                  <a:pt x="1939" y="1122"/>
                </a:lnTo>
                <a:lnTo>
                  <a:pt x="1941" y="2682"/>
                </a:lnTo>
                <a:lnTo>
                  <a:pt x="1838" y="2557"/>
                </a:lnTo>
                <a:lnTo>
                  <a:pt x="1751" y="2453"/>
                </a:lnTo>
                <a:lnTo>
                  <a:pt x="1682" y="2380"/>
                </a:lnTo>
                <a:lnTo>
                  <a:pt x="1621" y="2317"/>
                </a:lnTo>
                <a:lnTo>
                  <a:pt x="1552" y="2249"/>
                </a:lnTo>
                <a:lnTo>
                  <a:pt x="1483" y="2188"/>
                </a:lnTo>
                <a:lnTo>
                  <a:pt x="1399" y="2115"/>
                </a:lnTo>
                <a:lnTo>
                  <a:pt x="1303" y="2039"/>
                </a:lnTo>
                <a:lnTo>
                  <a:pt x="1209" y="1978"/>
                </a:lnTo>
                <a:lnTo>
                  <a:pt x="1118" y="1918"/>
                </a:lnTo>
                <a:lnTo>
                  <a:pt x="1030" y="1868"/>
                </a:lnTo>
                <a:lnTo>
                  <a:pt x="1261" y="1573"/>
                </a:lnTo>
                <a:lnTo>
                  <a:pt x="0" y="1573"/>
                </a:lnTo>
                <a:lnTo>
                  <a:pt x="291" y="2810"/>
                </a:lnTo>
                <a:lnTo>
                  <a:pt x="534" y="2497"/>
                </a:lnTo>
                <a:lnTo>
                  <a:pt x="648" y="2559"/>
                </a:lnTo>
                <a:lnTo>
                  <a:pt x="763" y="2631"/>
                </a:lnTo>
                <a:lnTo>
                  <a:pt x="904" y="2736"/>
                </a:lnTo>
                <a:lnTo>
                  <a:pt x="993" y="2805"/>
                </a:lnTo>
                <a:lnTo>
                  <a:pt x="1077" y="2882"/>
                </a:lnTo>
                <a:lnTo>
                  <a:pt x="1154" y="2953"/>
                </a:lnTo>
                <a:lnTo>
                  <a:pt x="1254" y="3051"/>
                </a:lnTo>
                <a:lnTo>
                  <a:pt x="1329" y="3125"/>
                </a:lnTo>
                <a:lnTo>
                  <a:pt x="1443" y="3246"/>
                </a:lnTo>
                <a:lnTo>
                  <a:pt x="1533" y="3357"/>
                </a:lnTo>
                <a:lnTo>
                  <a:pt x="1633" y="3476"/>
                </a:lnTo>
                <a:lnTo>
                  <a:pt x="1731" y="3604"/>
                </a:lnTo>
                <a:lnTo>
                  <a:pt x="1822" y="3736"/>
                </a:lnTo>
                <a:lnTo>
                  <a:pt x="1937" y="3905"/>
                </a:lnTo>
                <a:lnTo>
                  <a:pt x="1934" y="5385"/>
                </a:lnTo>
                <a:close/>
              </a:path>
            </a:pathLst>
          </a:custGeom>
          <a:solidFill>
            <a:srgbClr val="131313"/>
          </a:solidFill>
          <a:ln>
            <a:noFill/>
          </a:ln>
        </p:spPr>
        <p:txBody>
          <a:bodyPr lIns="93182" tIns="46591" rIns="93182" bIns="46591" anchor="ct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defTabSz="931545">
              <a:defRPr/>
            </a:pPr>
            <a:endParaRPr lang="zh-CN" altLang="en-US" sz="1835">
              <a:solidFill>
                <a:prstClr val="black"/>
              </a:solidFill>
              <a:latin typeface="+mn-lt"/>
              <a:ea typeface="+mn-ea"/>
              <a:cs typeface="+mn-ea"/>
              <a:sym typeface="+mn-lt"/>
            </a:endParaRPr>
          </a:p>
        </p:txBody>
      </p:sp>
      <p:pic>
        <p:nvPicPr>
          <p:cNvPr id="48" name="图片 47"/>
          <p:cNvPicPr>
            <a:picLocks noChangeAspect="1"/>
          </p:cNvPicPr>
          <p:nvPr/>
        </p:nvPicPr>
        <p:blipFill>
          <a:blip r:embed="rId4" cstate="screen"/>
          <a:stretch>
            <a:fillRect/>
          </a:stretch>
        </p:blipFill>
        <p:spPr>
          <a:xfrm>
            <a:off x="7314606" y="2747654"/>
            <a:ext cx="997494" cy="576897"/>
          </a:xfrm>
          <a:prstGeom prst="rect">
            <a:avLst/>
          </a:prstGeom>
        </p:spPr>
      </p:pic>
      <p:sp>
        <p:nvSpPr>
          <p:cNvPr id="49" name="TextBox 48"/>
          <p:cNvSpPr txBox="1"/>
          <p:nvPr/>
        </p:nvSpPr>
        <p:spPr>
          <a:xfrm>
            <a:off x="7138364" y="3348849"/>
            <a:ext cx="1261276" cy="287627"/>
          </a:xfrm>
          <a:prstGeom prst="rect">
            <a:avLst/>
          </a:prstGeom>
          <a:noFill/>
        </p:spPr>
        <p:txBody>
          <a:bodyPr wrap="none" lIns="67231" tIns="33615" rIns="67231" bIns="33615" rtlCol="0">
            <a:spAutoFit/>
          </a:bodyPr>
          <a:lstStyle/>
          <a:p>
            <a:pPr defTabSz="931545"/>
            <a:r>
              <a:rPr lang="en-US" altLang="zh-CN" sz="1430" b="1" i="1" dirty="0">
                <a:cs typeface="+mn-ea"/>
                <a:sym typeface="+mn-lt"/>
              </a:rPr>
              <a:t>Media Player</a:t>
            </a:r>
            <a:endParaRPr lang="zh-CN" altLang="en-US" sz="1430" b="1" i="1" dirty="0">
              <a:cs typeface="+mn-ea"/>
              <a:sym typeface="+mn-lt"/>
            </a:endParaRPr>
          </a:p>
        </p:txBody>
      </p:sp>
      <p:pic>
        <p:nvPicPr>
          <p:cNvPr id="50" name="图片 49" descr="DHL84 监视器.jpg"/>
          <p:cNvPicPr/>
          <p:nvPr/>
        </p:nvPicPr>
        <p:blipFill>
          <a:blip r:embed="rId5" cstate="email"/>
          <a:stretch>
            <a:fillRect/>
          </a:stretch>
        </p:blipFill>
        <p:spPr>
          <a:xfrm>
            <a:off x="10292661" y="2395770"/>
            <a:ext cx="903539" cy="881241"/>
          </a:xfrm>
          <a:prstGeom prst="rect">
            <a:avLst/>
          </a:prstGeom>
        </p:spPr>
      </p:pic>
      <p:sp>
        <p:nvSpPr>
          <p:cNvPr id="51" name="KSO_Shape"/>
          <p:cNvSpPr/>
          <p:nvPr/>
        </p:nvSpPr>
        <p:spPr>
          <a:xfrm>
            <a:off x="8944118" y="3084884"/>
            <a:ext cx="513027" cy="245398"/>
          </a:xfrm>
          <a:custGeom>
            <a:avLst/>
            <a:gdLst>
              <a:gd name="connsiteX0" fmla="*/ 2226629 w 7382320"/>
              <a:gd name="connsiteY0" fmla="*/ 1008112 h 3528392"/>
              <a:gd name="connsiteX1" fmla="*/ 3470622 w 7382320"/>
              <a:gd name="connsiteY1" fmla="*/ 1008112 h 3528392"/>
              <a:gd name="connsiteX2" fmla="*/ 3470622 w 7382320"/>
              <a:gd name="connsiteY2" fmla="*/ 2520280 h 3528392"/>
              <a:gd name="connsiteX3" fmla="*/ 2226629 w 7382320"/>
              <a:gd name="connsiteY3" fmla="*/ 2520280 h 3528392"/>
              <a:gd name="connsiteX4" fmla="*/ 887362 w 7382320"/>
              <a:gd name="connsiteY4" fmla="*/ 1008112 h 3528392"/>
              <a:gd name="connsiteX5" fmla="*/ 1843323 w 7382320"/>
              <a:gd name="connsiteY5" fmla="*/ 1008112 h 3528392"/>
              <a:gd name="connsiteX6" fmla="*/ 1843323 w 7382320"/>
              <a:gd name="connsiteY6" fmla="*/ 2520280 h 3528392"/>
              <a:gd name="connsiteX7" fmla="*/ 887362 w 7382320"/>
              <a:gd name="connsiteY7" fmla="*/ 2520280 h 3528392"/>
              <a:gd name="connsiteX8" fmla="*/ 0 w 7382320"/>
              <a:gd name="connsiteY8" fmla="*/ 1008112 h 3528392"/>
              <a:gd name="connsiteX9" fmla="*/ 504056 w 7382320"/>
              <a:gd name="connsiteY9" fmla="*/ 1008112 h 3528392"/>
              <a:gd name="connsiteX10" fmla="*/ 504056 w 7382320"/>
              <a:gd name="connsiteY10" fmla="*/ 2520280 h 3528392"/>
              <a:gd name="connsiteX11" fmla="*/ 0 w 7382320"/>
              <a:gd name="connsiteY11" fmla="*/ 2520280 h 3528392"/>
              <a:gd name="connsiteX12" fmla="*/ 5222080 w 7382320"/>
              <a:gd name="connsiteY12" fmla="*/ 0 h 3528392"/>
              <a:gd name="connsiteX13" fmla="*/ 7382320 w 7382320"/>
              <a:gd name="connsiteY13" fmla="*/ 1764196 h 3528392"/>
              <a:gd name="connsiteX14" fmla="*/ 5222080 w 7382320"/>
              <a:gd name="connsiteY14" fmla="*/ 3528392 h 3528392"/>
              <a:gd name="connsiteX15" fmla="*/ 5222080 w 7382320"/>
              <a:gd name="connsiteY15" fmla="*/ 2520280 h 3528392"/>
              <a:gd name="connsiteX16" fmla="*/ 3853928 w 7382320"/>
              <a:gd name="connsiteY16" fmla="*/ 2520280 h 3528392"/>
              <a:gd name="connsiteX17" fmla="*/ 3853928 w 7382320"/>
              <a:gd name="connsiteY17" fmla="*/ 1008112 h 3528392"/>
              <a:gd name="connsiteX18" fmla="*/ 5222080 w 7382320"/>
              <a:gd name="connsiteY18" fmla="*/ 1008112 h 35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2320" h="3528392">
                <a:moveTo>
                  <a:pt x="2226629" y="1008112"/>
                </a:moveTo>
                <a:lnTo>
                  <a:pt x="3470622" y="1008112"/>
                </a:lnTo>
                <a:lnTo>
                  <a:pt x="3470622" y="2520280"/>
                </a:lnTo>
                <a:lnTo>
                  <a:pt x="2226629" y="2520280"/>
                </a:lnTo>
                <a:close/>
                <a:moveTo>
                  <a:pt x="887362" y="1008112"/>
                </a:moveTo>
                <a:lnTo>
                  <a:pt x="1843323" y="1008112"/>
                </a:lnTo>
                <a:lnTo>
                  <a:pt x="1843323" y="2520280"/>
                </a:lnTo>
                <a:lnTo>
                  <a:pt x="887362" y="2520280"/>
                </a:lnTo>
                <a:close/>
                <a:moveTo>
                  <a:pt x="0" y="1008112"/>
                </a:moveTo>
                <a:lnTo>
                  <a:pt x="504056" y="1008112"/>
                </a:lnTo>
                <a:lnTo>
                  <a:pt x="504056" y="2520280"/>
                </a:lnTo>
                <a:lnTo>
                  <a:pt x="0" y="2520280"/>
                </a:lnTo>
                <a:close/>
                <a:moveTo>
                  <a:pt x="5222080" y="0"/>
                </a:moveTo>
                <a:lnTo>
                  <a:pt x="7382320" y="1764196"/>
                </a:lnTo>
                <a:lnTo>
                  <a:pt x="5222080" y="3528392"/>
                </a:lnTo>
                <a:lnTo>
                  <a:pt x="5222080" y="2520280"/>
                </a:lnTo>
                <a:lnTo>
                  <a:pt x="3853928" y="2520280"/>
                </a:lnTo>
                <a:lnTo>
                  <a:pt x="3853928" y="1008112"/>
                </a:lnTo>
                <a:lnTo>
                  <a:pt x="5222080" y="1008112"/>
                </a:lnTo>
                <a:close/>
              </a:path>
            </a:pathLst>
          </a:custGeom>
          <a:solidFill>
            <a:srgbClr val="131313"/>
          </a:solidFill>
          <a:ln>
            <a:noFill/>
          </a:ln>
        </p:spPr>
        <p:style>
          <a:lnRef idx="2">
            <a:schemeClr val="accent1">
              <a:shade val="50000"/>
            </a:schemeClr>
          </a:lnRef>
          <a:fillRef idx="1">
            <a:schemeClr val="accent1"/>
          </a:fillRef>
          <a:effectRef idx="0">
            <a:schemeClr val="accent1"/>
          </a:effectRef>
          <a:fontRef idx="minor">
            <a:schemeClr val="lt1"/>
          </a:fontRef>
        </p:style>
        <p:txBody>
          <a:bodyPr lIns="67231" tIns="33615" rIns="67231" bIns="33615"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a:solidFill>
                <a:srgbClr val="FFFFFF"/>
              </a:solidFill>
              <a:cs typeface="+mn-ea"/>
              <a:sym typeface="+mn-lt"/>
            </a:endParaRPr>
          </a:p>
        </p:txBody>
      </p:sp>
      <p:sp>
        <p:nvSpPr>
          <p:cNvPr id="52" name="TextBox 51"/>
          <p:cNvSpPr txBox="1"/>
          <p:nvPr/>
        </p:nvSpPr>
        <p:spPr>
          <a:xfrm>
            <a:off x="10292662" y="3306412"/>
            <a:ext cx="815064" cy="287627"/>
          </a:xfrm>
          <a:prstGeom prst="rect">
            <a:avLst/>
          </a:prstGeom>
          <a:noFill/>
        </p:spPr>
        <p:txBody>
          <a:bodyPr wrap="none" lIns="67231" tIns="33615" rIns="67231" bIns="33615" rtlCol="0">
            <a:spAutoFit/>
          </a:bodyPr>
          <a:lstStyle/>
          <a:p>
            <a:pPr defTabSz="931545"/>
            <a:r>
              <a:rPr lang="en-US" altLang="zh-CN" sz="1430" b="1" i="1" dirty="0">
                <a:cs typeface="+mn-ea"/>
                <a:sym typeface="+mn-lt"/>
              </a:rPr>
              <a:t>Monitor</a:t>
            </a:r>
            <a:endParaRPr lang="zh-CN" altLang="en-US" sz="1430" b="1" i="1" dirty="0">
              <a:cs typeface="+mn-ea"/>
              <a:sym typeface="+mn-lt"/>
            </a:endParaRPr>
          </a:p>
        </p:txBody>
      </p:sp>
      <p:sp>
        <p:nvSpPr>
          <p:cNvPr id="53" name="TextBox 52"/>
          <p:cNvSpPr txBox="1"/>
          <p:nvPr/>
        </p:nvSpPr>
        <p:spPr>
          <a:xfrm>
            <a:off x="9949769" y="2031063"/>
            <a:ext cx="1946679" cy="313832"/>
          </a:xfrm>
          <a:prstGeom prst="rect">
            <a:avLst/>
          </a:prstGeom>
          <a:noFill/>
        </p:spPr>
        <p:txBody>
          <a:bodyPr wrap="none" lIns="93182" tIns="46591" rIns="93182" bIns="46591" rtlCol="0">
            <a:spAutoFit/>
          </a:bodyPr>
          <a:lstStyle/>
          <a:p>
            <a:pPr defTabSz="931545">
              <a:defRPr/>
            </a:pPr>
            <a:r>
              <a:rPr lang="en-US" altLang="zh-CN" sz="1430" b="1" i="1" dirty="0">
                <a:cs typeface="+mn-ea"/>
                <a:sym typeface="+mn-lt"/>
              </a:rPr>
              <a:t>LCD Digital Signage</a:t>
            </a:r>
            <a:endParaRPr lang="zh-CN" altLang="en-US" sz="1430" b="1" i="1" dirty="0">
              <a:cs typeface="+mn-ea"/>
              <a:sym typeface="+mn-lt"/>
            </a:endParaRPr>
          </a:p>
        </p:txBody>
      </p:sp>
      <p:pic>
        <p:nvPicPr>
          <p:cNvPr id="55" name="图片 54" descr="DHL460UX.png"/>
          <p:cNvPicPr>
            <a:picLocks noChangeAspect="1"/>
          </p:cNvPicPr>
          <p:nvPr/>
        </p:nvPicPr>
        <p:blipFill>
          <a:blip r:embed="rId6" cstate="email"/>
          <a:srcRect/>
          <a:stretch>
            <a:fillRect/>
          </a:stretch>
        </p:blipFill>
        <p:spPr bwMode="auto">
          <a:xfrm>
            <a:off x="10129526" y="3749330"/>
            <a:ext cx="1229809" cy="795127"/>
          </a:xfrm>
          <a:prstGeom prst="rect">
            <a:avLst/>
          </a:prstGeom>
          <a:noFill/>
          <a:ln w="9525">
            <a:noFill/>
            <a:miter lim="800000"/>
            <a:headEnd/>
            <a:tailEnd/>
          </a:ln>
        </p:spPr>
      </p:pic>
      <p:pic>
        <p:nvPicPr>
          <p:cNvPr id="56" name="图片 55"/>
          <p:cNvPicPr>
            <a:picLocks noChangeAspect="1"/>
          </p:cNvPicPr>
          <p:nvPr/>
        </p:nvPicPr>
        <p:blipFill>
          <a:blip r:embed="rId4" cstate="screen"/>
          <a:stretch>
            <a:fillRect/>
          </a:stretch>
        </p:blipFill>
        <p:spPr>
          <a:xfrm>
            <a:off x="7314606" y="4011663"/>
            <a:ext cx="997494" cy="576897"/>
          </a:xfrm>
          <a:prstGeom prst="rect">
            <a:avLst/>
          </a:prstGeom>
        </p:spPr>
      </p:pic>
      <p:sp>
        <p:nvSpPr>
          <p:cNvPr id="57" name="TextBox 56"/>
          <p:cNvSpPr txBox="1"/>
          <p:nvPr/>
        </p:nvSpPr>
        <p:spPr>
          <a:xfrm>
            <a:off x="7138364" y="4570419"/>
            <a:ext cx="1261276" cy="287627"/>
          </a:xfrm>
          <a:prstGeom prst="rect">
            <a:avLst/>
          </a:prstGeom>
          <a:noFill/>
        </p:spPr>
        <p:txBody>
          <a:bodyPr wrap="none" lIns="67231" tIns="33615" rIns="67231" bIns="33615" rtlCol="0">
            <a:spAutoFit/>
          </a:bodyPr>
          <a:lstStyle/>
          <a:p>
            <a:pPr defTabSz="931545"/>
            <a:r>
              <a:rPr lang="en-US" altLang="zh-CN" sz="1430" b="1" i="1" dirty="0">
                <a:cs typeface="+mn-ea"/>
                <a:sym typeface="+mn-lt"/>
              </a:rPr>
              <a:t>Media Player</a:t>
            </a:r>
            <a:endParaRPr lang="zh-CN" altLang="en-US" sz="1430" b="1" i="1" dirty="0">
              <a:cs typeface="+mn-ea"/>
              <a:sym typeface="+mn-lt"/>
            </a:endParaRPr>
          </a:p>
        </p:txBody>
      </p:sp>
      <p:sp>
        <p:nvSpPr>
          <p:cNvPr id="58" name="KSO_Shape"/>
          <p:cNvSpPr/>
          <p:nvPr/>
        </p:nvSpPr>
        <p:spPr>
          <a:xfrm>
            <a:off x="8944121" y="4348893"/>
            <a:ext cx="513027" cy="245398"/>
          </a:xfrm>
          <a:custGeom>
            <a:avLst/>
            <a:gdLst>
              <a:gd name="connsiteX0" fmla="*/ 2226629 w 7382320"/>
              <a:gd name="connsiteY0" fmla="*/ 1008112 h 3528392"/>
              <a:gd name="connsiteX1" fmla="*/ 3470622 w 7382320"/>
              <a:gd name="connsiteY1" fmla="*/ 1008112 h 3528392"/>
              <a:gd name="connsiteX2" fmla="*/ 3470622 w 7382320"/>
              <a:gd name="connsiteY2" fmla="*/ 2520280 h 3528392"/>
              <a:gd name="connsiteX3" fmla="*/ 2226629 w 7382320"/>
              <a:gd name="connsiteY3" fmla="*/ 2520280 h 3528392"/>
              <a:gd name="connsiteX4" fmla="*/ 887362 w 7382320"/>
              <a:gd name="connsiteY4" fmla="*/ 1008112 h 3528392"/>
              <a:gd name="connsiteX5" fmla="*/ 1843323 w 7382320"/>
              <a:gd name="connsiteY5" fmla="*/ 1008112 h 3528392"/>
              <a:gd name="connsiteX6" fmla="*/ 1843323 w 7382320"/>
              <a:gd name="connsiteY6" fmla="*/ 2520280 h 3528392"/>
              <a:gd name="connsiteX7" fmla="*/ 887362 w 7382320"/>
              <a:gd name="connsiteY7" fmla="*/ 2520280 h 3528392"/>
              <a:gd name="connsiteX8" fmla="*/ 0 w 7382320"/>
              <a:gd name="connsiteY8" fmla="*/ 1008112 h 3528392"/>
              <a:gd name="connsiteX9" fmla="*/ 504056 w 7382320"/>
              <a:gd name="connsiteY9" fmla="*/ 1008112 h 3528392"/>
              <a:gd name="connsiteX10" fmla="*/ 504056 w 7382320"/>
              <a:gd name="connsiteY10" fmla="*/ 2520280 h 3528392"/>
              <a:gd name="connsiteX11" fmla="*/ 0 w 7382320"/>
              <a:gd name="connsiteY11" fmla="*/ 2520280 h 3528392"/>
              <a:gd name="connsiteX12" fmla="*/ 5222080 w 7382320"/>
              <a:gd name="connsiteY12" fmla="*/ 0 h 3528392"/>
              <a:gd name="connsiteX13" fmla="*/ 7382320 w 7382320"/>
              <a:gd name="connsiteY13" fmla="*/ 1764196 h 3528392"/>
              <a:gd name="connsiteX14" fmla="*/ 5222080 w 7382320"/>
              <a:gd name="connsiteY14" fmla="*/ 3528392 h 3528392"/>
              <a:gd name="connsiteX15" fmla="*/ 5222080 w 7382320"/>
              <a:gd name="connsiteY15" fmla="*/ 2520280 h 3528392"/>
              <a:gd name="connsiteX16" fmla="*/ 3853928 w 7382320"/>
              <a:gd name="connsiteY16" fmla="*/ 2520280 h 3528392"/>
              <a:gd name="connsiteX17" fmla="*/ 3853928 w 7382320"/>
              <a:gd name="connsiteY17" fmla="*/ 1008112 h 3528392"/>
              <a:gd name="connsiteX18" fmla="*/ 5222080 w 7382320"/>
              <a:gd name="connsiteY18" fmla="*/ 1008112 h 35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2320" h="3528392">
                <a:moveTo>
                  <a:pt x="2226629" y="1008112"/>
                </a:moveTo>
                <a:lnTo>
                  <a:pt x="3470622" y="1008112"/>
                </a:lnTo>
                <a:lnTo>
                  <a:pt x="3470622" y="2520280"/>
                </a:lnTo>
                <a:lnTo>
                  <a:pt x="2226629" y="2520280"/>
                </a:lnTo>
                <a:close/>
                <a:moveTo>
                  <a:pt x="887362" y="1008112"/>
                </a:moveTo>
                <a:lnTo>
                  <a:pt x="1843323" y="1008112"/>
                </a:lnTo>
                <a:lnTo>
                  <a:pt x="1843323" y="2520280"/>
                </a:lnTo>
                <a:lnTo>
                  <a:pt x="887362" y="2520280"/>
                </a:lnTo>
                <a:close/>
                <a:moveTo>
                  <a:pt x="0" y="1008112"/>
                </a:moveTo>
                <a:lnTo>
                  <a:pt x="504056" y="1008112"/>
                </a:lnTo>
                <a:lnTo>
                  <a:pt x="504056" y="2520280"/>
                </a:lnTo>
                <a:lnTo>
                  <a:pt x="0" y="2520280"/>
                </a:lnTo>
                <a:close/>
                <a:moveTo>
                  <a:pt x="5222080" y="0"/>
                </a:moveTo>
                <a:lnTo>
                  <a:pt x="7382320" y="1764196"/>
                </a:lnTo>
                <a:lnTo>
                  <a:pt x="5222080" y="3528392"/>
                </a:lnTo>
                <a:lnTo>
                  <a:pt x="5222080" y="2520280"/>
                </a:lnTo>
                <a:lnTo>
                  <a:pt x="3853928" y="2520280"/>
                </a:lnTo>
                <a:lnTo>
                  <a:pt x="3853928" y="1008112"/>
                </a:lnTo>
                <a:lnTo>
                  <a:pt x="5222080" y="1008112"/>
                </a:lnTo>
                <a:close/>
              </a:path>
            </a:pathLst>
          </a:custGeom>
          <a:solidFill>
            <a:srgbClr val="131313"/>
          </a:solidFill>
          <a:ln>
            <a:noFill/>
          </a:ln>
        </p:spPr>
        <p:style>
          <a:lnRef idx="2">
            <a:schemeClr val="accent1">
              <a:shade val="50000"/>
            </a:schemeClr>
          </a:lnRef>
          <a:fillRef idx="1">
            <a:schemeClr val="accent1"/>
          </a:fillRef>
          <a:effectRef idx="0">
            <a:schemeClr val="accent1"/>
          </a:effectRef>
          <a:fontRef idx="minor">
            <a:schemeClr val="lt1"/>
          </a:fontRef>
        </p:style>
        <p:txBody>
          <a:bodyPr lIns="67231" tIns="33615" rIns="67231" bIns="33615"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a:solidFill>
                <a:srgbClr val="FFFFFF"/>
              </a:solidFill>
              <a:cs typeface="+mn-ea"/>
              <a:sym typeface="+mn-lt"/>
            </a:endParaRPr>
          </a:p>
        </p:txBody>
      </p:sp>
      <p:sp>
        <p:nvSpPr>
          <p:cNvPr id="59" name="TextBox 58"/>
          <p:cNvSpPr txBox="1"/>
          <p:nvPr/>
        </p:nvSpPr>
        <p:spPr>
          <a:xfrm>
            <a:off x="10067443" y="4549005"/>
            <a:ext cx="1484991" cy="287627"/>
          </a:xfrm>
          <a:prstGeom prst="rect">
            <a:avLst/>
          </a:prstGeom>
          <a:noFill/>
        </p:spPr>
        <p:txBody>
          <a:bodyPr wrap="none" lIns="67231" tIns="33615" rIns="67231" bIns="33615" rtlCol="0">
            <a:spAutoFit/>
          </a:bodyPr>
          <a:lstStyle/>
          <a:p>
            <a:pPr defTabSz="931545"/>
            <a:r>
              <a:rPr lang="en-US" altLang="zh-CN" sz="1430" b="1" i="1" dirty="0">
                <a:cs typeface="+mn-ea"/>
                <a:sym typeface="+mn-lt"/>
              </a:rPr>
              <a:t>LCD Video Wall</a:t>
            </a:r>
            <a:endParaRPr lang="zh-CN" altLang="en-US" sz="1430" b="1" i="1" dirty="0">
              <a:cs typeface="+mn-ea"/>
              <a:sym typeface="+mn-lt"/>
            </a:endParaRPr>
          </a:p>
        </p:txBody>
      </p:sp>
      <p:pic>
        <p:nvPicPr>
          <p:cNvPr id="60" name="图片 59"/>
          <p:cNvPicPr>
            <a:picLocks noChangeAspect="1"/>
          </p:cNvPicPr>
          <p:nvPr/>
        </p:nvPicPr>
        <p:blipFill>
          <a:blip r:embed="rId4" cstate="screen"/>
          <a:stretch>
            <a:fillRect/>
          </a:stretch>
        </p:blipFill>
        <p:spPr>
          <a:xfrm>
            <a:off x="7314606" y="5294444"/>
            <a:ext cx="997494" cy="576897"/>
          </a:xfrm>
          <a:prstGeom prst="rect">
            <a:avLst/>
          </a:prstGeom>
        </p:spPr>
      </p:pic>
      <p:sp>
        <p:nvSpPr>
          <p:cNvPr id="61" name="TextBox 60"/>
          <p:cNvSpPr txBox="1"/>
          <p:nvPr/>
        </p:nvSpPr>
        <p:spPr>
          <a:xfrm>
            <a:off x="7111101" y="5853198"/>
            <a:ext cx="1313685" cy="313832"/>
          </a:xfrm>
          <a:prstGeom prst="rect">
            <a:avLst/>
          </a:prstGeom>
          <a:noFill/>
        </p:spPr>
        <p:txBody>
          <a:bodyPr wrap="none" lIns="93182" tIns="46591" rIns="93182" bIns="46591" rtlCol="0">
            <a:spAutoFit/>
          </a:bodyPr>
          <a:lstStyle/>
          <a:p>
            <a:pPr defTabSz="931545"/>
            <a:r>
              <a:rPr lang="en-US" altLang="zh-CN" sz="1430" b="1" i="1" dirty="0">
                <a:cs typeface="+mn-ea"/>
                <a:sym typeface="+mn-lt"/>
              </a:rPr>
              <a:t>Media Player</a:t>
            </a:r>
            <a:endParaRPr lang="zh-CN" altLang="en-US" sz="1430" b="1" i="1" dirty="0">
              <a:cs typeface="+mn-ea"/>
              <a:sym typeface="+mn-lt"/>
            </a:endParaRPr>
          </a:p>
        </p:txBody>
      </p:sp>
      <p:sp>
        <p:nvSpPr>
          <p:cNvPr id="62" name="KSO_Shape"/>
          <p:cNvSpPr/>
          <p:nvPr/>
        </p:nvSpPr>
        <p:spPr>
          <a:xfrm>
            <a:off x="8944120" y="5631671"/>
            <a:ext cx="513027" cy="245398"/>
          </a:xfrm>
          <a:custGeom>
            <a:avLst/>
            <a:gdLst>
              <a:gd name="connsiteX0" fmla="*/ 2226629 w 7382320"/>
              <a:gd name="connsiteY0" fmla="*/ 1008112 h 3528392"/>
              <a:gd name="connsiteX1" fmla="*/ 3470622 w 7382320"/>
              <a:gd name="connsiteY1" fmla="*/ 1008112 h 3528392"/>
              <a:gd name="connsiteX2" fmla="*/ 3470622 w 7382320"/>
              <a:gd name="connsiteY2" fmla="*/ 2520280 h 3528392"/>
              <a:gd name="connsiteX3" fmla="*/ 2226629 w 7382320"/>
              <a:gd name="connsiteY3" fmla="*/ 2520280 h 3528392"/>
              <a:gd name="connsiteX4" fmla="*/ 887362 w 7382320"/>
              <a:gd name="connsiteY4" fmla="*/ 1008112 h 3528392"/>
              <a:gd name="connsiteX5" fmla="*/ 1843323 w 7382320"/>
              <a:gd name="connsiteY5" fmla="*/ 1008112 h 3528392"/>
              <a:gd name="connsiteX6" fmla="*/ 1843323 w 7382320"/>
              <a:gd name="connsiteY6" fmla="*/ 2520280 h 3528392"/>
              <a:gd name="connsiteX7" fmla="*/ 887362 w 7382320"/>
              <a:gd name="connsiteY7" fmla="*/ 2520280 h 3528392"/>
              <a:gd name="connsiteX8" fmla="*/ 0 w 7382320"/>
              <a:gd name="connsiteY8" fmla="*/ 1008112 h 3528392"/>
              <a:gd name="connsiteX9" fmla="*/ 504056 w 7382320"/>
              <a:gd name="connsiteY9" fmla="*/ 1008112 h 3528392"/>
              <a:gd name="connsiteX10" fmla="*/ 504056 w 7382320"/>
              <a:gd name="connsiteY10" fmla="*/ 2520280 h 3528392"/>
              <a:gd name="connsiteX11" fmla="*/ 0 w 7382320"/>
              <a:gd name="connsiteY11" fmla="*/ 2520280 h 3528392"/>
              <a:gd name="connsiteX12" fmla="*/ 5222080 w 7382320"/>
              <a:gd name="connsiteY12" fmla="*/ 0 h 3528392"/>
              <a:gd name="connsiteX13" fmla="*/ 7382320 w 7382320"/>
              <a:gd name="connsiteY13" fmla="*/ 1764196 h 3528392"/>
              <a:gd name="connsiteX14" fmla="*/ 5222080 w 7382320"/>
              <a:gd name="connsiteY14" fmla="*/ 3528392 h 3528392"/>
              <a:gd name="connsiteX15" fmla="*/ 5222080 w 7382320"/>
              <a:gd name="connsiteY15" fmla="*/ 2520280 h 3528392"/>
              <a:gd name="connsiteX16" fmla="*/ 3853928 w 7382320"/>
              <a:gd name="connsiteY16" fmla="*/ 2520280 h 3528392"/>
              <a:gd name="connsiteX17" fmla="*/ 3853928 w 7382320"/>
              <a:gd name="connsiteY17" fmla="*/ 1008112 h 3528392"/>
              <a:gd name="connsiteX18" fmla="*/ 5222080 w 7382320"/>
              <a:gd name="connsiteY18" fmla="*/ 1008112 h 352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82320" h="3528392">
                <a:moveTo>
                  <a:pt x="2226629" y="1008112"/>
                </a:moveTo>
                <a:lnTo>
                  <a:pt x="3470622" y="1008112"/>
                </a:lnTo>
                <a:lnTo>
                  <a:pt x="3470622" y="2520280"/>
                </a:lnTo>
                <a:lnTo>
                  <a:pt x="2226629" y="2520280"/>
                </a:lnTo>
                <a:close/>
                <a:moveTo>
                  <a:pt x="887362" y="1008112"/>
                </a:moveTo>
                <a:lnTo>
                  <a:pt x="1843323" y="1008112"/>
                </a:lnTo>
                <a:lnTo>
                  <a:pt x="1843323" y="2520280"/>
                </a:lnTo>
                <a:lnTo>
                  <a:pt x="887362" y="2520280"/>
                </a:lnTo>
                <a:close/>
                <a:moveTo>
                  <a:pt x="0" y="1008112"/>
                </a:moveTo>
                <a:lnTo>
                  <a:pt x="504056" y="1008112"/>
                </a:lnTo>
                <a:lnTo>
                  <a:pt x="504056" y="2520280"/>
                </a:lnTo>
                <a:lnTo>
                  <a:pt x="0" y="2520280"/>
                </a:lnTo>
                <a:close/>
                <a:moveTo>
                  <a:pt x="5222080" y="0"/>
                </a:moveTo>
                <a:lnTo>
                  <a:pt x="7382320" y="1764196"/>
                </a:lnTo>
                <a:lnTo>
                  <a:pt x="5222080" y="3528392"/>
                </a:lnTo>
                <a:lnTo>
                  <a:pt x="5222080" y="2520280"/>
                </a:lnTo>
                <a:lnTo>
                  <a:pt x="3853928" y="2520280"/>
                </a:lnTo>
                <a:lnTo>
                  <a:pt x="3853928" y="1008112"/>
                </a:lnTo>
                <a:lnTo>
                  <a:pt x="5222080" y="1008112"/>
                </a:lnTo>
                <a:close/>
              </a:path>
            </a:pathLst>
          </a:custGeom>
          <a:solidFill>
            <a:srgbClr val="131313"/>
          </a:solidFill>
          <a:ln>
            <a:noFill/>
          </a:ln>
        </p:spPr>
        <p:style>
          <a:lnRef idx="2">
            <a:schemeClr val="accent1">
              <a:shade val="50000"/>
            </a:schemeClr>
          </a:lnRef>
          <a:fillRef idx="1">
            <a:schemeClr val="accent1"/>
          </a:fillRef>
          <a:effectRef idx="0">
            <a:schemeClr val="accent1"/>
          </a:effectRef>
          <a:fontRef idx="minor">
            <a:schemeClr val="lt1"/>
          </a:fontRef>
        </p:style>
        <p:txBody>
          <a:bodyPr lIns="93182" tIns="46591" rIns="93182" bIns="46591"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a:solidFill>
                <a:srgbClr val="FFFFFF"/>
              </a:solidFill>
              <a:cs typeface="+mn-ea"/>
              <a:sym typeface="+mn-lt"/>
            </a:endParaRPr>
          </a:p>
        </p:txBody>
      </p:sp>
      <p:sp>
        <p:nvSpPr>
          <p:cNvPr id="63" name="TextBox 62"/>
          <p:cNvSpPr txBox="1"/>
          <p:nvPr/>
        </p:nvSpPr>
        <p:spPr>
          <a:xfrm>
            <a:off x="9769122" y="5818265"/>
            <a:ext cx="2222395" cy="313832"/>
          </a:xfrm>
          <a:prstGeom prst="rect">
            <a:avLst/>
          </a:prstGeom>
          <a:noFill/>
        </p:spPr>
        <p:txBody>
          <a:bodyPr wrap="none" lIns="93182" tIns="46591" rIns="93182" bIns="46591" rtlCol="0">
            <a:spAutoFit/>
          </a:bodyPr>
          <a:lstStyle/>
          <a:p>
            <a:pPr defTabSz="931545"/>
            <a:r>
              <a:rPr lang="en-US" altLang="zh-CN" sz="1430" b="1" i="1" dirty="0">
                <a:cs typeface="+mn-ea"/>
                <a:sym typeface="+mn-lt"/>
              </a:rPr>
              <a:t>Full Color LED Display </a:t>
            </a:r>
            <a:endParaRPr lang="zh-CN" altLang="en-US" sz="1430" b="1" i="1" dirty="0">
              <a:cs typeface="+mn-ea"/>
              <a:sym typeface="+mn-lt"/>
            </a:endParaRPr>
          </a:p>
        </p:txBody>
      </p:sp>
      <p:sp>
        <p:nvSpPr>
          <p:cNvPr id="64" name="文本框 48"/>
          <p:cNvSpPr txBox="1"/>
          <p:nvPr/>
        </p:nvSpPr>
        <p:spPr>
          <a:xfrm>
            <a:off x="4199234" y="2140391"/>
            <a:ext cx="1313813" cy="392315"/>
          </a:xfrm>
          <a:prstGeom prst="rect">
            <a:avLst/>
          </a:prstGeom>
          <a:noFill/>
          <a:ln>
            <a:noFill/>
          </a:ln>
          <a:effectLst/>
        </p:spPr>
        <p:txBody>
          <a:bodyPr wrap="none" lIns="93182" tIns="46591" rIns="93182" bIns="46591"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931545">
              <a:defRPr/>
            </a:pPr>
            <a:r>
              <a:rPr lang="en-US" altLang="zh-CN" sz="1940" b="1" i="1" dirty="0">
                <a:cs typeface="+mn-ea"/>
                <a:sym typeface="+mn-lt"/>
              </a:rPr>
              <a:t>MPS Web</a:t>
            </a:r>
            <a:endParaRPr lang="zh-CN" altLang="en-US" sz="1940" b="1" i="1" dirty="0">
              <a:cs typeface="+mn-ea"/>
              <a:sym typeface="+mn-lt"/>
            </a:endParaRPr>
          </a:p>
        </p:txBody>
      </p:sp>
      <p:grpSp>
        <p:nvGrpSpPr>
          <p:cNvPr id="39" name="组合 38"/>
          <p:cNvGrpSpPr/>
          <p:nvPr/>
        </p:nvGrpSpPr>
        <p:grpSpPr>
          <a:xfrm>
            <a:off x="10129526" y="90122"/>
            <a:ext cx="1862207" cy="2036669"/>
            <a:chOff x="10989750" y="1740073"/>
            <a:chExt cx="4142089" cy="5033495"/>
          </a:xfrm>
        </p:grpSpPr>
        <p:pic>
          <p:nvPicPr>
            <p:cNvPr id="47" name="Picture 3" descr="C:\Users\38254\Desktop\广告机\55寸壁挂.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1992" t="9145" r="14894" b="14571"/>
            <a:stretch>
              <a:fillRect/>
            </a:stretch>
          </p:blipFill>
          <p:spPr bwMode="auto">
            <a:xfrm>
              <a:off x="10989750" y="4375114"/>
              <a:ext cx="3042906" cy="1785006"/>
            </a:xfrm>
            <a:prstGeom prst="rect">
              <a:avLst/>
            </a:prstGeom>
            <a:noFill/>
            <a:scene3d>
              <a:camera prst="perspectiveRight" fov="5400000"/>
              <a:lightRig rig="threePt" dir="t"/>
            </a:scene3d>
            <a:extLst>
              <a:ext uri="{909E8E84-426E-40DD-AFC4-6F175D3DCCD1}">
                <a14:hiddenFill xmlns:a14="http://schemas.microsoft.com/office/drawing/2010/main">
                  <a:solidFill>
                    <a:srgbClr val="FFFFFF"/>
                  </a:solidFill>
                </a14:hiddenFill>
              </a:ext>
            </a:extLst>
          </p:spPr>
        </p:pic>
        <p:pic>
          <p:nvPicPr>
            <p:cNvPr id="54" name="图片 53"/>
            <p:cNvPicPr>
              <a:picLocks noChangeAspect="1"/>
            </p:cNvPicPr>
            <p:nvPr/>
          </p:nvPicPr>
          <p:blipFill rotWithShape="1">
            <a:blip r:embed="rId8" cstate="print">
              <a:extLst>
                <a:ext uri="{28A0092B-C50C-407E-A947-70E740481C1C}">
                  <a14:useLocalDpi xmlns:a14="http://schemas.microsoft.com/office/drawing/2010/main" val="0"/>
                </a:ext>
              </a:extLst>
            </a:blip>
            <a:srcRect l="36158" t="6533" r="35029" b="4721"/>
            <a:stretch>
              <a:fillRect/>
            </a:stretch>
          </p:blipFill>
          <p:spPr>
            <a:xfrm>
              <a:off x="12754909" y="1740073"/>
              <a:ext cx="2376930" cy="5033495"/>
            </a:xfrm>
            <a:prstGeom prst="rect">
              <a:avLst/>
            </a:prstGeom>
          </p:spPr>
        </p:pic>
      </p:grpSp>
      <p:grpSp>
        <p:nvGrpSpPr>
          <p:cNvPr id="6" name="组合 5"/>
          <p:cNvGrpSpPr/>
          <p:nvPr/>
        </p:nvGrpSpPr>
        <p:grpSpPr>
          <a:xfrm>
            <a:off x="4152227" y="2862068"/>
            <a:ext cx="1570371" cy="1147992"/>
            <a:chOff x="4305627" y="3184725"/>
            <a:chExt cx="1539719" cy="1125585"/>
          </a:xfrm>
        </p:grpSpPr>
        <p:sp>
          <p:nvSpPr>
            <p:cNvPr id="25" name="KSO_Shape"/>
            <p:cNvSpPr/>
            <p:nvPr/>
          </p:nvSpPr>
          <p:spPr>
            <a:xfrm>
              <a:off x="4305627" y="3879996"/>
              <a:ext cx="477900" cy="430313"/>
            </a:xfrm>
            <a:custGeom>
              <a:avLst/>
              <a:gdLst/>
              <a:ahLst/>
              <a:cxnLst/>
              <a:rect l="l" t="t" r="r" b="b"/>
              <a:pathLst>
                <a:path w="1889279" h="1810503">
                  <a:moveTo>
                    <a:pt x="1408636" y="1462945"/>
                  </a:moveTo>
                  <a:cubicBezTo>
                    <a:pt x="1471912" y="1494489"/>
                    <a:pt x="1528819" y="1532588"/>
                    <a:pt x="1575786" y="1578162"/>
                  </a:cubicBezTo>
                  <a:cubicBezTo>
                    <a:pt x="1467281" y="1672800"/>
                    <a:pt x="1335058" y="1742507"/>
                    <a:pt x="1188886" y="1779443"/>
                  </a:cubicBezTo>
                  <a:cubicBezTo>
                    <a:pt x="1278166" y="1700386"/>
                    <a:pt x="1353810" y="1592053"/>
                    <a:pt x="1408636" y="1462945"/>
                  </a:cubicBezTo>
                  <a:close/>
                  <a:moveTo>
                    <a:pt x="494888" y="1445849"/>
                  </a:moveTo>
                  <a:cubicBezTo>
                    <a:pt x="556747" y="1590569"/>
                    <a:pt x="643865" y="1709702"/>
                    <a:pt x="747068" y="1790925"/>
                  </a:cubicBezTo>
                  <a:cubicBezTo>
                    <a:pt x="576321" y="1756303"/>
                    <a:pt x="422614" y="1677538"/>
                    <a:pt x="300900" y="1566189"/>
                  </a:cubicBezTo>
                  <a:cubicBezTo>
                    <a:pt x="355309" y="1517036"/>
                    <a:pt x="421005" y="1476420"/>
                    <a:pt x="494888" y="1445849"/>
                  </a:cubicBezTo>
                  <a:close/>
                  <a:moveTo>
                    <a:pt x="900586" y="1355871"/>
                  </a:moveTo>
                  <a:lnTo>
                    <a:pt x="900586" y="1808904"/>
                  </a:lnTo>
                  <a:lnTo>
                    <a:pt x="884222" y="1808113"/>
                  </a:lnTo>
                  <a:cubicBezTo>
                    <a:pt x="745280" y="1742581"/>
                    <a:pt x="627378" y="1604992"/>
                    <a:pt x="551037" y="1423344"/>
                  </a:cubicBezTo>
                  <a:cubicBezTo>
                    <a:pt x="655969" y="1381011"/>
                    <a:pt x="774745" y="1357337"/>
                    <a:pt x="900586" y="1355871"/>
                  </a:cubicBezTo>
                  <a:close/>
                  <a:moveTo>
                    <a:pt x="953521" y="1355186"/>
                  </a:moveTo>
                  <a:cubicBezTo>
                    <a:pt x="1099660" y="1356509"/>
                    <a:pt x="1236550" y="1386650"/>
                    <a:pt x="1354036" y="1440083"/>
                  </a:cubicBezTo>
                  <a:cubicBezTo>
                    <a:pt x="1283551" y="1605630"/>
                    <a:pt x="1178611" y="1734316"/>
                    <a:pt x="1054486" y="1804443"/>
                  </a:cubicBezTo>
                  <a:lnTo>
                    <a:pt x="953521" y="1810503"/>
                  </a:lnTo>
                  <a:close/>
                  <a:moveTo>
                    <a:pt x="1517159" y="931303"/>
                  </a:moveTo>
                  <a:lnTo>
                    <a:pt x="1889279" y="931303"/>
                  </a:lnTo>
                  <a:cubicBezTo>
                    <a:pt x="1883282" y="1167646"/>
                    <a:pt x="1781715" y="1381244"/>
                    <a:pt x="1618873" y="1536894"/>
                  </a:cubicBezTo>
                  <a:cubicBezTo>
                    <a:pt x="1566437" y="1485571"/>
                    <a:pt x="1502786" y="1442774"/>
                    <a:pt x="1431939" y="1407715"/>
                  </a:cubicBezTo>
                  <a:cubicBezTo>
                    <a:pt x="1485774" y="1266553"/>
                    <a:pt x="1516428" y="1104135"/>
                    <a:pt x="1517159" y="931303"/>
                  </a:cubicBezTo>
                  <a:close/>
                  <a:moveTo>
                    <a:pt x="953521" y="931303"/>
                  </a:moveTo>
                  <a:lnTo>
                    <a:pt x="1456842" y="931303"/>
                  </a:lnTo>
                  <a:cubicBezTo>
                    <a:pt x="1456123" y="1096196"/>
                    <a:pt x="1427268" y="1250986"/>
                    <a:pt x="1375819" y="1384691"/>
                  </a:cubicBezTo>
                  <a:cubicBezTo>
                    <a:pt x="1251537" y="1327928"/>
                    <a:pt x="1107288" y="1296191"/>
                    <a:pt x="953521" y="1294902"/>
                  </a:cubicBezTo>
                  <a:close/>
                  <a:moveTo>
                    <a:pt x="448568" y="931303"/>
                  </a:moveTo>
                  <a:lnTo>
                    <a:pt x="900586" y="931303"/>
                  </a:lnTo>
                  <a:lnTo>
                    <a:pt x="900586" y="1295603"/>
                  </a:lnTo>
                  <a:cubicBezTo>
                    <a:pt x="766605" y="1297053"/>
                    <a:pt x="640053" y="1322469"/>
                    <a:pt x="528061" y="1368046"/>
                  </a:cubicBezTo>
                  <a:cubicBezTo>
                    <a:pt x="478984" y="1238632"/>
                    <a:pt x="450499" y="1089843"/>
                    <a:pt x="448568" y="931303"/>
                  </a:cubicBezTo>
                  <a:close/>
                  <a:moveTo>
                    <a:pt x="0" y="931303"/>
                  </a:moveTo>
                  <a:lnTo>
                    <a:pt x="388264" y="931303"/>
                  </a:lnTo>
                  <a:cubicBezTo>
                    <a:pt x="390220" y="1097785"/>
                    <a:pt x="420532" y="1254193"/>
                    <a:pt x="473139" y="1390578"/>
                  </a:cubicBezTo>
                  <a:cubicBezTo>
                    <a:pt x="391203" y="1423988"/>
                    <a:pt x="318506" y="1469260"/>
                    <a:pt x="258353" y="1524144"/>
                  </a:cubicBezTo>
                  <a:cubicBezTo>
                    <a:pt x="102364" y="1370026"/>
                    <a:pt x="5849" y="1161456"/>
                    <a:pt x="0" y="931303"/>
                  </a:cubicBezTo>
                  <a:close/>
                  <a:moveTo>
                    <a:pt x="536834" y="421694"/>
                  </a:moveTo>
                  <a:cubicBezTo>
                    <a:pt x="646682" y="464986"/>
                    <a:pt x="770110" y="489176"/>
                    <a:pt x="900586" y="490537"/>
                  </a:cubicBezTo>
                  <a:lnTo>
                    <a:pt x="900586" y="875390"/>
                  </a:lnTo>
                  <a:lnTo>
                    <a:pt x="448805" y="875390"/>
                  </a:lnTo>
                  <a:cubicBezTo>
                    <a:pt x="451150" y="709592"/>
                    <a:pt x="482649" y="554587"/>
                    <a:pt x="536834" y="421694"/>
                  </a:cubicBezTo>
                  <a:close/>
                  <a:moveTo>
                    <a:pt x="1356131" y="409527"/>
                  </a:moveTo>
                  <a:cubicBezTo>
                    <a:pt x="1415590" y="544412"/>
                    <a:pt x="1451132" y="703874"/>
                    <a:pt x="1455052" y="875390"/>
                  </a:cubicBezTo>
                  <a:lnTo>
                    <a:pt x="953521" y="875390"/>
                  </a:lnTo>
                  <a:lnTo>
                    <a:pt x="953521" y="491238"/>
                  </a:lnTo>
                  <a:cubicBezTo>
                    <a:pt x="1099303" y="490092"/>
                    <a:pt x="1236528" y="461431"/>
                    <a:pt x="1356131" y="409527"/>
                  </a:cubicBezTo>
                  <a:close/>
                  <a:moveTo>
                    <a:pt x="271202" y="273767"/>
                  </a:moveTo>
                  <a:cubicBezTo>
                    <a:pt x="330895" y="324894"/>
                    <a:pt x="401533" y="367494"/>
                    <a:pt x="480768" y="398692"/>
                  </a:cubicBezTo>
                  <a:cubicBezTo>
                    <a:pt x="424147" y="539118"/>
                    <a:pt x="390867" y="701724"/>
                    <a:pt x="388496" y="875390"/>
                  </a:cubicBezTo>
                  <a:lnTo>
                    <a:pt x="238" y="875390"/>
                  </a:lnTo>
                  <a:cubicBezTo>
                    <a:pt x="7162" y="640451"/>
                    <a:pt x="108645" y="428248"/>
                    <a:pt x="271202" y="273767"/>
                  </a:cubicBezTo>
                  <a:close/>
                  <a:moveTo>
                    <a:pt x="1605567" y="261436"/>
                  </a:moveTo>
                  <a:cubicBezTo>
                    <a:pt x="1775300" y="417133"/>
                    <a:pt x="1881942" y="634296"/>
                    <a:pt x="1889035" y="875390"/>
                  </a:cubicBezTo>
                  <a:lnTo>
                    <a:pt x="1515364" y="875390"/>
                  </a:lnTo>
                  <a:cubicBezTo>
                    <a:pt x="1511419" y="696081"/>
                    <a:pt x="1474168" y="529014"/>
                    <a:pt x="1413107" y="386152"/>
                  </a:cubicBezTo>
                  <a:cubicBezTo>
                    <a:pt x="1485941" y="353453"/>
                    <a:pt x="1551126" y="311628"/>
                    <a:pt x="1605567" y="261436"/>
                  </a:cubicBezTo>
                  <a:close/>
                  <a:moveTo>
                    <a:pt x="748157" y="19413"/>
                  </a:moveTo>
                  <a:cubicBezTo>
                    <a:pt x="649482" y="96557"/>
                    <a:pt x="565491" y="208310"/>
                    <a:pt x="504779" y="344256"/>
                  </a:cubicBezTo>
                  <a:cubicBezTo>
                    <a:pt x="432706" y="315858"/>
                    <a:pt x="368354" y="277545"/>
                    <a:pt x="313920" y="231604"/>
                  </a:cubicBezTo>
                  <a:cubicBezTo>
                    <a:pt x="434240" y="127070"/>
                    <a:pt x="583275" y="52667"/>
                    <a:pt x="748157" y="19413"/>
                  </a:cubicBezTo>
                  <a:close/>
                  <a:moveTo>
                    <a:pt x="1137621" y="18543"/>
                  </a:moveTo>
                  <a:cubicBezTo>
                    <a:pt x="1297904" y="50310"/>
                    <a:pt x="1443338" y="120918"/>
                    <a:pt x="1562575" y="219802"/>
                  </a:cubicBezTo>
                  <a:cubicBezTo>
                    <a:pt x="1512842" y="265093"/>
                    <a:pt x="1453308" y="302843"/>
                    <a:pt x="1386970" y="332857"/>
                  </a:cubicBezTo>
                  <a:cubicBezTo>
                    <a:pt x="1323718" y="199817"/>
                    <a:pt x="1237626" y="91674"/>
                    <a:pt x="1137621" y="18543"/>
                  </a:cubicBezTo>
                  <a:close/>
                  <a:moveTo>
                    <a:pt x="900586" y="1702"/>
                  </a:moveTo>
                  <a:lnTo>
                    <a:pt x="900586" y="430269"/>
                  </a:lnTo>
                  <a:cubicBezTo>
                    <a:pt x="778345" y="428899"/>
                    <a:pt x="662774" y="406468"/>
                    <a:pt x="560047" y="366408"/>
                  </a:cubicBezTo>
                  <a:cubicBezTo>
                    <a:pt x="637783" y="193348"/>
                    <a:pt x="753999" y="63227"/>
                    <a:pt x="890213" y="2203"/>
                  </a:cubicBezTo>
                  <a:close/>
                  <a:moveTo>
                    <a:pt x="953521" y="0"/>
                  </a:moveTo>
                  <a:lnTo>
                    <a:pt x="981035" y="1330"/>
                  </a:lnTo>
                  <a:cubicBezTo>
                    <a:pt x="1124068" y="53565"/>
                    <a:pt x="1247786" y="180867"/>
                    <a:pt x="1332000" y="354889"/>
                  </a:cubicBezTo>
                  <a:cubicBezTo>
                    <a:pt x="1219743" y="403080"/>
                    <a:pt x="1090709" y="429800"/>
                    <a:pt x="953521" y="430954"/>
                  </a:cubicBezTo>
                  <a:close/>
                </a:path>
              </a:pathLst>
            </a:custGeom>
            <a:solidFill>
              <a:schemeClr val="tx1"/>
            </a:solidFill>
            <a:ln w="12700" cap="flat" cmpd="sng" algn="ctr">
              <a:noFill/>
              <a:prstDash val="solid"/>
              <a:miter lim="800000"/>
            </a:ln>
            <a:effectLst/>
          </p:spPr>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a:solidFill>
                  <a:srgbClr val="FFFFFF"/>
                </a:solidFill>
                <a:cs typeface="+mn-ea"/>
                <a:sym typeface="+mn-lt"/>
              </a:endParaRPr>
            </a:p>
          </p:txBody>
        </p:sp>
        <p:grpSp>
          <p:nvGrpSpPr>
            <p:cNvPr id="3" name="组合 2"/>
            <p:cNvGrpSpPr/>
            <p:nvPr/>
          </p:nvGrpSpPr>
          <p:grpSpPr>
            <a:xfrm>
              <a:off x="4486242" y="3184725"/>
              <a:ext cx="938865" cy="572378"/>
              <a:chOff x="4929052" y="3430885"/>
              <a:chExt cx="938865" cy="572378"/>
            </a:xfrm>
          </p:grpSpPr>
          <p:sp>
            <p:nvSpPr>
              <p:cNvPr id="23" name="KSO_Shape"/>
              <p:cNvSpPr/>
              <p:nvPr/>
            </p:nvSpPr>
            <p:spPr>
              <a:xfrm>
                <a:off x="4929052" y="3430885"/>
                <a:ext cx="938865" cy="572378"/>
              </a:xfrm>
              <a:custGeom>
                <a:avLst/>
                <a:gdLst/>
                <a:ahLst/>
                <a:cxnLst/>
                <a:rect l="l" t="t" r="r" b="b"/>
                <a:pathLst>
                  <a:path w="3095883" h="2092590">
                    <a:moveTo>
                      <a:pt x="1714326" y="115005"/>
                    </a:moveTo>
                    <a:cubicBezTo>
                      <a:pt x="1363633" y="115005"/>
                      <a:pt x="1067904" y="350339"/>
                      <a:pt x="980351" y="672716"/>
                    </a:cubicBezTo>
                    <a:cubicBezTo>
                      <a:pt x="1054204" y="688080"/>
                      <a:pt x="1123613" y="714214"/>
                      <a:pt x="1186949" y="749118"/>
                    </a:cubicBezTo>
                    <a:lnTo>
                      <a:pt x="1146949" y="851829"/>
                    </a:lnTo>
                    <a:cubicBezTo>
                      <a:pt x="1045110" y="792678"/>
                      <a:pt x="924045" y="759572"/>
                      <a:pt x="794454" y="759572"/>
                    </a:cubicBezTo>
                    <a:cubicBezTo>
                      <a:pt x="421493" y="759572"/>
                      <a:pt x="119149" y="1033787"/>
                      <a:pt x="119149" y="1372048"/>
                    </a:cubicBezTo>
                    <a:cubicBezTo>
                      <a:pt x="119149" y="1679144"/>
                      <a:pt x="368346" y="1933451"/>
                      <a:pt x="693810" y="1973790"/>
                    </a:cubicBezTo>
                    <a:lnTo>
                      <a:pt x="2644062" y="1973790"/>
                    </a:lnTo>
                    <a:cubicBezTo>
                      <a:pt x="2845151" y="1916500"/>
                      <a:pt x="2989619" y="1749402"/>
                      <a:pt x="2989619" y="1552531"/>
                    </a:cubicBezTo>
                    <a:cubicBezTo>
                      <a:pt x="2989619" y="1330357"/>
                      <a:pt x="2805628" y="1146101"/>
                      <a:pt x="2564544" y="1113415"/>
                    </a:cubicBezTo>
                    <a:cubicBezTo>
                      <a:pt x="2546404" y="1180567"/>
                      <a:pt x="2519482" y="1244124"/>
                      <a:pt x="2485002" y="1303018"/>
                    </a:cubicBezTo>
                    <a:lnTo>
                      <a:pt x="2377950" y="1260252"/>
                    </a:lnTo>
                    <a:cubicBezTo>
                      <a:pt x="2444874" y="1149958"/>
                      <a:pt x="2481419" y="1020296"/>
                      <a:pt x="2481419" y="882098"/>
                    </a:cubicBezTo>
                    <a:cubicBezTo>
                      <a:pt x="2481419" y="458444"/>
                      <a:pt x="2137980" y="115005"/>
                      <a:pt x="1714326" y="115005"/>
                    </a:cubicBezTo>
                    <a:close/>
                    <a:moveTo>
                      <a:pt x="1714326" y="0"/>
                    </a:moveTo>
                    <a:cubicBezTo>
                      <a:pt x="2201495" y="0"/>
                      <a:pt x="2596424" y="394929"/>
                      <a:pt x="2596424" y="882098"/>
                    </a:cubicBezTo>
                    <a:cubicBezTo>
                      <a:pt x="2596424" y="929587"/>
                      <a:pt x="2592672" y="976199"/>
                      <a:pt x="2584027" y="1021384"/>
                    </a:cubicBezTo>
                    <a:cubicBezTo>
                      <a:pt x="2874515" y="1061994"/>
                      <a:pt x="3095883" y="1284452"/>
                      <a:pt x="3095883" y="1552530"/>
                    </a:cubicBezTo>
                    <a:cubicBezTo>
                      <a:pt x="3095883" y="1808471"/>
                      <a:pt x="2894108" y="2022828"/>
                      <a:pt x="2623005" y="2077281"/>
                    </a:cubicBezTo>
                    <a:cubicBezTo>
                      <a:pt x="2590159" y="2087878"/>
                      <a:pt x="2555435" y="2092590"/>
                      <a:pt x="2519757" y="2092590"/>
                    </a:cubicBezTo>
                    <a:lnTo>
                      <a:pt x="2483815" y="2092590"/>
                    </a:lnTo>
                    <a:lnTo>
                      <a:pt x="719703" y="2092590"/>
                    </a:lnTo>
                    <a:cubicBezTo>
                      <a:pt x="662513" y="2092590"/>
                      <a:pt x="607773" y="2080483"/>
                      <a:pt x="557775" y="2057460"/>
                    </a:cubicBezTo>
                    <a:cubicBezTo>
                      <a:pt x="234310" y="1968384"/>
                      <a:pt x="0" y="1695034"/>
                      <a:pt x="0" y="1372049"/>
                    </a:cubicBezTo>
                    <a:cubicBezTo>
                      <a:pt x="0" y="974105"/>
                      <a:pt x="355689" y="651508"/>
                      <a:pt x="794454" y="651508"/>
                    </a:cubicBezTo>
                    <a:lnTo>
                      <a:pt x="864744" y="655744"/>
                    </a:lnTo>
                    <a:lnTo>
                      <a:pt x="862837" y="654982"/>
                    </a:lnTo>
                    <a:cubicBezTo>
                      <a:pt x="962103" y="277743"/>
                      <a:pt x="1305780" y="0"/>
                      <a:pt x="1714326" y="0"/>
                    </a:cubicBezTo>
                    <a:close/>
                  </a:path>
                </a:pathLst>
              </a:custGeom>
              <a:solidFill>
                <a:schemeClr val="tx1"/>
              </a:solidFill>
              <a:ln w="12700" cap="flat" cmpd="sng" algn="ctr">
                <a:noFill/>
                <a:prstDash val="solid"/>
                <a:miter lim="800000"/>
              </a:ln>
              <a:effectLst/>
            </p:spPr>
            <p:txBody>
              <a:bodyPr tIns="734333"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dirty="0">
                  <a:solidFill>
                    <a:prstClr val="black"/>
                  </a:solidFill>
                  <a:cs typeface="+mn-ea"/>
                  <a:sym typeface="+mn-lt"/>
                </a:endParaRPr>
              </a:p>
            </p:txBody>
          </p:sp>
          <p:sp>
            <p:nvSpPr>
              <p:cNvPr id="26" name="TextBox 25"/>
              <p:cNvSpPr txBox="1"/>
              <p:nvPr/>
            </p:nvSpPr>
            <p:spPr>
              <a:xfrm>
                <a:off x="5052912" y="3590635"/>
                <a:ext cx="780581" cy="406265"/>
              </a:xfrm>
              <a:prstGeom prst="rect">
                <a:avLst/>
              </a:prstGeom>
              <a:noFill/>
            </p:spPr>
            <p:txBody>
              <a:bodyPr wrap="square" rtlCol="0">
                <a:spAutoFit/>
              </a:bodyPr>
              <a:lstStyle/>
              <a:p>
                <a:pPr defTabSz="931545">
                  <a:defRPr/>
                </a:pPr>
                <a:r>
                  <a:rPr lang="en-US" altLang="zh-CN" sz="2040" b="1" kern="0" dirty="0">
                    <a:solidFill>
                      <a:prstClr val="black"/>
                    </a:solidFill>
                    <a:cs typeface="+mn-ea"/>
                    <a:sym typeface="+mn-lt"/>
                  </a:rPr>
                  <a:t>LAN</a:t>
                </a:r>
                <a:endParaRPr lang="zh-CN" altLang="en-US" sz="2040" b="1" kern="0" dirty="0">
                  <a:solidFill>
                    <a:prstClr val="black"/>
                  </a:solidFill>
                  <a:cs typeface="+mn-ea"/>
                  <a:sym typeface="+mn-lt"/>
                </a:endParaRPr>
              </a:p>
            </p:txBody>
          </p:sp>
        </p:grpSp>
        <p:sp>
          <p:nvSpPr>
            <p:cNvPr id="24" name="KSO_Shape"/>
            <p:cNvSpPr/>
            <p:nvPr/>
          </p:nvSpPr>
          <p:spPr>
            <a:xfrm>
              <a:off x="4926962" y="3904336"/>
              <a:ext cx="918384" cy="405974"/>
            </a:xfrm>
            <a:custGeom>
              <a:avLst/>
              <a:gdLst>
                <a:gd name="connsiteX0" fmla="*/ 430390 w 520647"/>
                <a:gd name="connsiteY0" fmla="*/ 89306 h 220357"/>
                <a:gd name="connsiteX1" fmla="*/ 430390 w 520647"/>
                <a:gd name="connsiteY1" fmla="*/ 168043 h 220357"/>
                <a:gd name="connsiteX2" fmla="*/ 458474 w 520647"/>
                <a:gd name="connsiteY2" fmla="*/ 168043 h 220357"/>
                <a:gd name="connsiteX3" fmla="*/ 458474 w 520647"/>
                <a:gd name="connsiteY3" fmla="*/ 89306 h 220357"/>
                <a:gd name="connsiteX4" fmla="*/ 200913 w 520647"/>
                <a:gd name="connsiteY4" fmla="*/ 88360 h 220357"/>
                <a:gd name="connsiteX5" fmla="*/ 228998 w 520647"/>
                <a:gd name="connsiteY5" fmla="*/ 88360 h 220357"/>
                <a:gd name="connsiteX6" fmla="*/ 228998 w 520647"/>
                <a:gd name="connsiteY6" fmla="*/ 167097 h 220357"/>
                <a:gd name="connsiteX7" fmla="*/ 200913 w 520647"/>
                <a:gd name="connsiteY7" fmla="*/ 167097 h 220357"/>
                <a:gd name="connsiteX8" fmla="*/ 314333 w 520647"/>
                <a:gd name="connsiteY8" fmla="*/ 63603 h 220357"/>
                <a:gd name="connsiteX9" fmla="*/ 314333 w 520647"/>
                <a:gd name="connsiteY9" fmla="*/ 168270 h 220357"/>
                <a:gd name="connsiteX10" fmla="*/ 342417 w 520647"/>
                <a:gd name="connsiteY10" fmla="*/ 168270 h 220357"/>
                <a:gd name="connsiteX11" fmla="*/ 343497 w 520647"/>
                <a:gd name="connsiteY11" fmla="*/ 133729 h 220357"/>
                <a:gd name="connsiteX12" fmla="*/ 403988 w 520647"/>
                <a:gd name="connsiteY12" fmla="*/ 133729 h 220357"/>
                <a:gd name="connsiteX13" fmla="*/ 403988 w 520647"/>
                <a:gd name="connsiteY13" fmla="*/ 111749 h 220357"/>
                <a:gd name="connsiteX14" fmla="*/ 343497 w 520647"/>
                <a:gd name="connsiteY14" fmla="*/ 111749 h 220357"/>
                <a:gd name="connsiteX15" fmla="*/ 343497 w 520647"/>
                <a:gd name="connsiteY15" fmla="*/ 86629 h 220357"/>
                <a:gd name="connsiteX16" fmla="*/ 407228 w 520647"/>
                <a:gd name="connsiteY16" fmla="*/ 86629 h 220357"/>
                <a:gd name="connsiteX17" fmla="*/ 407228 w 520647"/>
                <a:gd name="connsiteY17" fmla="*/ 63603 h 220357"/>
                <a:gd name="connsiteX18" fmla="*/ 47878 w 520647"/>
                <a:gd name="connsiteY18" fmla="*/ 62543 h 220357"/>
                <a:gd name="connsiteX19" fmla="*/ 81509 w 520647"/>
                <a:gd name="connsiteY19" fmla="*/ 62543 h 220357"/>
                <a:gd name="connsiteX20" fmla="*/ 92720 w 520647"/>
                <a:gd name="connsiteY20" fmla="*/ 112783 h 220357"/>
                <a:gd name="connsiteX21" fmla="*/ 106733 w 520647"/>
                <a:gd name="connsiteY21" fmla="*/ 62543 h 220357"/>
                <a:gd name="connsiteX22" fmla="*/ 130555 w 520647"/>
                <a:gd name="connsiteY22" fmla="*/ 62543 h 220357"/>
                <a:gd name="connsiteX23" fmla="*/ 144569 w 520647"/>
                <a:gd name="connsiteY23" fmla="*/ 114141 h 220357"/>
                <a:gd name="connsiteX24" fmla="*/ 158582 w 520647"/>
                <a:gd name="connsiteY24" fmla="*/ 62543 h 220357"/>
                <a:gd name="connsiteX25" fmla="*/ 188009 w 520647"/>
                <a:gd name="connsiteY25" fmla="*/ 62543 h 220357"/>
                <a:gd name="connsiteX26" fmla="*/ 158582 w 520647"/>
                <a:gd name="connsiteY26" fmla="*/ 166786 h 220357"/>
                <a:gd name="connsiteX27" fmla="*/ 130555 w 520647"/>
                <a:gd name="connsiteY27" fmla="*/ 167097 h 220357"/>
                <a:gd name="connsiteX28" fmla="*/ 119345 w 520647"/>
                <a:gd name="connsiteY28" fmla="*/ 108710 h 220357"/>
                <a:gd name="connsiteX29" fmla="*/ 108134 w 520647"/>
                <a:gd name="connsiteY29" fmla="*/ 166786 h 220357"/>
                <a:gd name="connsiteX30" fmla="*/ 75904 w 520647"/>
                <a:gd name="connsiteY30" fmla="*/ 167097 h 220357"/>
                <a:gd name="connsiteX31" fmla="*/ 445129 w 520647"/>
                <a:gd name="connsiteY31" fmla="*/ 55732 h 220357"/>
                <a:gd name="connsiteX32" fmla="*/ 431784 w 520647"/>
                <a:gd name="connsiteY32" fmla="*/ 68663 h 220357"/>
                <a:gd name="connsiteX33" fmla="*/ 445129 w 520647"/>
                <a:gd name="connsiteY33" fmla="*/ 81594 h 220357"/>
                <a:gd name="connsiteX34" fmla="*/ 458474 w 520647"/>
                <a:gd name="connsiteY34" fmla="*/ 68663 h 220357"/>
                <a:gd name="connsiteX35" fmla="*/ 445129 w 520647"/>
                <a:gd name="connsiteY35" fmla="*/ 55732 h 220357"/>
                <a:gd name="connsiteX36" fmla="*/ 215653 w 520647"/>
                <a:gd name="connsiteY36" fmla="*/ 54786 h 220357"/>
                <a:gd name="connsiteX37" fmla="*/ 228998 w 520647"/>
                <a:gd name="connsiteY37" fmla="*/ 67717 h 220357"/>
                <a:gd name="connsiteX38" fmla="*/ 215653 w 520647"/>
                <a:gd name="connsiteY38" fmla="*/ 80648 h 220357"/>
                <a:gd name="connsiteX39" fmla="*/ 202308 w 520647"/>
                <a:gd name="connsiteY39" fmla="*/ 67717 h 220357"/>
                <a:gd name="connsiteX40" fmla="*/ 215653 w 520647"/>
                <a:gd name="connsiteY40" fmla="*/ 54786 h 220357"/>
                <a:gd name="connsiteX41" fmla="*/ 405451 w 520647"/>
                <a:gd name="connsiteY41" fmla="*/ 23682 h 220357"/>
                <a:gd name="connsiteX42" fmla="*/ 434092 w 520647"/>
                <a:gd name="connsiteY42" fmla="*/ 23829 h 220357"/>
                <a:gd name="connsiteX43" fmla="*/ 495663 w 520647"/>
                <a:gd name="connsiteY43" fmla="*/ 84536 h 220357"/>
                <a:gd name="connsiteX44" fmla="*/ 495663 w 520647"/>
                <a:gd name="connsiteY44" fmla="*/ 144196 h 220357"/>
                <a:gd name="connsiteX45" fmla="*/ 426531 w 520647"/>
                <a:gd name="connsiteY45" fmla="*/ 197576 h 220357"/>
                <a:gd name="connsiteX46" fmla="*/ 233179 w 520647"/>
                <a:gd name="connsiteY46" fmla="*/ 197576 h 220357"/>
                <a:gd name="connsiteX47" fmla="*/ 267745 w 520647"/>
                <a:gd name="connsiteY47" fmla="*/ 135823 h 220357"/>
                <a:gd name="connsiteX48" fmla="*/ 266665 w 520647"/>
                <a:gd name="connsiteY48" fmla="*/ 74069 h 220357"/>
                <a:gd name="connsiteX49" fmla="*/ 321754 w 520647"/>
                <a:gd name="connsiteY49" fmla="*/ 23829 h 220357"/>
                <a:gd name="connsiteX50" fmla="*/ 405451 w 520647"/>
                <a:gd name="connsiteY50" fmla="*/ 23682 h 220357"/>
                <a:gd name="connsiteX51" fmla="*/ 86856 w 520647"/>
                <a:gd name="connsiteY51" fmla="*/ 16233 h 220357"/>
                <a:gd name="connsiteX52" fmla="*/ 14590 w 520647"/>
                <a:gd name="connsiteY52" fmla="*/ 88500 h 220357"/>
                <a:gd name="connsiteX53" fmla="*/ 14590 w 520647"/>
                <a:gd name="connsiteY53" fmla="*/ 132968 h 220357"/>
                <a:gd name="connsiteX54" fmla="*/ 86856 w 520647"/>
                <a:gd name="connsiteY54" fmla="*/ 205235 h 220357"/>
                <a:gd name="connsiteX55" fmla="*/ 430588 w 520647"/>
                <a:gd name="connsiteY55" fmla="*/ 205235 h 220357"/>
                <a:gd name="connsiteX56" fmla="*/ 502855 w 520647"/>
                <a:gd name="connsiteY56" fmla="*/ 132968 h 220357"/>
                <a:gd name="connsiteX57" fmla="*/ 502855 w 520647"/>
                <a:gd name="connsiteY57" fmla="*/ 88500 h 220357"/>
                <a:gd name="connsiteX58" fmla="*/ 430588 w 520647"/>
                <a:gd name="connsiteY58" fmla="*/ 16233 h 220357"/>
                <a:gd name="connsiteX59" fmla="*/ 84256 w 520647"/>
                <a:gd name="connsiteY59" fmla="*/ 0 h 220357"/>
                <a:gd name="connsiteX60" fmla="*/ 436391 w 520647"/>
                <a:gd name="connsiteY60" fmla="*/ 0 h 220357"/>
                <a:gd name="connsiteX61" fmla="*/ 520647 w 520647"/>
                <a:gd name="connsiteY61" fmla="*/ 84256 h 220357"/>
                <a:gd name="connsiteX62" fmla="*/ 520647 w 520647"/>
                <a:gd name="connsiteY62" fmla="*/ 136101 h 220357"/>
                <a:gd name="connsiteX63" fmla="*/ 436391 w 520647"/>
                <a:gd name="connsiteY63" fmla="*/ 220357 h 220357"/>
                <a:gd name="connsiteX64" fmla="*/ 84256 w 520647"/>
                <a:gd name="connsiteY64" fmla="*/ 220357 h 220357"/>
                <a:gd name="connsiteX65" fmla="*/ 0 w 520647"/>
                <a:gd name="connsiteY65" fmla="*/ 136101 h 220357"/>
                <a:gd name="connsiteX66" fmla="*/ 0 w 520647"/>
                <a:gd name="connsiteY66" fmla="*/ 84256 h 220357"/>
                <a:gd name="connsiteX67" fmla="*/ 84256 w 520647"/>
                <a:gd name="connsiteY67" fmla="*/ 0 h 22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20647" h="220357">
                  <a:moveTo>
                    <a:pt x="430390" y="89306"/>
                  </a:moveTo>
                  <a:lnTo>
                    <a:pt x="430390" y="168043"/>
                  </a:lnTo>
                  <a:lnTo>
                    <a:pt x="458474" y="168043"/>
                  </a:lnTo>
                  <a:lnTo>
                    <a:pt x="458474" y="89306"/>
                  </a:lnTo>
                  <a:close/>
                  <a:moveTo>
                    <a:pt x="200913" y="88360"/>
                  </a:moveTo>
                  <a:lnTo>
                    <a:pt x="228998" y="88360"/>
                  </a:lnTo>
                  <a:lnTo>
                    <a:pt x="228998" y="167097"/>
                  </a:lnTo>
                  <a:lnTo>
                    <a:pt x="200913" y="167097"/>
                  </a:lnTo>
                  <a:close/>
                  <a:moveTo>
                    <a:pt x="314333" y="63603"/>
                  </a:moveTo>
                  <a:lnTo>
                    <a:pt x="314333" y="168270"/>
                  </a:lnTo>
                  <a:lnTo>
                    <a:pt x="342417" y="168270"/>
                  </a:lnTo>
                  <a:lnTo>
                    <a:pt x="343497" y="133729"/>
                  </a:lnTo>
                  <a:lnTo>
                    <a:pt x="403988" y="133729"/>
                  </a:lnTo>
                  <a:lnTo>
                    <a:pt x="403988" y="111749"/>
                  </a:lnTo>
                  <a:lnTo>
                    <a:pt x="343497" y="111749"/>
                  </a:lnTo>
                  <a:lnTo>
                    <a:pt x="343497" y="86629"/>
                  </a:lnTo>
                  <a:lnTo>
                    <a:pt x="407228" y="86629"/>
                  </a:lnTo>
                  <a:lnTo>
                    <a:pt x="407228" y="63603"/>
                  </a:lnTo>
                  <a:close/>
                  <a:moveTo>
                    <a:pt x="47878" y="62543"/>
                  </a:moveTo>
                  <a:lnTo>
                    <a:pt x="81509" y="62543"/>
                  </a:lnTo>
                  <a:lnTo>
                    <a:pt x="92720" y="112783"/>
                  </a:lnTo>
                  <a:lnTo>
                    <a:pt x="106733" y="62543"/>
                  </a:lnTo>
                  <a:lnTo>
                    <a:pt x="130555" y="62543"/>
                  </a:lnTo>
                  <a:lnTo>
                    <a:pt x="144569" y="114141"/>
                  </a:lnTo>
                  <a:lnTo>
                    <a:pt x="158582" y="62543"/>
                  </a:lnTo>
                  <a:lnTo>
                    <a:pt x="188009" y="62543"/>
                  </a:lnTo>
                  <a:lnTo>
                    <a:pt x="158582" y="166786"/>
                  </a:lnTo>
                  <a:lnTo>
                    <a:pt x="130555" y="167097"/>
                  </a:lnTo>
                  <a:lnTo>
                    <a:pt x="119345" y="108710"/>
                  </a:lnTo>
                  <a:lnTo>
                    <a:pt x="108134" y="166786"/>
                  </a:lnTo>
                  <a:lnTo>
                    <a:pt x="75904" y="167097"/>
                  </a:lnTo>
                  <a:close/>
                  <a:moveTo>
                    <a:pt x="445129" y="55732"/>
                  </a:moveTo>
                  <a:cubicBezTo>
                    <a:pt x="437759" y="55732"/>
                    <a:pt x="431784" y="61522"/>
                    <a:pt x="431784" y="68663"/>
                  </a:cubicBezTo>
                  <a:cubicBezTo>
                    <a:pt x="431784" y="75805"/>
                    <a:pt x="437759" y="81594"/>
                    <a:pt x="445129" y="81594"/>
                  </a:cubicBezTo>
                  <a:cubicBezTo>
                    <a:pt x="452500" y="81594"/>
                    <a:pt x="458474" y="75805"/>
                    <a:pt x="458474" y="68663"/>
                  </a:cubicBezTo>
                  <a:cubicBezTo>
                    <a:pt x="458474" y="61522"/>
                    <a:pt x="452500" y="55732"/>
                    <a:pt x="445129" y="55732"/>
                  </a:cubicBezTo>
                  <a:close/>
                  <a:moveTo>
                    <a:pt x="215653" y="54786"/>
                  </a:moveTo>
                  <a:cubicBezTo>
                    <a:pt x="223023" y="54786"/>
                    <a:pt x="228998" y="60576"/>
                    <a:pt x="228998" y="67717"/>
                  </a:cubicBezTo>
                  <a:cubicBezTo>
                    <a:pt x="228998" y="74859"/>
                    <a:pt x="223023" y="80648"/>
                    <a:pt x="215653" y="80648"/>
                  </a:cubicBezTo>
                  <a:cubicBezTo>
                    <a:pt x="208282" y="80648"/>
                    <a:pt x="202308" y="74859"/>
                    <a:pt x="202308" y="67717"/>
                  </a:cubicBezTo>
                  <a:cubicBezTo>
                    <a:pt x="202308" y="60576"/>
                    <a:pt x="208282" y="54786"/>
                    <a:pt x="215653" y="54786"/>
                  </a:cubicBezTo>
                  <a:close/>
                  <a:moveTo>
                    <a:pt x="405451" y="23682"/>
                  </a:moveTo>
                  <a:cubicBezTo>
                    <a:pt x="415865" y="23698"/>
                    <a:pt x="425721" y="23742"/>
                    <a:pt x="434092" y="23829"/>
                  </a:cubicBezTo>
                  <a:cubicBezTo>
                    <a:pt x="467578" y="24178"/>
                    <a:pt x="494583" y="59067"/>
                    <a:pt x="495663" y="84536"/>
                  </a:cubicBezTo>
                  <a:cubicBezTo>
                    <a:pt x="496743" y="110005"/>
                    <a:pt x="496023" y="118029"/>
                    <a:pt x="495663" y="144196"/>
                  </a:cubicBezTo>
                  <a:cubicBezTo>
                    <a:pt x="495303" y="170363"/>
                    <a:pt x="463617" y="197576"/>
                    <a:pt x="426531" y="197576"/>
                  </a:cubicBezTo>
                  <a:lnTo>
                    <a:pt x="233179" y="197576"/>
                  </a:lnTo>
                  <a:cubicBezTo>
                    <a:pt x="267385" y="175945"/>
                    <a:pt x="268105" y="152220"/>
                    <a:pt x="267745" y="135823"/>
                  </a:cubicBezTo>
                  <a:cubicBezTo>
                    <a:pt x="267385" y="119425"/>
                    <a:pt x="267745" y="97096"/>
                    <a:pt x="266665" y="74069"/>
                  </a:cubicBezTo>
                  <a:cubicBezTo>
                    <a:pt x="265585" y="51043"/>
                    <a:pt x="300150" y="23829"/>
                    <a:pt x="321754" y="23829"/>
                  </a:cubicBezTo>
                  <a:cubicBezTo>
                    <a:pt x="337957" y="23829"/>
                    <a:pt x="374210" y="23633"/>
                    <a:pt x="405451" y="23682"/>
                  </a:cubicBezTo>
                  <a:close/>
                  <a:moveTo>
                    <a:pt x="86856" y="16233"/>
                  </a:moveTo>
                  <a:cubicBezTo>
                    <a:pt x="46944" y="16233"/>
                    <a:pt x="14590" y="48588"/>
                    <a:pt x="14590" y="88500"/>
                  </a:cubicBezTo>
                  <a:lnTo>
                    <a:pt x="14590" y="132968"/>
                  </a:lnTo>
                  <a:cubicBezTo>
                    <a:pt x="14590" y="172880"/>
                    <a:pt x="46944" y="205235"/>
                    <a:pt x="86856" y="205235"/>
                  </a:cubicBezTo>
                  <a:lnTo>
                    <a:pt x="430588" y="205235"/>
                  </a:lnTo>
                  <a:cubicBezTo>
                    <a:pt x="470500" y="205235"/>
                    <a:pt x="502855" y="172880"/>
                    <a:pt x="502855" y="132968"/>
                  </a:cubicBezTo>
                  <a:lnTo>
                    <a:pt x="502855" y="88500"/>
                  </a:lnTo>
                  <a:cubicBezTo>
                    <a:pt x="502855" y="48588"/>
                    <a:pt x="470500" y="16233"/>
                    <a:pt x="430588" y="16233"/>
                  </a:cubicBezTo>
                  <a:close/>
                  <a:moveTo>
                    <a:pt x="84256" y="0"/>
                  </a:moveTo>
                  <a:lnTo>
                    <a:pt x="436391" y="0"/>
                  </a:lnTo>
                  <a:cubicBezTo>
                    <a:pt x="482925" y="0"/>
                    <a:pt x="520647" y="37723"/>
                    <a:pt x="520647" y="84256"/>
                  </a:cubicBezTo>
                  <a:lnTo>
                    <a:pt x="520647" y="136101"/>
                  </a:lnTo>
                  <a:cubicBezTo>
                    <a:pt x="520647" y="182635"/>
                    <a:pt x="482925" y="220357"/>
                    <a:pt x="436391" y="220357"/>
                  </a:cubicBezTo>
                  <a:lnTo>
                    <a:pt x="84256" y="220357"/>
                  </a:lnTo>
                  <a:cubicBezTo>
                    <a:pt x="37722" y="220357"/>
                    <a:pt x="0" y="182635"/>
                    <a:pt x="0" y="136101"/>
                  </a:cubicBezTo>
                  <a:lnTo>
                    <a:pt x="0" y="84256"/>
                  </a:lnTo>
                  <a:cubicBezTo>
                    <a:pt x="0" y="37723"/>
                    <a:pt x="37722" y="0"/>
                    <a:pt x="84256" y="0"/>
                  </a:cubicBezTo>
                  <a:close/>
                </a:path>
              </a:pathLst>
            </a:custGeom>
            <a:solidFill>
              <a:schemeClr val="tx1"/>
            </a:solidFill>
            <a:ln w="12700" cap="flat" cmpd="sng" algn="ctr">
              <a:noFill/>
              <a:prstDash val="solid"/>
              <a:miter lim="800000"/>
            </a:ln>
            <a:effectLst/>
          </p:spPr>
          <p:txBody>
            <a:bodyPr anchor="ct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31545" eaLnBrk="1" fontAlgn="auto" hangingPunct="1">
                <a:spcBef>
                  <a:spcPts val="0"/>
                </a:spcBef>
                <a:spcAft>
                  <a:spcPts val="0"/>
                </a:spcAft>
                <a:defRPr/>
              </a:pPr>
              <a:endParaRPr lang="zh-CN" altLang="en-US" sz="1835" dirty="0">
                <a:solidFill>
                  <a:srgbClr val="FFFFFF"/>
                </a:solidFill>
                <a:cs typeface="+mn-ea"/>
                <a:sym typeface="+mn-lt"/>
              </a:endParaRPr>
            </a:p>
          </p:txBody>
        </p:sp>
      </p:grpSp>
      <p:sp>
        <p:nvSpPr>
          <p:cNvPr id="4" name="标题 3"/>
          <p:cNvSpPr>
            <a:spLocks noGrp="1"/>
          </p:cNvSpPr>
          <p:nvPr>
            <p:ph type="title"/>
          </p:nvPr>
        </p:nvSpPr>
        <p:spPr>
          <a:xfrm>
            <a:off x="166507" y="175367"/>
            <a:ext cx="11192828" cy="946413"/>
          </a:xfrm>
        </p:spPr>
        <p:txBody>
          <a:bodyPr vert="horz" wrap="square" lIns="146304" tIns="91440" rIns="146304" bIns="91440" rtlCol="0" anchor="t">
            <a:noAutofit/>
          </a:bodyPr>
          <a:lstStyle/>
          <a:p>
            <a:r>
              <a:rPr lang="en-US" altLang="zh-CN" dirty="0" err="1">
                <a:latin typeface="+mn-lt"/>
                <a:cs typeface="+mn-ea"/>
                <a:sym typeface="+mn-lt"/>
              </a:rPr>
              <a:t>Système</a:t>
            </a:r>
            <a:r>
              <a:rPr lang="en-US" altLang="zh-CN" dirty="0">
                <a:latin typeface="+mn-lt"/>
                <a:cs typeface="+mn-ea"/>
                <a:sym typeface="+mn-lt"/>
              </a:rPr>
              <a:t> de publication </a:t>
            </a:r>
            <a:r>
              <a:rPr lang="en-US" altLang="zh-CN" dirty="0" err="1">
                <a:latin typeface="+mn-lt"/>
                <a:cs typeface="+mn-ea"/>
                <a:sym typeface="+mn-lt"/>
              </a:rPr>
              <a:t>multimédia</a:t>
            </a:r>
            <a:r>
              <a:rPr lang="en-US" altLang="zh-CN" dirty="0">
                <a:latin typeface="+mn-lt"/>
                <a:cs typeface="+mn-ea"/>
                <a:sym typeface="+mn-lt"/>
              </a:rPr>
              <a:t/>
            </a:r>
            <a:br>
              <a:rPr lang="en-US" altLang="zh-CN" dirty="0">
                <a:latin typeface="+mn-lt"/>
                <a:cs typeface="+mn-ea"/>
                <a:sym typeface="+mn-lt"/>
              </a:rPr>
            </a:br>
            <a:endParaRPr lang="zh-CN" altLang="en-US" dirty="0">
              <a:latin typeface="+mn-lt"/>
              <a:cs typeface="+mn-ea"/>
              <a:sym typeface="+mn-lt"/>
            </a:endParaRPr>
          </a:p>
        </p:txBody>
      </p:sp>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contrast="5000"/>
                    </a14:imgEffect>
                  </a14:imgLayer>
                </a14:imgProps>
              </a:ext>
            </a:extLst>
          </a:blip>
          <a:stretch>
            <a:fillRect/>
          </a:stretch>
        </p:blipFill>
        <p:spPr>
          <a:xfrm>
            <a:off x="0" y="1009967"/>
            <a:ext cx="12436475" cy="4974590"/>
          </a:xfrm>
          <a:prstGeom prst="rect">
            <a:avLst/>
          </a:prstGeom>
        </p:spPr>
      </p:pic>
      <p:sp>
        <p:nvSpPr>
          <p:cNvPr id="2" name="标题 1"/>
          <p:cNvSpPr>
            <a:spLocks noGrp="1"/>
          </p:cNvSpPr>
          <p:nvPr>
            <p:ph type="title"/>
          </p:nvPr>
        </p:nvSpPr>
        <p:spPr/>
        <p:txBody>
          <a:bodyPr/>
          <a:lstStyle/>
          <a:p>
            <a:r>
              <a:rPr lang="fr-FR" altLang="zh-CN" dirty="0"/>
              <a:t>Caisse </a:t>
            </a:r>
            <a:endParaRPr lang="zh-CN" altLang="en-US" dirty="0">
              <a:latin typeface="+mn-lt"/>
              <a:cs typeface="+mn-ea"/>
              <a:sym typeface="+mn-lt"/>
            </a:endParaRPr>
          </a:p>
        </p:txBody>
      </p:sp>
      <p:sp>
        <p:nvSpPr>
          <p:cNvPr id="6" name="平行四边形 5"/>
          <p:cNvSpPr/>
          <p:nvPr/>
        </p:nvSpPr>
        <p:spPr>
          <a:xfrm>
            <a:off x="-639688" y="6213491"/>
            <a:ext cx="9235338" cy="449583"/>
          </a:xfrm>
          <a:prstGeom prst="parallelogram">
            <a:avLst>
              <a:gd name="adj" fmla="val 3815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cs typeface="+mn-ea"/>
              <a:sym typeface="+mn-lt"/>
            </a:endParaRPr>
          </a:p>
        </p:txBody>
      </p:sp>
      <p:sp>
        <p:nvSpPr>
          <p:cNvPr id="9" name="平行四边形 8"/>
          <p:cNvSpPr/>
          <p:nvPr/>
        </p:nvSpPr>
        <p:spPr>
          <a:xfrm>
            <a:off x="5304233" y="5334887"/>
            <a:ext cx="7132242" cy="453628"/>
          </a:xfrm>
          <a:prstGeom prst="parallelogram">
            <a:avLst>
              <a:gd name="adj" fmla="val 38158"/>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cs typeface="+mn-ea"/>
              <a:sym typeface="+mn-lt"/>
            </a:endParaRPr>
          </a:p>
        </p:txBody>
      </p:sp>
      <p:sp>
        <p:nvSpPr>
          <p:cNvPr id="10" name="文本框 9"/>
          <p:cNvSpPr txBox="1"/>
          <p:nvPr/>
        </p:nvSpPr>
        <p:spPr>
          <a:xfrm>
            <a:off x="5029530" y="5263410"/>
            <a:ext cx="10698869" cy="557076"/>
          </a:xfrm>
          <a:prstGeom prst="rect">
            <a:avLst/>
          </a:prstGeom>
          <a:noFill/>
        </p:spPr>
        <p:txBody>
          <a:bodyPr wrap="square" lIns="182880" tIns="146304" rIns="182880" bIns="146304" rtlCol="0">
            <a:spAutoFit/>
          </a:bodyPr>
          <a:lstStyle/>
          <a:p>
            <a:r>
              <a:rPr lang="fr-FR" altLang="zh-CN" sz="1700" dirty="0">
                <a:solidFill>
                  <a:schemeClr val="tx1">
                    <a:lumMod val="50000"/>
                  </a:schemeClr>
                </a:solidFill>
                <a:cs typeface="+mn-ea"/>
                <a:sym typeface="+mn-lt"/>
              </a:rPr>
              <a:t>L'intégration POS empêche le vol interne et les conflits de paiement</a:t>
            </a:r>
            <a:endParaRPr lang="en-US" altLang="zh-CN" sz="1700" dirty="0">
              <a:solidFill>
                <a:schemeClr val="bg1"/>
              </a:solidFill>
              <a:cs typeface="+mn-ea"/>
              <a:sym typeface="+mn-lt"/>
            </a:endParaRPr>
          </a:p>
        </p:txBody>
      </p:sp>
      <p:sp>
        <p:nvSpPr>
          <p:cNvPr id="8" name="平行四边形 7"/>
          <p:cNvSpPr/>
          <p:nvPr/>
        </p:nvSpPr>
        <p:spPr>
          <a:xfrm>
            <a:off x="-1005444" y="6213490"/>
            <a:ext cx="10789802" cy="449583"/>
          </a:xfrm>
          <a:prstGeom prst="parallelogram">
            <a:avLst>
              <a:gd name="adj" fmla="val 381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altLang="zh-CN" dirty="0">
                <a:cs typeface="+mn-ea"/>
                <a:sym typeface="+mn-lt"/>
              </a:rPr>
              <a:t>La gestion de la file d'attente aide à offrir une meilleure expérience d'achat</a:t>
            </a:r>
            <a:endParaRPr lang="zh-CN" altLang="en-US" dirty="0">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a:t>Caisse </a:t>
            </a:r>
            <a:r>
              <a:rPr lang="en-US" altLang="zh-CN" dirty="0">
                <a:latin typeface="+mn-lt"/>
                <a:cs typeface="+mn-ea"/>
                <a:sym typeface="+mn-lt"/>
              </a:rPr>
              <a:t>| </a:t>
            </a:r>
            <a:r>
              <a:rPr lang="fr-FR" altLang="zh-CN" sz="3600" dirty="0">
                <a:solidFill>
                  <a:schemeClr val="tx1">
                    <a:lumMod val="50000"/>
                  </a:schemeClr>
                </a:solidFill>
                <a:cs typeface="+mn-ea"/>
                <a:sym typeface="+mn-lt"/>
              </a:rPr>
              <a:t>L'intégration POS </a:t>
            </a:r>
            <a:endParaRPr lang="zh-CN" altLang="en-US" dirty="0">
              <a:latin typeface="+mn-lt"/>
              <a:cs typeface="+mn-ea"/>
              <a:sym typeface="+mn-lt"/>
            </a:endParaRPr>
          </a:p>
        </p:txBody>
      </p:sp>
      <p:sp>
        <p:nvSpPr>
          <p:cNvPr id="5" name="Rectangle 37"/>
          <p:cNvSpPr/>
          <p:nvPr/>
        </p:nvSpPr>
        <p:spPr bwMode="auto">
          <a:xfrm>
            <a:off x="770691" y="5045015"/>
            <a:ext cx="5221358" cy="736531"/>
          </a:xfrm>
          <a:prstGeom prst="rect">
            <a:avLst/>
          </a:prstGeom>
          <a:noFill/>
          <a:ln w="9525" cap="flat" cmpd="sng" algn="ctr">
            <a:noFill/>
            <a:prstDash val="solid"/>
            <a:headEnd type="none" w="med" len="med"/>
            <a:tailEnd type="none" w="med" len="med"/>
          </a:ln>
          <a:effectLst/>
        </p:spPr>
        <p:txBody>
          <a:bodyPr lIns="182880" tIns="146304" rIns="182880" bIns="146304"/>
          <a:lstStyle/>
          <a:p>
            <a:pPr>
              <a:defRPr/>
            </a:pPr>
            <a:r>
              <a:rPr lang="fr-FR" altLang="zh-CN" dirty="0">
                <a:solidFill>
                  <a:schemeClr val="tx1">
                    <a:lumMod val="50000"/>
                  </a:schemeClr>
                </a:solidFill>
                <a:cs typeface="+mn-ea"/>
                <a:sym typeface="+mn-lt"/>
              </a:rPr>
              <a:t>L'intégration POS </a:t>
            </a:r>
          </a:p>
          <a:p>
            <a:pPr>
              <a:defRPr/>
            </a:pPr>
            <a:r>
              <a:rPr lang="en-US" altLang="zh-CN" dirty="0">
                <a:cs typeface="+mn-ea"/>
                <a:sym typeface="+mn-lt"/>
              </a:rPr>
              <a:t>☆  POS </a:t>
            </a:r>
            <a:r>
              <a:rPr lang="zh-CN" altLang="en-US" dirty="0">
                <a:cs typeface="+mn-ea"/>
                <a:sym typeface="+mn-lt"/>
              </a:rPr>
              <a:t>*</a:t>
            </a:r>
            <a:r>
              <a:rPr lang="en-US" altLang="zh-CN" dirty="0">
                <a:cs typeface="+mn-ea"/>
                <a:sym typeface="+mn-lt"/>
              </a:rPr>
              <a:t>Overlay </a:t>
            </a:r>
            <a:r>
              <a:rPr lang="zh-CN" altLang="en-US" dirty="0">
                <a:cs typeface="+mn-ea"/>
                <a:sym typeface="+mn-lt"/>
              </a:rPr>
              <a:t>*</a:t>
            </a:r>
            <a:r>
              <a:rPr lang="en-US" altLang="zh-CN" dirty="0">
                <a:cs typeface="+mn-ea"/>
                <a:sym typeface="+mn-lt"/>
              </a:rPr>
              <a:t>                  ☆ Recherche </a:t>
            </a:r>
          </a:p>
        </p:txBody>
      </p:sp>
      <p:grpSp>
        <p:nvGrpSpPr>
          <p:cNvPr id="22" name="组合 21"/>
          <p:cNvGrpSpPr/>
          <p:nvPr/>
        </p:nvGrpSpPr>
        <p:grpSpPr>
          <a:xfrm>
            <a:off x="463450" y="6101256"/>
            <a:ext cx="5969239" cy="627864"/>
            <a:chOff x="431875" y="5545715"/>
            <a:chExt cx="5969239" cy="1198506"/>
          </a:xfrm>
        </p:grpSpPr>
        <p:sp>
          <p:nvSpPr>
            <p:cNvPr id="7" name="圆角矩形 6"/>
            <p:cNvSpPr/>
            <p:nvPr/>
          </p:nvSpPr>
          <p:spPr bwMode="auto">
            <a:xfrm>
              <a:off x="431875" y="5559108"/>
              <a:ext cx="5969239"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8" name="TextBox 7"/>
            <p:cNvSpPr txBox="1"/>
            <p:nvPr/>
          </p:nvSpPr>
          <p:spPr>
            <a:xfrm>
              <a:off x="2530417" y="5545715"/>
              <a:ext cx="3123291" cy="1198506"/>
            </a:xfrm>
            <a:prstGeom prst="rect">
              <a:avLst/>
            </a:prstGeom>
            <a:noFill/>
          </p:spPr>
          <p:txBody>
            <a:bodyPr wrap="none" lIns="182880" tIns="146304" rIns="182880" bIns="146304" rtlCol="0">
              <a:spAutoFit/>
            </a:bodyPr>
            <a:lstStyle/>
            <a:p>
              <a:pPr>
                <a:lnSpc>
                  <a:spcPct val="90000"/>
                </a:lnSpc>
                <a:spcAft>
                  <a:spcPts val="600"/>
                </a:spcAft>
              </a:pPr>
              <a:r>
                <a:rPr lang="en-US" altLang="zh-CN" sz="2400" dirty="0">
                  <a:gradFill>
                    <a:gsLst>
                      <a:gs pos="2917">
                        <a:schemeClr val="tx1"/>
                      </a:gs>
                      <a:gs pos="30000">
                        <a:schemeClr val="tx1"/>
                      </a:gs>
                    </a:gsLst>
                    <a:lin ang="5400000" scaled="0"/>
                  </a:gradFill>
                  <a:cs typeface="+mn-ea"/>
                  <a:sym typeface="+mn-lt"/>
                </a:rPr>
                <a:t>DH-NVR /DSS PRO</a:t>
              </a:r>
              <a:endParaRPr lang="zh-CN" altLang="en-US" sz="2400" dirty="0" err="1">
                <a:gradFill>
                  <a:gsLst>
                    <a:gs pos="2917">
                      <a:schemeClr val="tx1"/>
                    </a:gs>
                    <a:gs pos="30000">
                      <a:schemeClr val="tx1"/>
                    </a:gs>
                  </a:gsLst>
                  <a:lin ang="5400000" scaled="0"/>
                </a:gradFill>
                <a:cs typeface="+mn-ea"/>
                <a:sym typeface="+mn-lt"/>
              </a:endParaRPr>
            </a:p>
          </p:txBody>
        </p:sp>
        <p:pic>
          <p:nvPicPr>
            <p:cNvPr id="14338" name="Picture 2" descr="C:\Users\28182\Downloads\DSS4004_meitu_21.png"/>
            <p:cNvPicPr>
              <a:picLocks noChangeAspect="1" noChangeArrowheads="1"/>
            </p:cNvPicPr>
            <p:nvPr/>
          </p:nvPicPr>
          <p:blipFill rotWithShape="1">
            <a:blip r:embed="rId5" cstate="print"/>
            <a:srcRect/>
            <a:stretch>
              <a:fillRect/>
            </a:stretch>
          </p:blipFill>
          <p:spPr bwMode="auto">
            <a:xfrm>
              <a:off x="543576" y="5655024"/>
              <a:ext cx="1986841" cy="7087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组合 22"/>
          <p:cNvGrpSpPr/>
          <p:nvPr/>
        </p:nvGrpSpPr>
        <p:grpSpPr>
          <a:xfrm>
            <a:off x="6894655" y="5978411"/>
            <a:ext cx="5167086" cy="750709"/>
            <a:chOff x="6949748" y="5403924"/>
            <a:chExt cx="5167086" cy="1350905"/>
          </a:xfrm>
        </p:grpSpPr>
        <p:sp>
          <p:nvSpPr>
            <p:cNvPr id="12" name="圆角矩形 11"/>
            <p:cNvSpPr/>
            <p:nvPr/>
          </p:nvSpPr>
          <p:spPr bwMode="auto">
            <a:xfrm>
              <a:off x="6949748" y="5537473"/>
              <a:ext cx="5029145"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14" name="Picture 3"/>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Lst>
            </a:blip>
            <a:srcRect/>
            <a:stretch>
              <a:fillRect/>
            </a:stretch>
          </p:blipFill>
          <p:spPr bwMode="auto">
            <a:xfrm>
              <a:off x="7071165" y="5463565"/>
              <a:ext cx="868670" cy="1234427"/>
            </a:xfrm>
            <a:prstGeom prst="rect">
              <a:avLst/>
            </a:prstGeom>
            <a:noFill/>
            <a:ln>
              <a:noFill/>
            </a:ln>
            <a:effectLst>
              <a:innerShdw blurRad="63500" dist="50800" dir="189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1"/>
            <p:cNvSpPr txBox="1"/>
            <p:nvPr/>
          </p:nvSpPr>
          <p:spPr>
            <a:xfrm>
              <a:off x="7987141" y="5624984"/>
              <a:ext cx="2962991" cy="1129845"/>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2400" dirty="0">
                  <a:gradFill>
                    <a:gsLst>
                      <a:gs pos="2917">
                        <a:schemeClr val="tx1"/>
                      </a:gs>
                      <a:gs pos="30000">
                        <a:schemeClr val="tx1"/>
                      </a:gs>
                    </a:gsLst>
                    <a:lin ang="5400000" scaled="0"/>
                  </a:gradFill>
                  <a:cs typeface="+mn-ea"/>
                  <a:sym typeface="+mn-lt"/>
                </a:rPr>
                <a:t>Built in Mic camera</a:t>
              </a:r>
              <a:endParaRPr lang="zh-CN" altLang="en-US" sz="2400" dirty="0" err="1">
                <a:gradFill>
                  <a:gsLst>
                    <a:gs pos="2917">
                      <a:schemeClr val="tx1"/>
                    </a:gs>
                    <a:gs pos="30000">
                      <a:schemeClr val="tx1"/>
                    </a:gs>
                  </a:gsLst>
                  <a:lin ang="5400000" scaled="0"/>
                </a:gradFill>
                <a:cs typeface="+mn-ea"/>
                <a:sym typeface="+mn-lt"/>
              </a:endParaRPr>
            </a:p>
          </p:txBody>
        </p:sp>
        <p:sp>
          <p:nvSpPr>
            <p:cNvPr id="18" name="TextBox 4"/>
            <p:cNvSpPr txBox="1"/>
            <p:nvPr/>
          </p:nvSpPr>
          <p:spPr>
            <a:xfrm>
              <a:off x="9770999" y="5403924"/>
              <a:ext cx="2345835" cy="830769"/>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DH-IPC-HDBW4431E-AS-S4</a:t>
              </a:r>
              <a:endParaRPr lang="zh-CN" altLang="en-US" sz="1200" dirty="0" err="1">
                <a:gradFill>
                  <a:gsLst>
                    <a:gs pos="2917">
                      <a:schemeClr val="tx1"/>
                    </a:gs>
                    <a:gs pos="30000">
                      <a:schemeClr val="tx1"/>
                    </a:gs>
                  </a:gsLst>
                  <a:lin ang="5400000" scaled="0"/>
                </a:gradFill>
                <a:cs typeface="+mn-ea"/>
                <a:sym typeface="+mn-lt"/>
              </a:endParaRPr>
            </a:p>
          </p:txBody>
        </p:sp>
      </p:grpSp>
      <p:grpSp>
        <p:nvGrpSpPr>
          <p:cNvPr id="9" name="组合 8"/>
          <p:cNvGrpSpPr/>
          <p:nvPr/>
        </p:nvGrpSpPr>
        <p:grpSpPr>
          <a:xfrm>
            <a:off x="796580" y="1855568"/>
            <a:ext cx="5195468" cy="3181585"/>
            <a:chOff x="421241" y="1395711"/>
            <a:chExt cx="5195468" cy="3181585"/>
          </a:xfrm>
        </p:grpSpPr>
        <p:pic>
          <p:nvPicPr>
            <p:cNvPr id="24" name="Picture 7"/>
            <p:cNvPicPr>
              <a:picLocks noChangeAspect="1"/>
            </p:cNvPicPr>
            <p:nvPr/>
          </p:nvPicPr>
          <p:blipFill rotWithShape="1">
            <a:blip r:embed="rId8">
              <a:extLst>
                <a:ext uri="{28A0092B-C50C-407E-A947-70E740481C1C}">
                  <a14:useLocalDpi xmlns:a14="http://schemas.microsoft.com/office/drawing/2010/main" val="0"/>
                </a:ext>
              </a:extLst>
            </a:blip>
            <a:srcRect b="18333"/>
            <a:stretch>
              <a:fillRect/>
            </a:stretch>
          </p:blipFill>
          <p:spPr>
            <a:xfrm>
              <a:off x="421241" y="1395711"/>
              <a:ext cx="5195468" cy="3181585"/>
            </a:xfrm>
            <a:prstGeom prst="rect">
              <a:avLst/>
            </a:prstGeom>
          </p:spPr>
        </p:pic>
        <p:pic>
          <p:nvPicPr>
            <p:cNvPr id="26" name="POS overlay">
              <a:hlinkClick r:id="" action="ppaction://media"/>
            </p:cNvPr>
            <p:cNvPicPr>
              <a:picLocks noChangeAspect="1"/>
            </p:cNvPicPr>
            <p:nvPr>
              <a:videoFile r:link="rId2"/>
            </p:nvPr>
          </p:nvPicPr>
          <p:blipFill>
            <a:blip r:embed="rId9"/>
            <a:stretch>
              <a:fillRect/>
            </a:stretch>
          </p:blipFill>
          <p:spPr>
            <a:xfrm>
              <a:off x="539437" y="1591949"/>
              <a:ext cx="4958074" cy="2678675"/>
            </a:xfrm>
            <a:prstGeom prst="rect">
              <a:avLst/>
            </a:prstGeom>
          </p:spPr>
        </p:pic>
      </p:grpSp>
      <p:sp>
        <p:nvSpPr>
          <p:cNvPr id="28" name="椭圆 27"/>
          <p:cNvSpPr/>
          <p:nvPr/>
        </p:nvSpPr>
        <p:spPr>
          <a:xfrm>
            <a:off x="5155659" y="1900129"/>
            <a:ext cx="1155891" cy="376851"/>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txBody>
          <a:bodyPr/>
          <a:lstStyle/>
          <a:p>
            <a:endParaRPr lang="zh-CN" altLang="en-US" sz="1000">
              <a:cs typeface="+mn-ea"/>
              <a:sym typeface="+mn-lt"/>
            </a:endParaRPr>
          </a:p>
        </p:txBody>
      </p:sp>
      <p:sp>
        <p:nvSpPr>
          <p:cNvPr id="29" name="任意多边形: 形状 15"/>
          <p:cNvSpPr/>
          <p:nvPr/>
        </p:nvSpPr>
        <p:spPr>
          <a:xfrm>
            <a:off x="5541840" y="2446265"/>
            <a:ext cx="360000" cy="360000"/>
          </a:xfrm>
          <a:custGeom>
            <a:avLst/>
            <a:gdLst>
              <a:gd name="connsiteX0" fmla="*/ 0 w 987541"/>
              <a:gd name="connsiteY0" fmla="*/ 493771 h 987541"/>
              <a:gd name="connsiteX1" fmla="*/ 493771 w 987541"/>
              <a:gd name="connsiteY1" fmla="*/ 0 h 987541"/>
              <a:gd name="connsiteX2" fmla="*/ 987542 w 987541"/>
              <a:gd name="connsiteY2" fmla="*/ 493771 h 987541"/>
              <a:gd name="connsiteX3" fmla="*/ 493771 w 987541"/>
              <a:gd name="connsiteY3" fmla="*/ 987542 h 987541"/>
              <a:gd name="connsiteX4" fmla="*/ 0 w 987541"/>
              <a:gd name="connsiteY4" fmla="*/ 493771 h 987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541" h="987541">
                <a:moveTo>
                  <a:pt x="0" y="493771"/>
                </a:moveTo>
                <a:cubicBezTo>
                  <a:pt x="0" y="221069"/>
                  <a:pt x="221069" y="0"/>
                  <a:pt x="493771" y="0"/>
                </a:cubicBezTo>
                <a:cubicBezTo>
                  <a:pt x="766473" y="0"/>
                  <a:pt x="987542" y="221069"/>
                  <a:pt x="987542" y="493771"/>
                </a:cubicBezTo>
                <a:cubicBezTo>
                  <a:pt x="987542" y="766473"/>
                  <a:pt x="766473" y="987542"/>
                  <a:pt x="493771" y="987542"/>
                </a:cubicBezTo>
                <a:cubicBezTo>
                  <a:pt x="221069" y="987542"/>
                  <a:pt x="0" y="766473"/>
                  <a:pt x="0" y="4937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212" tIns="166212" rIns="166212" bIns="166212" numCol="1" spcCol="1270" anchor="ctr" anchorCtr="0">
            <a:noAutofit/>
          </a:bodyPr>
          <a:lstStyle/>
          <a:p>
            <a:pPr marL="0" lvl="0" indent="0" algn="ctr" defTabSz="755650">
              <a:lnSpc>
                <a:spcPct val="90000"/>
              </a:lnSpc>
              <a:spcBef>
                <a:spcPct val="0"/>
              </a:spcBef>
              <a:spcAft>
                <a:spcPct val="35000"/>
              </a:spcAft>
              <a:buNone/>
            </a:pPr>
            <a:r>
              <a:rPr lang="en-US" altLang="zh-CN" sz="500" kern="1200" dirty="0">
                <a:cs typeface="+mn-ea"/>
                <a:sym typeface="+mn-lt"/>
              </a:rPr>
              <a:t>AUDIO</a:t>
            </a:r>
            <a:endParaRPr lang="zh-CN" altLang="en-US" sz="500" kern="1200" dirty="0">
              <a:cs typeface="+mn-ea"/>
              <a:sym typeface="+mn-lt"/>
            </a:endParaRPr>
          </a:p>
        </p:txBody>
      </p:sp>
      <p:sp>
        <p:nvSpPr>
          <p:cNvPr id="30" name="任意多边形: 形状 18"/>
          <p:cNvSpPr/>
          <p:nvPr/>
        </p:nvSpPr>
        <p:spPr>
          <a:xfrm>
            <a:off x="5328005" y="2051163"/>
            <a:ext cx="360000" cy="360000"/>
          </a:xfrm>
          <a:custGeom>
            <a:avLst/>
            <a:gdLst>
              <a:gd name="connsiteX0" fmla="*/ 0 w 987541"/>
              <a:gd name="connsiteY0" fmla="*/ 493771 h 987541"/>
              <a:gd name="connsiteX1" fmla="*/ 493771 w 987541"/>
              <a:gd name="connsiteY1" fmla="*/ 0 h 987541"/>
              <a:gd name="connsiteX2" fmla="*/ 987542 w 987541"/>
              <a:gd name="connsiteY2" fmla="*/ 493771 h 987541"/>
              <a:gd name="connsiteX3" fmla="*/ 493771 w 987541"/>
              <a:gd name="connsiteY3" fmla="*/ 987542 h 987541"/>
              <a:gd name="connsiteX4" fmla="*/ 0 w 987541"/>
              <a:gd name="connsiteY4" fmla="*/ 493771 h 987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541" h="987541">
                <a:moveTo>
                  <a:pt x="0" y="493771"/>
                </a:moveTo>
                <a:cubicBezTo>
                  <a:pt x="0" y="221069"/>
                  <a:pt x="221069" y="0"/>
                  <a:pt x="493771" y="0"/>
                </a:cubicBezTo>
                <a:cubicBezTo>
                  <a:pt x="766473" y="0"/>
                  <a:pt x="987542" y="221069"/>
                  <a:pt x="987542" y="493771"/>
                </a:cubicBezTo>
                <a:cubicBezTo>
                  <a:pt x="987542" y="766473"/>
                  <a:pt x="766473" y="987542"/>
                  <a:pt x="493771" y="987542"/>
                </a:cubicBezTo>
                <a:cubicBezTo>
                  <a:pt x="221069" y="987542"/>
                  <a:pt x="0" y="766473"/>
                  <a:pt x="0" y="4937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212" tIns="166212" rIns="166212" bIns="166212" numCol="1" spcCol="1270" anchor="ctr" anchorCtr="0">
            <a:noAutofit/>
          </a:bodyPr>
          <a:lstStyle/>
          <a:p>
            <a:pPr marL="0" lvl="0" indent="0" algn="ctr" defTabSz="755650">
              <a:lnSpc>
                <a:spcPct val="90000"/>
              </a:lnSpc>
              <a:spcBef>
                <a:spcPct val="0"/>
              </a:spcBef>
              <a:spcAft>
                <a:spcPct val="35000"/>
              </a:spcAft>
              <a:buNone/>
            </a:pPr>
            <a:r>
              <a:rPr lang="en-US" altLang="zh-CN" sz="500" kern="1200" dirty="0">
                <a:cs typeface="+mn-ea"/>
                <a:sym typeface="+mn-lt"/>
              </a:rPr>
              <a:t>POS</a:t>
            </a:r>
            <a:endParaRPr lang="zh-CN" altLang="en-US" sz="500" kern="1200" dirty="0">
              <a:cs typeface="+mn-ea"/>
              <a:sym typeface="+mn-lt"/>
            </a:endParaRPr>
          </a:p>
        </p:txBody>
      </p:sp>
      <p:sp>
        <p:nvSpPr>
          <p:cNvPr id="31" name="任意多边形: 形状 19"/>
          <p:cNvSpPr/>
          <p:nvPr/>
        </p:nvSpPr>
        <p:spPr>
          <a:xfrm>
            <a:off x="5721166" y="2063655"/>
            <a:ext cx="360000" cy="360000"/>
          </a:xfrm>
          <a:custGeom>
            <a:avLst/>
            <a:gdLst>
              <a:gd name="connsiteX0" fmla="*/ 0 w 987541"/>
              <a:gd name="connsiteY0" fmla="*/ 493771 h 987541"/>
              <a:gd name="connsiteX1" fmla="*/ 493771 w 987541"/>
              <a:gd name="connsiteY1" fmla="*/ 0 h 987541"/>
              <a:gd name="connsiteX2" fmla="*/ 987542 w 987541"/>
              <a:gd name="connsiteY2" fmla="*/ 493771 h 987541"/>
              <a:gd name="connsiteX3" fmla="*/ 493771 w 987541"/>
              <a:gd name="connsiteY3" fmla="*/ 987542 h 987541"/>
              <a:gd name="connsiteX4" fmla="*/ 0 w 987541"/>
              <a:gd name="connsiteY4" fmla="*/ 493771 h 987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541" h="987541">
                <a:moveTo>
                  <a:pt x="0" y="493771"/>
                </a:moveTo>
                <a:cubicBezTo>
                  <a:pt x="0" y="221069"/>
                  <a:pt x="221069" y="0"/>
                  <a:pt x="493771" y="0"/>
                </a:cubicBezTo>
                <a:cubicBezTo>
                  <a:pt x="766473" y="0"/>
                  <a:pt x="987542" y="221069"/>
                  <a:pt x="987542" y="493771"/>
                </a:cubicBezTo>
                <a:cubicBezTo>
                  <a:pt x="987542" y="766473"/>
                  <a:pt x="766473" y="987542"/>
                  <a:pt x="493771" y="987542"/>
                </a:cubicBezTo>
                <a:cubicBezTo>
                  <a:pt x="221069" y="987542"/>
                  <a:pt x="0" y="766473"/>
                  <a:pt x="0" y="493771"/>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6212" tIns="166212" rIns="166212" bIns="166212" numCol="1" spcCol="1270" anchor="ctr" anchorCtr="0">
            <a:noAutofit/>
          </a:bodyPr>
          <a:lstStyle/>
          <a:p>
            <a:pPr marL="0" lvl="0" indent="0" algn="ctr" defTabSz="755650">
              <a:lnSpc>
                <a:spcPct val="90000"/>
              </a:lnSpc>
              <a:spcBef>
                <a:spcPct val="0"/>
              </a:spcBef>
              <a:spcAft>
                <a:spcPct val="35000"/>
              </a:spcAft>
              <a:buNone/>
            </a:pPr>
            <a:r>
              <a:rPr lang="en-US" altLang="zh-CN" sz="500" kern="1200" dirty="0">
                <a:cs typeface="+mn-ea"/>
                <a:sym typeface="+mn-lt"/>
              </a:rPr>
              <a:t>VIDEO</a:t>
            </a:r>
            <a:endParaRPr lang="zh-CN" altLang="en-US" sz="500" kern="1200" dirty="0">
              <a:cs typeface="+mn-ea"/>
              <a:sym typeface="+mn-lt"/>
            </a:endParaRPr>
          </a:p>
        </p:txBody>
      </p:sp>
      <p:sp>
        <p:nvSpPr>
          <p:cNvPr id="32" name="下箭头 2"/>
          <p:cNvSpPr/>
          <p:nvPr/>
        </p:nvSpPr>
        <p:spPr>
          <a:xfrm rot="2537309">
            <a:off x="5403552" y="2806813"/>
            <a:ext cx="224010" cy="271094"/>
          </a:xfrm>
          <a:custGeom>
            <a:avLst/>
            <a:gdLst/>
            <a:ahLst/>
            <a:cxnLst/>
            <a:rect l="l" t="t" r="r" b="b"/>
            <a:pathLst>
              <a:path w="548634" h="707245">
                <a:moveTo>
                  <a:pt x="137159" y="212965"/>
                </a:moveTo>
                <a:cubicBezTo>
                  <a:pt x="200929" y="184628"/>
                  <a:pt x="271953" y="137261"/>
                  <a:pt x="339288" y="76015"/>
                </a:cubicBezTo>
                <a:cubicBezTo>
                  <a:pt x="366072" y="51654"/>
                  <a:pt x="390725" y="26504"/>
                  <a:pt x="411476" y="0"/>
                </a:cubicBezTo>
                <a:lnTo>
                  <a:pt x="411476" y="432928"/>
                </a:lnTo>
                <a:lnTo>
                  <a:pt x="548634" y="432928"/>
                </a:lnTo>
                <a:lnTo>
                  <a:pt x="274317" y="707245"/>
                </a:lnTo>
                <a:lnTo>
                  <a:pt x="0" y="432928"/>
                </a:lnTo>
                <a:lnTo>
                  <a:pt x="137159" y="432928"/>
                </a:lnTo>
                <a:close/>
              </a:path>
            </a:pathLst>
          </a:custGeom>
          <a:ln w="28575">
            <a:solidFill>
              <a:srgbClr val="00B050"/>
            </a:solidFill>
          </a:ln>
        </p:spPr>
        <p:style>
          <a:lnRef idx="2">
            <a:scrgbClr r="0" g="0" b="0"/>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zh-CN" altLang="en-US" sz="1000">
              <a:cs typeface="+mn-ea"/>
              <a:sym typeface="+mn-lt"/>
            </a:endParaRPr>
          </a:p>
        </p:txBody>
      </p:sp>
      <p:sp>
        <p:nvSpPr>
          <p:cNvPr id="33" name="形状 32"/>
          <p:cNvSpPr/>
          <p:nvPr/>
        </p:nvSpPr>
        <p:spPr>
          <a:xfrm>
            <a:off x="5155659" y="1882521"/>
            <a:ext cx="1132362" cy="942128"/>
          </a:xfrm>
          <a:prstGeom prst="funnel">
            <a:avLst/>
          </a:prstGeom>
          <a:ln w="38100">
            <a:solidFill>
              <a:srgbClr val="00B050"/>
            </a:solidFill>
          </a:ln>
        </p:spPr>
        <p:style>
          <a:lnRef idx="1">
            <a:scrgbClr r="0" g="0" b="0"/>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zh-CN" altLang="en-US" sz="1000">
              <a:cs typeface="+mn-ea"/>
              <a:sym typeface="+mn-lt"/>
            </a:endParaRPr>
          </a:p>
        </p:txBody>
      </p:sp>
      <p:sp>
        <p:nvSpPr>
          <p:cNvPr id="34" name="文本框 33"/>
          <p:cNvSpPr txBox="1"/>
          <p:nvPr/>
        </p:nvSpPr>
        <p:spPr>
          <a:xfrm>
            <a:off x="7047163" y="2159991"/>
            <a:ext cx="5389312" cy="1044505"/>
          </a:xfrm>
          <a:prstGeom prst="rect">
            <a:avLst/>
          </a:prstGeom>
          <a:noFill/>
          <a:ln w="9525" cap="flat" cmpd="sng" algn="ctr">
            <a:noFill/>
            <a:prstDash val="solid"/>
            <a:headEnd type="none" w="med" len="med"/>
            <a:tailEnd type="none" w="med" len="med"/>
          </a:ln>
          <a:effectLst/>
        </p:spPr>
        <p:txBody>
          <a:bodyPr lIns="182880" tIns="146304" rIns="182880" bIns="146304"/>
          <a:lstStyle>
            <a:defPPr>
              <a:defRPr lang="en-US"/>
            </a:defPPr>
            <a:lvl1pPr>
              <a:defRPr b="1" i="1"/>
            </a:lvl1pPr>
          </a:lstStyle>
          <a:p>
            <a:pPr algn="just">
              <a:lnSpc>
                <a:spcPct val="150000"/>
              </a:lnSpc>
            </a:pPr>
            <a:r>
              <a:rPr lang="fr-FR" altLang="zh-CN" b="0" i="0" dirty="0">
                <a:cs typeface="+mn-ea"/>
                <a:sym typeface="+mn-lt"/>
              </a:rPr>
              <a:t>Fournir des preuves en cas de litige sur une </a:t>
            </a:r>
            <a:r>
              <a:rPr lang="fr-FR" altLang="zh-CN" b="0" i="0" dirty="0" smtClean="0">
                <a:cs typeface="+mn-ea"/>
                <a:sym typeface="+mn-lt"/>
              </a:rPr>
              <a:t>transaction</a:t>
            </a:r>
            <a:endParaRPr lang="zh-CN" altLang="en-US" b="0" i="0" dirty="0" err="1">
              <a:cs typeface="+mn-ea"/>
              <a:sym typeface="+mn-lt"/>
            </a:endParaRPr>
          </a:p>
        </p:txBody>
      </p:sp>
      <p:sp>
        <p:nvSpPr>
          <p:cNvPr id="35" name="Rectangle 37"/>
          <p:cNvSpPr/>
          <p:nvPr/>
        </p:nvSpPr>
        <p:spPr bwMode="auto">
          <a:xfrm>
            <a:off x="7080561" y="3703303"/>
            <a:ext cx="5172650" cy="1564841"/>
          </a:xfrm>
          <a:prstGeom prst="rect">
            <a:avLst/>
          </a:prstGeom>
          <a:noFill/>
          <a:ln w="9525" cap="flat" cmpd="sng" algn="ctr">
            <a:noFill/>
            <a:prstDash val="solid"/>
            <a:headEnd type="none" w="med" len="med"/>
            <a:tailEnd type="none" w="med" len="med"/>
          </a:ln>
          <a:effectLst/>
        </p:spPr>
        <p:txBody>
          <a:bodyPr lIns="182880" tIns="146304" rIns="182880" bIns="146304"/>
          <a:lstStyle/>
          <a:p>
            <a:pPr algn="just">
              <a:lnSpc>
                <a:spcPct val="150000"/>
              </a:lnSpc>
              <a:defRPr/>
            </a:pPr>
            <a:r>
              <a:rPr lang="en-US" altLang="zh-CN" dirty="0" smtClean="0">
                <a:cs typeface="+mn-ea"/>
                <a:sym typeface="+mn-lt"/>
              </a:rPr>
              <a:t>Vous </a:t>
            </a:r>
            <a:r>
              <a:rPr lang="en-US" altLang="zh-CN" dirty="0" err="1" smtClean="0">
                <a:cs typeface="+mn-ea"/>
                <a:sym typeface="+mn-lt"/>
              </a:rPr>
              <a:t>pouvez</a:t>
            </a:r>
            <a:r>
              <a:rPr lang="en-US" altLang="zh-CN" dirty="0" smtClean="0">
                <a:cs typeface="+mn-ea"/>
                <a:sym typeface="+mn-lt"/>
              </a:rPr>
              <a:t> </a:t>
            </a:r>
            <a:r>
              <a:rPr lang="en-US" altLang="zh-CN" dirty="0" err="1" smtClean="0">
                <a:cs typeface="+mn-ea"/>
                <a:sym typeface="+mn-lt"/>
              </a:rPr>
              <a:t>rechercher</a:t>
            </a:r>
            <a:r>
              <a:rPr lang="en-US" altLang="zh-CN" dirty="0" smtClean="0">
                <a:cs typeface="+mn-ea"/>
                <a:sym typeface="+mn-lt"/>
              </a:rPr>
              <a:t> des transactions par </a:t>
            </a:r>
            <a:r>
              <a:rPr lang="en-US" altLang="zh-CN" dirty="0" err="1" smtClean="0">
                <a:cs typeface="+mn-ea"/>
                <a:sym typeface="+mn-lt"/>
              </a:rPr>
              <a:t>noms</a:t>
            </a:r>
            <a:r>
              <a:rPr lang="en-US" altLang="zh-CN" dirty="0" smtClean="0">
                <a:cs typeface="+mn-ea"/>
                <a:sym typeface="+mn-lt"/>
              </a:rPr>
              <a:t> CB – </a:t>
            </a:r>
            <a:r>
              <a:rPr lang="en-US" altLang="zh-CN" dirty="0" err="1" smtClean="0">
                <a:cs typeface="+mn-ea"/>
                <a:sym typeface="+mn-lt"/>
              </a:rPr>
              <a:t>Chèques</a:t>
            </a:r>
            <a:r>
              <a:rPr lang="en-US" altLang="zh-CN" dirty="0" smtClean="0">
                <a:cs typeface="+mn-ea"/>
                <a:sym typeface="+mn-lt"/>
              </a:rPr>
              <a:t> </a:t>
            </a:r>
            <a:r>
              <a:rPr lang="en-US" altLang="zh-CN" dirty="0" err="1" smtClean="0">
                <a:cs typeface="+mn-ea"/>
                <a:sym typeface="+mn-lt"/>
              </a:rPr>
              <a:t>ou</a:t>
            </a:r>
            <a:r>
              <a:rPr lang="en-US" altLang="zh-CN" dirty="0" smtClean="0">
                <a:cs typeface="+mn-ea"/>
                <a:sym typeface="+mn-lt"/>
              </a:rPr>
              <a:t> Par le </a:t>
            </a:r>
            <a:r>
              <a:rPr lang="en-US" altLang="zh-CN" dirty="0" err="1" smtClean="0">
                <a:cs typeface="+mn-ea"/>
                <a:sym typeface="+mn-lt"/>
              </a:rPr>
              <a:t>noms</a:t>
            </a:r>
            <a:r>
              <a:rPr lang="en-US" altLang="zh-CN" dirty="0" smtClean="0">
                <a:cs typeface="+mn-ea"/>
                <a:sym typeface="+mn-lt"/>
              </a:rPr>
              <a:t> d’un </a:t>
            </a:r>
            <a:r>
              <a:rPr lang="en-US" altLang="zh-CN" dirty="0" err="1" smtClean="0">
                <a:cs typeface="+mn-ea"/>
                <a:sym typeface="+mn-lt"/>
              </a:rPr>
              <a:t>produits</a:t>
            </a:r>
            <a:r>
              <a:rPr lang="en-US" altLang="zh-CN" dirty="0" smtClean="0">
                <a:cs typeface="+mn-ea"/>
                <a:sym typeface="+mn-lt"/>
              </a:rPr>
              <a:t> par </a:t>
            </a:r>
            <a:r>
              <a:rPr lang="en-US" altLang="zh-CN" dirty="0" err="1" smtClean="0">
                <a:cs typeface="+mn-ea"/>
                <a:sym typeface="+mn-lt"/>
              </a:rPr>
              <a:t>exemple</a:t>
            </a:r>
            <a:r>
              <a:rPr lang="en-US" altLang="zh-CN" dirty="0" smtClean="0">
                <a:cs typeface="+mn-ea"/>
                <a:sym typeface="+mn-lt"/>
              </a:rPr>
              <a:t> </a:t>
            </a:r>
            <a:endParaRPr lang="en-US" altLang="zh-CN" dirty="0">
              <a:cs typeface="+mn-ea"/>
              <a:sym typeface="+mn-lt"/>
            </a:endParaRPr>
          </a:p>
        </p:txBody>
      </p:sp>
      <p:sp>
        <p:nvSpPr>
          <p:cNvPr id="36" name="矩形 35"/>
          <p:cNvSpPr/>
          <p:nvPr/>
        </p:nvSpPr>
        <p:spPr>
          <a:xfrm>
            <a:off x="7016072" y="1579461"/>
            <a:ext cx="3855543" cy="707886"/>
          </a:xfrm>
          <a:prstGeom prst="rect">
            <a:avLst/>
          </a:prstGeom>
        </p:spPr>
        <p:txBody>
          <a:bodyPr wrap="none">
            <a:spAutoFit/>
          </a:bodyPr>
          <a:lstStyle/>
          <a:p>
            <a:r>
              <a:rPr lang="fr-FR" altLang="zh-CN" sz="2000" b="1" dirty="0" smtClean="0">
                <a:cs typeface="+mn-ea"/>
                <a:sym typeface="+mn-lt"/>
              </a:rPr>
              <a:t>Enregistrement en temps réel </a:t>
            </a:r>
          </a:p>
          <a:p>
            <a:r>
              <a:rPr lang="fr-FR" altLang="zh-CN" sz="2000" b="1" dirty="0" smtClean="0">
                <a:cs typeface="+mn-ea"/>
                <a:sym typeface="+mn-lt"/>
              </a:rPr>
              <a:t>de la </a:t>
            </a:r>
            <a:r>
              <a:rPr lang="fr-FR" altLang="zh-CN" sz="2000" b="1" dirty="0">
                <a:cs typeface="+mn-ea"/>
                <a:sym typeface="+mn-lt"/>
              </a:rPr>
              <a:t>transaction</a:t>
            </a:r>
            <a:endParaRPr lang="en-US" altLang="zh-CN" sz="2000" b="1" dirty="0">
              <a:cs typeface="+mn-ea"/>
              <a:sym typeface="+mn-lt"/>
            </a:endParaRPr>
          </a:p>
        </p:txBody>
      </p:sp>
      <p:sp>
        <p:nvSpPr>
          <p:cNvPr id="37" name="矩形 36"/>
          <p:cNvSpPr/>
          <p:nvPr/>
        </p:nvSpPr>
        <p:spPr>
          <a:xfrm>
            <a:off x="6914702" y="3113904"/>
            <a:ext cx="5338509" cy="707886"/>
          </a:xfrm>
          <a:prstGeom prst="rect">
            <a:avLst/>
          </a:prstGeom>
        </p:spPr>
        <p:txBody>
          <a:bodyPr wrap="square">
            <a:spAutoFit/>
          </a:bodyPr>
          <a:lstStyle/>
          <a:p>
            <a:r>
              <a:rPr lang="fr-FR" altLang="zh-CN" sz="2000" b="1" dirty="0">
                <a:cs typeface="+mn-ea"/>
                <a:sym typeface="+mn-lt"/>
              </a:rPr>
              <a:t>Évitez la </a:t>
            </a:r>
            <a:r>
              <a:rPr lang="fr-FR" altLang="zh-CN" sz="2000" b="1" dirty="0" smtClean="0">
                <a:cs typeface="+mn-ea"/>
                <a:sym typeface="+mn-lt"/>
              </a:rPr>
              <a:t>fraude ou les erreurs </a:t>
            </a:r>
          </a:p>
          <a:p>
            <a:r>
              <a:rPr lang="fr-FR" altLang="zh-CN" sz="2000" b="1" dirty="0" smtClean="0">
                <a:cs typeface="+mn-ea"/>
                <a:sym typeface="+mn-lt"/>
              </a:rPr>
              <a:t>de caisses </a:t>
            </a:r>
            <a:r>
              <a:rPr lang="fr-FR" altLang="zh-CN" sz="2000" b="1" dirty="0">
                <a:cs typeface="+mn-ea"/>
                <a:sym typeface="+mn-lt"/>
              </a:rPr>
              <a:t>des employés</a:t>
            </a:r>
            <a:endParaRPr lang="en-US" altLang="zh-CN" sz="2000" b="1" dirty="0">
              <a:cs typeface="+mn-ea"/>
              <a:sym typeface="+mn-lt"/>
            </a:endParaRPr>
          </a:p>
        </p:txBody>
      </p:sp>
      <p:cxnSp>
        <p:nvCxnSpPr>
          <p:cNvPr id="15" name="直接连接符 14"/>
          <p:cNvCxnSpPr/>
          <p:nvPr/>
        </p:nvCxnSpPr>
        <p:spPr>
          <a:xfrm>
            <a:off x="6583993" y="1855568"/>
            <a:ext cx="0" cy="341257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ransition>
    <p:fade/>
  </p:transition>
  <p:timing>
    <p:tnLst>
      <p:par>
        <p:cTn id="1" dur="indefinite" restart="never" nodeType="tmRoot">
          <p:childTnLst>
            <p:video>
              <p:cMediaNode vol="80000">
                <p:cTn id="2" fill="hold" display="0">
                  <p:stCondLst>
                    <p:cond delay="indefinite"/>
                  </p:stCondLst>
                </p:cTn>
                <p:tgtEl>
                  <p:spTgt spid="26"/>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3140" y="260325"/>
            <a:ext cx="11192828" cy="946413"/>
          </a:xfrm>
        </p:spPr>
        <p:txBody>
          <a:bodyPr/>
          <a:lstStyle/>
          <a:p>
            <a:r>
              <a:rPr lang="en-US" altLang="zh-CN" dirty="0">
                <a:latin typeface="+mn-lt"/>
                <a:cs typeface="+mn-ea"/>
                <a:sym typeface="+mn-lt"/>
              </a:rPr>
              <a:t>POS integration</a:t>
            </a:r>
            <a:endParaRPr lang="zh-CN" altLang="en-US" dirty="0">
              <a:latin typeface="+mn-lt"/>
              <a:cs typeface="+mn-ea"/>
              <a:sym typeface="+mn-lt"/>
            </a:endParaRPr>
          </a:p>
        </p:txBody>
      </p:sp>
      <p:grpSp>
        <p:nvGrpSpPr>
          <p:cNvPr id="3" name="组合 2"/>
          <p:cNvGrpSpPr/>
          <p:nvPr/>
        </p:nvGrpSpPr>
        <p:grpSpPr>
          <a:xfrm>
            <a:off x="5289508" y="1391499"/>
            <a:ext cx="6085843" cy="4367282"/>
            <a:chOff x="3046665" y="1228011"/>
            <a:chExt cx="5751095" cy="5019157"/>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9133" y="2326020"/>
              <a:ext cx="1903061" cy="1903061"/>
            </a:xfrm>
            <a:prstGeom prst="rect">
              <a:avLst/>
            </a:prstGeom>
          </p:spPr>
        </p:pic>
        <p:sp>
          <p:nvSpPr>
            <p:cNvPr id="5" name="TextBox 25"/>
            <p:cNvSpPr txBox="1"/>
            <p:nvPr/>
          </p:nvSpPr>
          <p:spPr>
            <a:xfrm>
              <a:off x="4374237" y="3437059"/>
              <a:ext cx="2026134" cy="594244"/>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a:gradFill>
                    <a:gsLst>
                      <a:gs pos="2917">
                        <a:schemeClr val="tx1"/>
                      </a:gs>
                      <a:gs pos="30000">
                        <a:schemeClr val="tx1"/>
                      </a:gs>
                    </a:gsLst>
                    <a:lin ang="5400000" scaled="0"/>
                  </a:gradFill>
                  <a:cs typeface="+mn-ea"/>
                  <a:sym typeface="+mn-lt"/>
                </a:rPr>
                <a:t>NVR</a:t>
              </a:r>
              <a:endParaRPr lang="zh-CN" altLang="en-US" sz="1600" dirty="0" err="1">
                <a:gradFill>
                  <a:gsLst>
                    <a:gs pos="2917">
                      <a:schemeClr val="tx1"/>
                    </a:gs>
                    <a:gs pos="30000">
                      <a:schemeClr val="tx1"/>
                    </a:gs>
                  </a:gsLst>
                  <a:lin ang="5400000" scaled="0"/>
                </a:gradFill>
                <a:cs typeface="+mn-ea"/>
                <a:sym typeface="+mn-lt"/>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20630" y="3977596"/>
              <a:ext cx="1135475" cy="1135475"/>
            </a:xfrm>
            <a:prstGeom prst="rect">
              <a:avLst/>
            </a:prstGeom>
          </p:spPr>
        </p:pic>
        <p:sp>
          <p:nvSpPr>
            <p:cNvPr id="7" name="TextBox 90"/>
            <p:cNvSpPr txBox="1"/>
            <p:nvPr/>
          </p:nvSpPr>
          <p:spPr>
            <a:xfrm>
              <a:off x="6808048" y="4843762"/>
              <a:ext cx="1989712" cy="848919"/>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a:gradFill>
                    <a:gsLst>
                      <a:gs pos="2917">
                        <a:schemeClr val="tx1"/>
                      </a:gs>
                      <a:gs pos="30000">
                        <a:schemeClr val="tx1"/>
                      </a:gs>
                    </a:gsLst>
                    <a:lin ang="5400000" scaled="0"/>
                  </a:gradFill>
                  <a:cs typeface="+mn-ea"/>
                  <a:sym typeface="+mn-lt"/>
                </a:rPr>
                <a:t>DSS PRO BI platform</a:t>
              </a:r>
              <a:endParaRPr lang="zh-CN" altLang="en-US" sz="1600" dirty="0" err="1">
                <a:gradFill>
                  <a:gsLst>
                    <a:gs pos="2917">
                      <a:schemeClr val="tx1"/>
                    </a:gs>
                    <a:gs pos="30000">
                      <a:schemeClr val="tx1"/>
                    </a:gs>
                  </a:gsLst>
                  <a:lin ang="5400000" scaled="0"/>
                </a:gradFill>
                <a:cs typeface="+mn-ea"/>
                <a:sym typeface="+mn-lt"/>
              </a:endParaRPr>
            </a:p>
          </p:txBody>
        </p:sp>
        <p:grpSp>
          <p:nvGrpSpPr>
            <p:cNvPr id="8" name="组合 7"/>
            <p:cNvGrpSpPr/>
            <p:nvPr/>
          </p:nvGrpSpPr>
          <p:grpSpPr>
            <a:xfrm>
              <a:off x="3046665" y="3457376"/>
              <a:ext cx="707116" cy="1845763"/>
              <a:chOff x="3066093" y="3380344"/>
              <a:chExt cx="707116" cy="912348"/>
            </a:xfrm>
          </p:grpSpPr>
          <p:cxnSp>
            <p:nvCxnSpPr>
              <p:cNvPr id="20" name="直接连接符 19"/>
              <p:cNvCxnSpPr/>
              <p:nvPr/>
            </p:nvCxnSpPr>
            <p:spPr>
              <a:xfrm>
                <a:off x="3108437" y="3380344"/>
                <a:ext cx="664772" cy="6603"/>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连接符: 肘形 20"/>
              <p:cNvCxnSpPr/>
              <p:nvPr/>
            </p:nvCxnSpPr>
            <p:spPr>
              <a:xfrm rot="16200000" flipH="1">
                <a:off x="3106201" y="3826750"/>
                <a:ext cx="887899" cy="8292"/>
              </a:xfrm>
              <a:prstGeom prst="bentConnector3">
                <a:avLst>
                  <a:gd name="adj1" fmla="val 4173"/>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3066093" y="4292692"/>
                <a:ext cx="49171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9" name="连接符: 肘形 8"/>
            <p:cNvCxnSpPr/>
            <p:nvPr/>
          </p:nvCxnSpPr>
          <p:spPr>
            <a:xfrm rot="5400000">
              <a:off x="3977789" y="4000370"/>
              <a:ext cx="4480896" cy="12700"/>
            </a:xfrm>
            <a:prstGeom prst="bentConnector3">
              <a:avLst>
                <a:gd name="adj1" fmla="val 50000"/>
              </a:avLst>
            </a:prstGeom>
            <a:ln w="28575">
              <a:headEnd type="none"/>
              <a:tailEnd type="none"/>
            </a:ln>
          </p:spPr>
          <p:style>
            <a:lnRef idx="1">
              <a:schemeClr val="accent2"/>
            </a:lnRef>
            <a:fillRef idx="0">
              <a:schemeClr val="accent2"/>
            </a:fillRef>
            <a:effectRef idx="0">
              <a:schemeClr val="accent2"/>
            </a:effectRef>
            <a:fontRef idx="minor">
              <a:schemeClr val="tx1"/>
            </a:fontRef>
          </p:style>
        </p:cxnSp>
        <p:cxnSp>
          <p:nvCxnSpPr>
            <p:cNvPr id="10" name="直接连接符 9"/>
            <p:cNvCxnSpPr/>
            <p:nvPr/>
          </p:nvCxnSpPr>
          <p:spPr>
            <a:xfrm>
              <a:off x="5392359" y="3270563"/>
              <a:ext cx="825878" cy="1428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5392359" y="5867532"/>
              <a:ext cx="825878" cy="1428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rot="5400000">
              <a:off x="3924162" y="4468569"/>
              <a:ext cx="2163565" cy="750387"/>
            </a:xfrm>
            <a:prstGeom prst="rect">
              <a:avLst/>
            </a:prstGeom>
            <a:noFill/>
          </p:spPr>
          <p:txBody>
            <a:bodyPr wrap="none" lIns="182880" tIns="146304" rIns="182880" bIns="146304" rtlCol="0">
              <a:spAutoFit/>
            </a:bodyPr>
            <a:lstStyle/>
            <a:p>
              <a:pPr>
                <a:lnSpc>
                  <a:spcPct val="90000"/>
                </a:lnSpc>
                <a:spcAft>
                  <a:spcPts val="600"/>
                </a:spcAft>
              </a:pPr>
              <a:r>
                <a:rPr lang="en-US" altLang="zh-CN" sz="3600" dirty="0">
                  <a:gradFill>
                    <a:gsLst>
                      <a:gs pos="2917">
                        <a:schemeClr val="tx1"/>
                      </a:gs>
                      <a:gs pos="30000">
                        <a:schemeClr val="tx1"/>
                      </a:gs>
                    </a:gsLst>
                    <a:lin ang="5400000" scaled="0"/>
                  </a:gradFill>
                  <a:cs typeface="+mn-ea"/>
                  <a:sym typeface="+mn-lt"/>
                </a:rPr>
                <a:t>……….</a:t>
              </a:r>
              <a:endParaRPr lang="zh-CN" altLang="en-US" sz="3600" dirty="0" err="1">
                <a:gradFill>
                  <a:gsLst>
                    <a:gs pos="2917">
                      <a:schemeClr val="tx1"/>
                    </a:gs>
                    <a:gs pos="30000">
                      <a:schemeClr val="tx1"/>
                    </a:gs>
                  </a:gsLst>
                  <a:lin ang="5400000" scaled="0"/>
                </a:gradFill>
                <a:cs typeface="+mn-ea"/>
                <a:sym typeface="+mn-lt"/>
              </a:endParaRPr>
            </a:p>
          </p:txBody>
        </p:sp>
        <p:cxnSp>
          <p:nvCxnSpPr>
            <p:cNvPr id="13" name="直接连接符 12"/>
            <p:cNvCxnSpPr/>
            <p:nvPr/>
          </p:nvCxnSpPr>
          <p:spPr>
            <a:xfrm>
              <a:off x="6218237" y="4568041"/>
              <a:ext cx="825878" cy="1428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TextBox 25"/>
            <p:cNvSpPr txBox="1"/>
            <p:nvPr/>
          </p:nvSpPr>
          <p:spPr>
            <a:xfrm>
              <a:off x="5452769" y="1228011"/>
              <a:ext cx="1781833" cy="594244"/>
            </a:xfrm>
            <a:prstGeom prst="rect">
              <a:avLst/>
            </a:prstGeom>
            <a:noFill/>
          </p:spPr>
          <p:txBody>
            <a:bodyPr wrap="square" lIns="182880" tIns="146304" rIns="182880" bIns="146304" rtlCol="0">
              <a:spAutoFit/>
            </a:bodyPr>
            <a:lstStyle/>
            <a:p>
              <a:pPr>
                <a:lnSpc>
                  <a:spcPct val="90000"/>
                </a:lnSpc>
                <a:spcAft>
                  <a:spcPts val="600"/>
                </a:spcAft>
              </a:pPr>
              <a:r>
                <a:rPr lang="en-US" altLang="zh-CN" sz="1600" b="1" dirty="0">
                  <a:gradFill>
                    <a:gsLst>
                      <a:gs pos="2917">
                        <a:schemeClr val="tx1"/>
                      </a:gs>
                      <a:gs pos="30000">
                        <a:schemeClr val="tx1"/>
                      </a:gs>
                    </a:gsLst>
                    <a:lin ang="5400000" scaled="0"/>
                  </a:gradFill>
                  <a:cs typeface="+mn-ea"/>
                  <a:sym typeface="+mn-lt"/>
                </a:rPr>
                <a:t>Internet</a:t>
              </a:r>
              <a:endParaRPr lang="zh-CN" altLang="en-US" sz="1600" b="1" dirty="0" err="1">
                <a:gradFill>
                  <a:gsLst>
                    <a:gs pos="2917">
                      <a:schemeClr val="tx1"/>
                    </a:gs>
                    <a:gs pos="30000">
                      <a:schemeClr val="tx1"/>
                    </a:gs>
                  </a:gsLst>
                  <a:lin ang="5400000" scaled="0"/>
                </a:gradFill>
                <a:cs typeface="+mn-ea"/>
                <a:sym typeface="+mn-lt"/>
              </a:endParaRPr>
            </a:p>
          </p:txBody>
        </p:sp>
        <p:sp>
          <p:nvSpPr>
            <p:cNvPr id="16" name="文本框 15"/>
            <p:cNvSpPr txBox="1"/>
            <p:nvPr/>
          </p:nvSpPr>
          <p:spPr>
            <a:xfrm>
              <a:off x="4003688" y="5554492"/>
              <a:ext cx="1515437" cy="626078"/>
            </a:xfrm>
            <a:prstGeom prst="rect">
              <a:avLst/>
            </a:prstGeom>
            <a:noFill/>
          </p:spPr>
          <p:txBody>
            <a:bodyPr wrap="none" lIns="182880" tIns="146304" rIns="182880" bIns="146304" rtlCol="0">
              <a:spAutoFit/>
            </a:bodyPr>
            <a:lstStyle/>
            <a:p>
              <a:pPr>
                <a:lnSpc>
                  <a:spcPct val="90000"/>
                </a:lnSpc>
                <a:spcAft>
                  <a:spcPts val="600"/>
                </a:spcAft>
              </a:pPr>
              <a:r>
                <a:rPr lang="en-US" altLang="zh-CN" dirty="0">
                  <a:gradFill>
                    <a:gsLst>
                      <a:gs pos="2917">
                        <a:schemeClr val="tx1"/>
                      </a:gs>
                      <a:gs pos="30000">
                        <a:schemeClr val="tx1"/>
                      </a:gs>
                    </a:gsLst>
                    <a:lin ang="5400000" scaled="0"/>
                  </a:gradFill>
                  <a:cs typeface="+mn-ea"/>
                  <a:sym typeface="+mn-lt"/>
                </a:rPr>
                <a:t>Boutique N</a:t>
              </a:r>
              <a:endParaRPr lang="zh-CN" altLang="en-US" dirty="0" err="1">
                <a:gradFill>
                  <a:gsLst>
                    <a:gs pos="2917">
                      <a:schemeClr val="tx1"/>
                    </a:gs>
                    <a:gs pos="30000">
                      <a:schemeClr val="tx1"/>
                    </a:gs>
                  </a:gsLst>
                  <a:lin ang="5400000" scaled="0"/>
                </a:gradFill>
                <a:cs typeface="+mn-ea"/>
                <a:sym typeface="+mn-lt"/>
              </a:endParaRPr>
            </a:p>
          </p:txBody>
        </p:sp>
        <p:sp>
          <p:nvSpPr>
            <p:cNvPr id="17" name="文本框 16"/>
            <p:cNvSpPr txBox="1"/>
            <p:nvPr/>
          </p:nvSpPr>
          <p:spPr>
            <a:xfrm>
              <a:off x="4191440" y="2461314"/>
              <a:ext cx="1515437" cy="626078"/>
            </a:xfrm>
            <a:prstGeom prst="rect">
              <a:avLst/>
            </a:prstGeom>
            <a:noFill/>
          </p:spPr>
          <p:txBody>
            <a:bodyPr wrap="none" lIns="182880" tIns="146304" rIns="182880" bIns="146304" rtlCol="0">
              <a:spAutoFit/>
            </a:bodyPr>
            <a:lstStyle/>
            <a:p>
              <a:pPr>
                <a:lnSpc>
                  <a:spcPct val="90000"/>
                </a:lnSpc>
                <a:spcAft>
                  <a:spcPts val="600"/>
                </a:spcAft>
              </a:pPr>
              <a:r>
                <a:rPr lang="en-US" altLang="zh-CN" dirty="0">
                  <a:gradFill>
                    <a:gsLst>
                      <a:gs pos="2917">
                        <a:schemeClr val="tx1"/>
                      </a:gs>
                      <a:gs pos="30000">
                        <a:schemeClr val="tx1"/>
                      </a:gs>
                    </a:gsLst>
                    <a:lin ang="5400000" scaled="0"/>
                  </a:gradFill>
                  <a:cs typeface="+mn-ea"/>
                  <a:sym typeface="+mn-lt"/>
                </a:rPr>
                <a:t>Boutique 1</a:t>
              </a:r>
              <a:endParaRPr lang="zh-CN" altLang="en-US" dirty="0" err="1">
                <a:gradFill>
                  <a:gsLst>
                    <a:gs pos="2917">
                      <a:schemeClr val="tx1"/>
                    </a:gs>
                    <a:gs pos="30000">
                      <a:schemeClr val="tx1"/>
                    </a:gs>
                  </a:gsLst>
                  <a:lin ang="5400000" scaled="0"/>
                </a:gradFill>
                <a:cs typeface="+mn-ea"/>
                <a:sym typeface="+mn-lt"/>
              </a:endParaRPr>
            </a:p>
          </p:txBody>
        </p:sp>
      </p:grpSp>
      <p:pic>
        <p:nvPicPr>
          <p:cNvPr id="40"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10000" b="90000" l="10000" r="90000"/>
                    </a14:imgEffect>
                  </a14:imgLayer>
                </a14:imgProps>
              </a:ext>
            </a:extLst>
          </a:blip>
          <a:srcRect/>
          <a:stretch>
            <a:fillRect/>
          </a:stretch>
        </p:blipFill>
        <p:spPr bwMode="auto">
          <a:xfrm>
            <a:off x="2358620" y="1469600"/>
            <a:ext cx="868670" cy="685981"/>
          </a:xfrm>
          <a:prstGeom prst="rect">
            <a:avLst/>
          </a:prstGeom>
          <a:noFill/>
          <a:ln>
            <a:noFill/>
          </a:ln>
          <a:effectLst>
            <a:innerShdw blurRad="63500" dist="50800" dir="189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TextBox 25"/>
          <p:cNvSpPr txBox="1"/>
          <p:nvPr/>
        </p:nvSpPr>
        <p:spPr>
          <a:xfrm>
            <a:off x="1997028" y="2008118"/>
            <a:ext cx="2144067" cy="517065"/>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err="1">
                <a:gradFill>
                  <a:gsLst>
                    <a:gs pos="2917">
                      <a:schemeClr val="tx1"/>
                    </a:gs>
                    <a:gs pos="30000">
                      <a:schemeClr val="tx1"/>
                    </a:gs>
                  </a:gsLst>
                  <a:lin ang="5400000" scaled="0"/>
                </a:gradFill>
                <a:cs typeface="+mn-ea"/>
                <a:sym typeface="+mn-lt"/>
              </a:rPr>
              <a:t>Caméra</a:t>
            </a:r>
            <a:r>
              <a:rPr lang="en-US" altLang="zh-CN" sz="1600" dirty="0">
                <a:gradFill>
                  <a:gsLst>
                    <a:gs pos="2917">
                      <a:schemeClr val="tx1"/>
                    </a:gs>
                    <a:gs pos="30000">
                      <a:schemeClr val="tx1"/>
                    </a:gs>
                  </a:gsLst>
                  <a:lin ang="5400000" scaled="0"/>
                </a:gradFill>
                <a:cs typeface="+mn-ea"/>
                <a:sym typeface="+mn-lt"/>
              </a:rPr>
              <a:t> IP/CVI</a:t>
            </a:r>
            <a:endParaRPr lang="zh-CN" altLang="en-US" sz="1600" dirty="0" err="1">
              <a:gradFill>
                <a:gsLst>
                  <a:gs pos="2917">
                    <a:schemeClr val="tx1"/>
                  </a:gs>
                  <a:gs pos="30000">
                    <a:schemeClr val="tx1"/>
                  </a:gs>
                </a:gsLst>
                <a:lin ang="5400000" scaled="0"/>
              </a:gradFill>
              <a:cs typeface="+mn-ea"/>
              <a:sym typeface="+mn-lt"/>
            </a:endParaRPr>
          </a:p>
        </p:txBody>
      </p:sp>
      <p:pic>
        <p:nvPicPr>
          <p:cNvPr id="43" name="Picture 2" descr="C:\Users\28182\Downloads\DSS4004_meitu_21.png"/>
          <p:cNvPicPr>
            <a:picLocks noChangeAspect="1" noChangeArrowheads="1"/>
          </p:cNvPicPr>
          <p:nvPr/>
        </p:nvPicPr>
        <p:blipFill rotWithShape="1">
          <a:blip r:embed="rId6" cstate="print"/>
          <a:srcRect/>
          <a:stretch>
            <a:fillRect/>
          </a:stretch>
        </p:blipFill>
        <p:spPr bwMode="auto">
          <a:xfrm>
            <a:off x="4489200" y="4616517"/>
            <a:ext cx="573033" cy="633341"/>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25"/>
          <p:cNvSpPr txBox="1"/>
          <p:nvPr/>
        </p:nvSpPr>
        <p:spPr>
          <a:xfrm>
            <a:off x="4158168" y="6417437"/>
            <a:ext cx="2144067" cy="738664"/>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err="1">
                <a:gradFill>
                  <a:gsLst>
                    <a:gs pos="2917">
                      <a:schemeClr val="tx1"/>
                    </a:gs>
                    <a:gs pos="30000">
                      <a:schemeClr val="tx1"/>
                    </a:gs>
                  </a:gsLst>
                  <a:lin ang="5400000" scaled="0"/>
                </a:gradFill>
                <a:cs typeface="+mn-ea"/>
                <a:sym typeface="+mn-lt"/>
              </a:rPr>
              <a:t>Imprimante</a:t>
            </a:r>
            <a:r>
              <a:rPr lang="en-US" altLang="zh-CN" sz="1600" dirty="0">
                <a:gradFill>
                  <a:gsLst>
                    <a:gs pos="2917">
                      <a:schemeClr val="tx1"/>
                    </a:gs>
                    <a:gs pos="30000">
                      <a:schemeClr val="tx1"/>
                    </a:gs>
                  </a:gsLst>
                  <a:lin ang="5400000" scaled="0"/>
                </a:gradFill>
                <a:cs typeface="+mn-ea"/>
                <a:sym typeface="+mn-lt"/>
              </a:rPr>
              <a:t> avec port </a:t>
            </a:r>
            <a:r>
              <a:rPr lang="en-US" altLang="zh-CN" sz="1600" dirty="0" err="1">
                <a:gradFill>
                  <a:gsLst>
                    <a:gs pos="2917">
                      <a:schemeClr val="tx1"/>
                    </a:gs>
                    <a:gs pos="30000">
                      <a:schemeClr val="tx1"/>
                    </a:gs>
                  </a:gsLst>
                  <a:lin ang="5400000" scaled="0"/>
                </a:gradFill>
                <a:cs typeface="+mn-ea"/>
                <a:sym typeface="+mn-lt"/>
              </a:rPr>
              <a:t>série</a:t>
            </a:r>
            <a:endParaRPr lang="zh-CN" altLang="en-US" sz="1600" dirty="0" err="1">
              <a:gradFill>
                <a:gsLst>
                  <a:gs pos="2917">
                    <a:schemeClr val="tx1"/>
                  </a:gs>
                  <a:gs pos="30000">
                    <a:schemeClr val="tx1"/>
                  </a:gs>
                </a:gsLst>
                <a:lin ang="5400000" scaled="0"/>
              </a:gradFill>
              <a:cs typeface="+mn-ea"/>
              <a:sym typeface="+mn-lt"/>
            </a:endParaRPr>
          </a:p>
        </p:txBody>
      </p:sp>
      <p:pic>
        <p:nvPicPr>
          <p:cNvPr id="49" name="图片 48"/>
          <p:cNvPicPr>
            <a:picLocks noChangeAspect="1"/>
          </p:cNvPicPr>
          <p:nvPr/>
        </p:nvPicPr>
        <p:blipFill>
          <a:blip r:embed="rId7">
            <a:clrChange>
              <a:clrFrom>
                <a:srgbClr val="FAFFF9"/>
              </a:clrFrom>
              <a:clrTo>
                <a:srgbClr val="FAFFF9">
                  <a:alpha val="0"/>
                </a:srgbClr>
              </a:clrTo>
            </a:clrChang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2653243" y="4434237"/>
            <a:ext cx="997900" cy="997900"/>
          </a:xfrm>
          <a:prstGeom prst="rect">
            <a:avLst/>
          </a:prstGeom>
        </p:spPr>
      </p:pic>
      <p:cxnSp>
        <p:nvCxnSpPr>
          <p:cNvPr id="50" name="直接连接符 49"/>
          <p:cNvCxnSpPr/>
          <p:nvPr/>
        </p:nvCxnSpPr>
        <p:spPr>
          <a:xfrm>
            <a:off x="3451654" y="4933187"/>
            <a:ext cx="914546" cy="0"/>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4747019" y="5132675"/>
            <a:ext cx="0" cy="723832"/>
          </a:xfrm>
          <a:prstGeom prst="line">
            <a:avLst/>
          </a:prstGeom>
          <a:ln>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124" name="Picture 4" descr="https://ss0.bdstatic.com/70cFvHSh_Q1YnxGkpoWK1HF6hhy/it/u=4259167604,4172390852&amp;fm=27&amp;gp=0.jpg"/>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10000" b="90000" l="3667" r="90000">
                        <a14:foregroundMark x1="14667" y1="28333" x2="8333" y2="50333"/>
                        <a14:foregroundMark x1="6333" y1="40000" x2="3667"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4385103" y="5882356"/>
            <a:ext cx="723832" cy="723832"/>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25"/>
          <p:cNvSpPr txBox="1"/>
          <p:nvPr/>
        </p:nvSpPr>
        <p:spPr>
          <a:xfrm>
            <a:off x="4578607" y="5085726"/>
            <a:ext cx="2144067" cy="738664"/>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err="1">
                <a:gradFill>
                  <a:gsLst>
                    <a:gs pos="2917">
                      <a:schemeClr val="tx1"/>
                    </a:gs>
                    <a:gs pos="30000">
                      <a:schemeClr val="tx1"/>
                    </a:gs>
                  </a:gsLst>
                  <a:lin ang="5400000" scaled="0"/>
                </a:gradFill>
                <a:cs typeface="+mn-ea"/>
                <a:sym typeface="+mn-lt"/>
              </a:rPr>
              <a:t>Boîtier</a:t>
            </a:r>
            <a:r>
              <a:rPr lang="en-US" altLang="zh-CN" sz="1600" dirty="0">
                <a:gradFill>
                  <a:gsLst>
                    <a:gs pos="2917">
                      <a:schemeClr val="tx1"/>
                    </a:gs>
                    <a:gs pos="30000">
                      <a:schemeClr val="tx1"/>
                    </a:gs>
                  </a:gsLst>
                  <a:lin ang="5400000" scaled="0"/>
                </a:gradFill>
                <a:cs typeface="+mn-ea"/>
                <a:sym typeface="+mn-lt"/>
              </a:rPr>
              <a:t> de port </a:t>
            </a:r>
            <a:r>
              <a:rPr lang="en-US" altLang="zh-CN" sz="1600" dirty="0" err="1">
                <a:gradFill>
                  <a:gsLst>
                    <a:gs pos="2917">
                      <a:schemeClr val="tx1"/>
                    </a:gs>
                    <a:gs pos="30000">
                      <a:schemeClr val="tx1"/>
                    </a:gs>
                  </a:gsLst>
                  <a:lin ang="5400000" scaled="0"/>
                </a:gradFill>
                <a:cs typeface="+mn-ea"/>
                <a:sym typeface="+mn-lt"/>
              </a:rPr>
              <a:t>série</a:t>
            </a:r>
            <a:endParaRPr lang="zh-CN" altLang="en-US" sz="1600" dirty="0" err="1">
              <a:gradFill>
                <a:gsLst>
                  <a:gs pos="2917">
                    <a:schemeClr val="tx1"/>
                  </a:gs>
                  <a:gs pos="30000">
                    <a:schemeClr val="tx1"/>
                  </a:gs>
                </a:gsLst>
                <a:lin ang="5400000" scaled="0"/>
              </a:gradFill>
              <a:cs typeface="+mn-ea"/>
              <a:sym typeface="+mn-lt"/>
            </a:endParaRPr>
          </a:p>
        </p:txBody>
      </p:sp>
      <p:pic>
        <p:nvPicPr>
          <p:cNvPr id="57" name="图片 56"/>
          <p:cNvPicPr>
            <a:picLocks noChangeAspect="1"/>
          </p:cNvPicPr>
          <p:nvPr/>
        </p:nvPicPr>
        <p:blipFill>
          <a:blip r:embed="rId7">
            <a:clrChange>
              <a:clrFrom>
                <a:srgbClr val="FAFFF9"/>
              </a:clrFrom>
              <a:clrTo>
                <a:srgbClr val="FAFFF9">
                  <a:alpha val="0"/>
                </a:srgbClr>
              </a:clrTo>
            </a:clrChang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9755716" y="1477529"/>
            <a:ext cx="997900" cy="997900"/>
          </a:xfrm>
          <a:prstGeom prst="rect">
            <a:avLst/>
          </a:prstGeom>
        </p:spPr>
      </p:pic>
      <p:sp>
        <p:nvSpPr>
          <p:cNvPr id="59" name="TextBox 25"/>
          <p:cNvSpPr txBox="1"/>
          <p:nvPr/>
        </p:nvSpPr>
        <p:spPr>
          <a:xfrm>
            <a:off x="2730491" y="5365291"/>
            <a:ext cx="795869" cy="517065"/>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a:gradFill>
                  <a:gsLst>
                    <a:gs pos="2917">
                      <a:schemeClr val="tx1"/>
                    </a:gs>
                    <a:gs pos="30000">
                      <a:schemeClr val="tx1"/>
                    </a:gs>
                  </a:gsLst>
                  <a:lin ang="5400000" scaled="0"/>
                </a:gradFill>
                <a:cs typeface="+mn-ea"/>
                <a:sym typeface="+mn-lt"/>
              </a:rPr>
              <a:t>POS</a:t>
            </a:r>
            <a:endParaRPr lang="zh-CN" altLang="en-US" sz="1600" dirty="0" err="1">
              <a:gradFill>
                <a:gsLst>
                  <a:gs pos="2917">
                    <a:schemeClr val="tx1"/>
                  </a:gs>
                  <a:gs pos="30000">
                    <a:schemeClr val="tx1"/>
                  </a:gs>
                </a:gsLst>
                <a:lin ang="5400000" scaled="0"/>
              </a:gradFill>
              <a:cs typeface="+mn-ea"/>
              <a:sym typeface="+mn-lt"/>
            </a:endParaRPr>
          </a:p>
        </p:txBody>
      </p:sp>
      <p:sp>
        <p:nvSpPr>
          <p:cNvPr id="60" name="TextBox 25"/>
          <p:cNvSpPr txBox="1"/>
          <p:nvPr/>
        </p:nvSpPr>
        <p:spPr>
          <a:xfrm>
            <a:off x="9721215" y="2413635"/>
            <a:ext cx="1417955" cy="513080"/>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a:gradFill>
                  <a:gsLst>
                    <a:gs pos="2917">
                      <a:schemeClr val="tx1"/>
                    </a:gs>
                    <a:gs pos="30000">
                      <a:schemeClr val="tx1"/>
                    </a:gs>
                  </a:gsLst>
                  <a:lin ang="5400000" scaled="0"/>
                </a:gradFill>
                <a:cs typeface="+mn-ea"/>
                <a:sym typeface="+mn-lt"/>
              </a:rPr>
              <a:t>POS </a:t>
            </a:r>
            <a:endParaRPr lang="zh-CN" altLang="en-US" sz="1600" dirty="0" err="1">
              <a:gradFill>
                <a:gsLst>
                  <a:gs pos="2917">
                    <a:schemeClr val="tx1"/>
                  </a:gs>
                  <a:gs pos="30000">
                    <a:schemeClr val="tx1"/>
                  </a:gs>
                </a:gsLst>
                <a:lin ang="5400000" scaled="0"/>
              </a:gradFill>
              <a:cs typeface="+mn-ea"/>
              <a:sym typeface="+mn-lt"/>
            </a:endParaRPr>
          </a:p>
        </p:txBody>
      </p:sp>
      <p:pic>
        <p:nvPicPr>
          <p:cNvPr id="74" name="图片 73"/>
          <p:cNvPicPr>
            <a:picLocks noChangeAspect="1"/>
          </p:cNvPicPr>
          <p:nvPr/>
        </p:nvPicPr>
        <p:blipFill>
          <a:blip r:embed="rId7">
            <a:clrChange>
              <a:clrFrom>
                <a:srgbClr val="FAFFF9"/>
              </a:clrFrom>
              <a:clrTo>
                <a:srgbClr val="FAFFF9">
                  <a:alpha val="0"/>
                </a:srgbClr>
              </a:clrTo>
            </a:clrChange>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4410126" y="2956029"/>
            <a:ext cx="997900" cy="997900"/>
          </a:xfrm>
          <a:prstGeom prst="rect">
            <a:avLst/>
          </a:prstGeom>
        </p:spPr>
      </p:pic>
      <p:sp>
        <p:nvSpPr>
          <p:cNvPr id="75" name="TextBox 25"/>
          <p:cNvSpPr txBox="1"/>
          <p:nvPr/>
        </p:nvSpPr>
        <p:spPr>
          <a:xfrm>
            <a:off x="4562666" y="3887296"/>
            <a:ext cx="795869" cy="517065"/>
          </a:xfrm>
          <a:prstGeom prst="rect">
            <a:avLst/>
          </a:prstGeom>
          <a:noFill/>
        </p:spPr>
        <p:txBody>
          <a:bodyPr wrap="square" lIns="182880" tIns="146304" rIns="182880" bIns="146304" rtlCol="0">
            <a:spAutoFit/>
          </a:bodyPr>
          <a:lstStyle/>
          <a:p>
            <a:pPr>
              <a:lnSpc>
                <a:spcPct val="90000"/>
              </a:lnSpc>
              <a:spcAft>
                <a:spcPts val="600"/>
              </a:spcAft>
            </a:pPr>
            <a:r>
              <a:rPr lang="en-US" altLang="zh-CN" sz="1600" dirty="0">
                <a:gradFill>
                  <a:gsLst>
                    <a:gs pos="2917">
                      <a:schemeClr val="tx1"/>
                    </a:gs>
                    <a:gs pos="30000">
                      <a:schemeClr val="tx1"/>
                    </a:gs>
                  </a:gsLst>
                  <a:lin ang="5400000" scaled="0"/>
                </a:gradFill>
                <a:cs typeface="+mn-ea"/>
                <a:sym typeface="+mn-lt"/>
              </a:rPr>
              <a:t>POS</a:t>
            </a:r>
            <a:endParaRPr lang="zh-CN" altLang="en-US" sz="1600" dirty="0" err="1">
              <a:gradFill>
                <a:gsLst>
                  <a:gs pos="2917">
                    <a:schemeClr val="tx1"/>
                  </a:gs>
                  <a:gs pos="30000">
                    <a:schemeClr val="tx1"/>
                  </a:gs>
                </a:gsLst>
                <a:lin ang="5400000" scaled="0"/>
              </a:gradFill>
              <a:cs typeface="+mn-ea"/>
              <a:sym typeface="+mn-lt"/>
            </a:endParaRPr>
          </a:p>
        </p:txBody>
      </p:sp>
      <p:cxnSp>
        <p:nvCxnSpPr>
          <p:cNvPr id="78" name="连接符: 肘形 77"/>
          <p:cNvCxnSpPr>
            <a:stCxn id="40" idx="3"/>
          </p:cNvCxnSpPr>
          <p:nvPr/>
        </p:nvCxnSpPr>
        <p:spPr>
          <a:xfrm>
            <a:off x="3227070" y="1812290"/>
            <a:ext cx="3279775" cy="1173480"/>
          </a:xfrm>
          <a:prstGeom prst="bentConnector3">
            <a:avLst>
              <a:gd name="adj1" fmla="val 99438"/>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文本框 79"/>
          <p:cNvSpPr txBox="1"/>
          <p:nvPr/>
        </p:nvSpPr>
        <p:spPr>
          <a:xfrm>
            <a:off x="10624323" y="1951869"/>
            <a:ext cx="1576394" cy="517065"/>
          </a:xfrm>
          <a:prstGeom prst="rect">
            <a:avLst/>
          </a:prstGeom>
          <a:noFill/>
        </p:spPr>
        <p:txBody>
          <a:bodyPr wrap="none" lIns="182880" tIns="146304" rIns="182880" bIns="146304" rtlCol="0">
            <a:spAutoFit/>
          </a:bodyPr>
          <a:lstStyle/>
          <a:p>
            <a:pPr>
              <a:lnSpc>
                <a:spcPct val="90000"/>
              </a:lnSpc>
              <a:spcAft>
                <a:spcPts val="600"/>
              </a:spcAft>
            </a:pPr>
            <a:r>
              <a:rPr lang="en-US" altLang="zh-CN" sz="1600" dirty="0">
                <a:solidFill>
                  <a:srgbClr val="00BCF2"/>
                </a:solidFill>
                <a:cs typeface="+mn-ea"/>
                <a:sym typeface="+mn-lt"/>
              </a:rPr>
              <a:t>Solution SDK</a:t>
            </a:r>
          </a:p>
        </p:txBody>
      </p:sp>
      <p:sp>
        <p:nvSpPr>
          <p:cNvPr id="82" name="文本框 81"/>
          <p:cNvSpPr txBox="1"/>
          <p:nvPr/>
        </p:nvSpPr>
        <p:spPr>
          <a:xfrm>
            <a:off x="2382466" y="3417873"/>
            <a:ext cx="1368003" cy="517065"/>
          </a:xfrm>
          <a:prstGeom prst="rect">
            <a:avLst/>
          </a:prstGeom>
          <a:noFill/>
        </p:spPr>
        <p:txBody>
          <a:bodyPr wrap="none" lIns="182880" tIns="146304" rIns="182880" bIns="146304" rtlCol="0">
            <a:spAutoFit/>
          </a:bodyPr>
          <a:lstStyle/>
          <a:p>
            <a:pPr>
              <a:lnSpc>
                <a:spcPct val="90000"/>
              </a:lnSpc>
              <a:spcAft>
                <a:spcPts val="600"/>
              </a:spcAft>
            </a:pPr>
            <a:r>
              <a:rPr lang="en-US" altLang="zh-CN" sz="1600" dirty="0">
                <a:solidFill>
                  <a:srgbClr val="00BCF2"/>
                </a:solidFill>
                <a:cs typeface="+mn-ea"/>
                <a:sym typeface="+mn-lt"/>
              </a:rPr>
              <a:t>Solution IP</a:t>
            </a:r>
          </a:p>
        </p:txBody>
      </p:sp>
      <p:sp>
        <p:nvSpPr>
          <p:cNvPr id="83" name="文本框 82"/>
          <p:cNvSpPr txBox="1"/>
          <p:nvPr/>
        </p:nvSpPr>
        <p:spPr>
          <a:xfrm>
            <a:off x="1497548" y="4374710"/>
            <a:ext cx="1719060" cy="517065"/>
          </a:xfrm>
          <a:prstGeom prst="rect">
            <a:avLst/>
          </a:prstGeom>
          <a:noFill/>
        </p:spPr>
        <p:txBody>
          <a:bodyPr wrap="none" lIns="182880" tIns="146304" rIns="182880" bIns="146304" rtlCol="0">
            <a:spAutoFit/>
          </a:bodyPr>
          <a:lstStyle/>
          <a:p>
            <a:pPr>
              <a:lnSpc>
                <a:spcPct val="90000"/>
              </a:lnSpc>
              <a:spcAft>
                <a:spcPts val="600"/>
              </a:spcAft>
            </a:pPr>
            <a:r>
              <a:rPr lang="en-US" altLang="zh-CN" sz="1600" dirty="0" err="1">
                <a:solidFill>
                  <a:srgbClr val="00BCF2"/>
                </a:solidFill>
                <a:cs typeface="+mn-ea"/>
                <a:sym typeface="+mn-lt"/>
              </a:rPr>
              <a:t>Autre</a:t>
            </a:r>
            <a:r>
              <a:rPr lang="en-US" altLang="zh-CN" sz="1600" dirty="0">
                <a:solidFill>
                  <a:srgbClr val="00BCF2"/>
                </a:solidFill>
                <a:cs typeface="+mn-ea"/>
                <a:sym typeface="+mn-lt"/>
              </a:rPr>
              <a:t> solution</a:t>
            </a:r>
          </a:p>
        </p:txBody>
      </p:sp>
      <p:cxnSp>
        <p:nvCxnSpPr>
          <p:cNvPr id="18" name="直接连接符 17"/>
          <p:cNvCxnSpPr/>
          <p:nvPr/>
        </p:nvCxnSpPr>
        <p:spPr>
          <a:xfrm flipV="1">
            <a:off x="8686800" y="2198370"/>
            <a:ext cx="1019175" cy="1905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íṣḷîdè"/>
          <p:cNvGrpSpPr/>
          <p:nvPr/>
        </p:nvGrpSpPr>
        <p:grpSpPr>
          <a:xfrm>
            <a:off x="-947743" y="1072291"/>
            <a:ext cx="2540222" cy="4873443"/>
            <a:chOff x="-930109" y="1051361"/>
            <a:chExt cx="2490640" cy="4778319"/>
          </a:xfrm>
        </p:grpSpPr>
        <p:sp>
          <p:nvSpPr>
            <p:cNvPr id="27" name="is1ïḍê"/>
            <p:cNvSpPr/>
            <p:nvPr/>
          </p:nvSpPr>
          <p:spPr bwMode="auto">
            <a:xfrm rot="13500000">
              <a:off x="-930105" y="3969472"/>
              <a:ext cx="1860208" cy="1860208"/>
            </a:xfrm>
            <a:custGeom>
              <a:avLst/>
              <a:gdLst>
                <a:gd name="connsiteX0" fmla="*/ 0 w 2304255"/>
                <a:gd name="connsiteY0" fmla="*/ 0 h 2304255"/>
                <a:gd name="connsiteX1" fmla="*/ 2304255 w 2304255"/>
                <a:gd name="connsiteY1" fmla="*/ 2304255 h 2304255"/>
                <a:gd name="connsiteX2" fmla="*/ 0 w 2304255"/>
                <a:gd name="connsiteY2" fmla="*/ 2304255 h 2304255"/>
                <a:gd name="connsiteX3" fmla="*/ 0 w 2304255"/>
                <a:gd name="connsiteY3" fmla="*/ 0 h 2304255"/>
              </a:gdLst>
              <a:ahLst/>
              <a:cxnLst>
                <a:cxn ang="0">
                  <a:pos x="connsiteX0" y="connsiteY0"/>
                </a:cxn>
                <a:cxn ang="0">
                  <a:pos x="connsiteX1" y="connsiteY1"/>
                </a:cxn>
                <a:cxn ang="0">
                  <a:pos x="connsiteX2" y="connsiteY2"/>
                </a:cxn>
                <a:cxn ang="0">
                  <a:pos x="connsiteX3" y="connsiteY3"/>
                </a:cxn>
              </a:cxnLst>
              <a:rect l="l" t="t" r="r" b="b"/>
              <a:pathLst>
                <a:path w="2304255" h="2304255">
                  <a:moveTo>
                    <a:pt x="0" y="0"/>
                  </a:moveTo>
                  <a:lnTo>
                    <a:pt x="2304255" y="2304255"/>
                  </a:lnTo>
                  <a:lnTo>
                    <a:pt x="0" y="2304255"/>
                  </a:lnTo>
                  <a:lnTo>
                    <a:pt x="0" y="0"/>
                  </a:lnTo>
                  <a:close/>
                </a:path>
              </a:pathLst>
            </a:custGeom>
            <a:solidFill>
              <a:srgbClr val="FFFFFF"/>
            </a:solidFill>
            <a:ln w="19050">
              <a:noFill/>
              <a:round/>
            </a:ln>
          </p:spPr>
          <p:txBody>
            <a:bodyPr anchor="ctr"/>
            <a:lstStyle/>
            <a:p>
              <a:pPr algn="ctr"/>
              <a:endParaRPr sz="1835">
                <a:cs typeface="+mn-ea"/>
                <a:sym typeface="+mn-lt"/>
              </a:endParaRPr>
            </a:p>
          </p:txBody>
        </p:sp>
        <p:sp>
          <p:nvSpPr>
            <p:cNvPr id="28" name="ïṧḷiḍê"/>
            <p:cNvSpPr/>
            <p:nvPr/>
          </p:nvSpPr>
          <p:spPr bwMode="auto">
            <a:xfrm rot="2700000">
              <a:off x="-930109" y="1051361"/>
              <a:ext cx="1860208" cy="1860208"/>
            </a:xfrm>
            <a:custGeom>
              <a:avLst/>
              <a:gdLst>
                <a:gd name="connsiteX0" fmla="*/ 0 w 1860208"/>
                <a:gd name="connsiteY0" fmla="*/ 0 h 1860208"/>
                <a:gd name="connsiteX1" fmla="*/ 1860208 w 1860208"/>
                <a:gd name="connsiteY1" fmla="*/ 0 h 1860208"/>
                <a:gd name="connsiteX2" fmla="*/ 1860208 w 1860208"/>
                <a:gd name="connsiteY2" fmla="*/ 1860208 h 1860208"/>
              </a:gdLst>
              <a:ahLst/>
              <a:cxnLst>
                <a:cxn ang="0">
                  <a:pos x="connsiteX0" y="connsiteY0"/>
                </a:cxn>
                <a:cxn ang="0">
                  <a:pos x="connsiteX1" y="connsiteY1"/>
                </a:cxn>
                <a:cxn ang="0">
                  <a:pos x="connsiteX2" y="connsiteY2"/>
                </a:cxn>
              </a:cxnLst>
              <a:rect l="l" t="t" r="r" b="b"/>
              <a:pathLst>
                <a:path w="1860208" h="1860208">
                  <a:moveTo>
                    <a:pt x="0" y="0"/>
                  </a:moveTo>
                  <a:lnTo>
                    <a:pt x="1860208" y="0"/>
                  </a:lnTo>
                  <a:lnTo>
                    <a:pt x="1860208" y="1860208"/>
                  </a:lnTo>
                  <a:close/>
                </a:path>
              </a:pathLst>
            </a:custGeom>
            <a:solidFill>
              <a:srgbClr val="525252"/>
            </a:solidFill>
            <a:ln w="19050">
              <a:noFill/>
              <a:round/>
            </a:ln>
          </p:spPr>
          <p:txBody>
            <a:bodyPr wrap="square" anchor="ctr">
              <a:noAutofit/>
            </a:bodyPr>
            <a:lstStyle/>
            <a:p>
              <a:pPr algn="ctr"/>
              <a:endParaRPr sz="1835">
                <a:cs typeface="+mn-ea"/>
                <a:sym typeface="+mn-lt"/>
              </a:endParaRPr>
            </a:p>
          </p:txBody>
        </p:sp>
        <p:sp>
          <p:nvSpPr>
            <p:cNvPr id="29" name="îślïḓé"/>
            <p:cNvSpPr/>
            <p:nvPr/>
          </p:nvSpPr>
          <p:spPr bwMode="auto">
            <a:xfrm rot="5400000">
              <a:off x="-780266" y="2648735"/>
              <a:ext cx="3121063" cy="1560531"/>
            </a:xfrm>
            <a:custGeom>
              <a:avLst/>
              <a:gdLst>
                <a:gd name="connsiteX0" fmla="*/ 2367656 w 4735313"/>
                <a:gd name="connsiteY0" fmla="*/ 0 h 2367656"/>
                <a:gd name="connsiteX1" fmla="*/ 4735313 w 4735313"/>
                <a:gd name="connsiteY1" fmla="*/ 2367656 h 2367656"/>
                <a:gd name="connsiteX2" fmla="*/ 3847062 w 4735313"/>
                <a:gd name="connsiteY2" fmla="*/ 2367656 h 2367656"/>
                <a:gd name="connsiteX3" fmla="*/ 2367656 w 4735313"/>
                <a:gd name="connsiteY3" fmla="*/ 888250 h 2367656"/>
                <a:gd name="connsiteX4" fmla="*/ 888250 w 4735313"/>
                <a:gd name="connsiteY4" fmla="*/ 2367656 h 2367656"/>
                <a:gd name="connsiteX5" fmla="*/ 0 w 4735313"/>
                <a:gd name="connsiteY5" fmla="*/ 2367656 h 2367656"/>
                <a:gd name="connsiteX6" fmla="*/ 2367656 w 4735313"/>
                <a:gd name="connsiteY6" fmla="*/ 0 h 236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5313" h="2367656">
                  <a:moveTo>
                    <a:pt x="2367656" y="0"/>
                  </a:moveTo>
                  <a:lnTo>
                    <a:pt x="4735313" y="2367656"/>
                  </a:lnTo>
                  <a:lnTo>
                    <a:pt x="3847062" y="2367656"/>
                  </a:lnTo>
                  <a:lnTo>
                    <a:pt x="2367656" y="888250"/>
                  </a:lnTo>
                  <a:lnTo>
                    <a:pt x="888250" y="2367656"/>
                  </a:lnTo>
                  <a:lnTo>
                    <a:pt x="0" y="2367656"/>
                  </a:lnTo>
                  <a:lnTo>
                    <a:pt x="2367656" y="0"/>
                  </a:lnTo>
                  <a:close/>
                </a:path>
              </a:pathLst>
            </a:custGeom>
            <a:solidFill>
              <a:srgbClr val="D2D2D2"/>
            </a:solidFill>
            <a:ln w="19050">
              <a:noFill/>
              <a:round/>
            </a:ln>
          </p:spPr>
          <p:txBody>
            <a:bodyPr anchor="ctr"/>
            <a:lstStyle/>
            <a:p>
              <a:pPr algn="ctr"/>
              <a:endParaRPr sz="1835">
                <a:cs typeface="+mn-ea"/>
                <a:sym typeface="+mn-lt"/>
              </a:endParaRPr>
            </a:p>
          </p:txBody>
        </p:sp>
      </p:grpSp>
      <p:sp>
        <p:nvSpPr>
          <p:cNvPr id="7" name="ïṥļiḓe"/>
          <p:cNvSpPr/>
          <p:nvPr/>
        </p:nvSpPr>
        <p:spPr>
          <a:xfrm>
            <a:off x="1574611" y="3038156"/>
            <a:ext cx="3817501" cy="941711"/>
          </a:xfrm>
          <a:prstGeom prst="rect">
            <a:avLst/>
          </a:prstGeom>
        </p:spPr>
        <p:txBody>
          <a:bodyPr wrap="square" anchor="ctr" anchorCtr="1">
            <a:normAutofit fontScale="85000" lnSpcReduction="10000"/>
          </a:bodyPr>
          <a:lstStyle/>
          <a:p>
            <a:pPr algn="r"/>
            <a:r>
              <a:rPr lang="en-US" altLang="zh-CN" sz="5505" b="1" spc="306" dirty="0">
                <a:solidFill>
                  <a:schemeClr val="tx1">
                    <a:lumMod val="75000"/>
                  </a:schemeClr>
                </a:solidFill>
                <a:cs typeface="+mn-ea"/>
                <a:sym typeface="+mn-lt"/>
              </a:rPr>
              <a:t>SOMMAIRE</a:t>
            </a:r>
          </a:p>
        </p:txBody>
      </p:sp>
      <p:grpSp>
        <p:nvGrpSpPr>
          <p:cNvPr id="30" name="组合 29"/>
          <p:cNvGrpSpPr/>
          <p:nvPr/>
        </p:nvGrpSpPr>
        <p:grpSpPr>
          <a:xfrm>
            <a:off x="5947179" y="1876306"/>
            <a:ext cx="5343322" cy="713034"/>
            <a:chOff x="5947181" y="1942799"/>
            <a:chExt cx="5343322" cy="713034"/>
          </a:xfrm>
        </p:grpSpPr>
        <p:sp>
          <p:nvSpPr>
            <p:cNvPr id="12" name="îṥḻïḋè"/>
            <p:cNvSpPr/>
            <p:nvPr/>
          </p:nvSpPr>
          <p:spPr>
            <a:xfrm>
              <a:off x="5947181" y="1942799"/>
              <a:ext cx="636778" cy="636778"/>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91792" tIns="47732" rIns="91792" bIns="47732" anchor="ctr">
              <a:normAutofit fontScale="92500" lnSpcReduction="20000"/>
            </a:bodyPr>
            <a:lstStyle/>
            <a:p>
              <a:pPr algn="ctr"/>
              <a:r>
                <a:rPr lang="en-US" altLang="zh-CN" sz="1835" dirty="0">
                  <a:solidFill>
                    <a:schemeClr val="bg1"/>
                  </a:solidFill>
                  <a:cs typeface="+mn-ea"/>
                  <a:sym typeface="+mn-lt"/>
                </a:rPr>
                <a:t>01</a:t>
              </a:r>
            </a:p>
          </p:txBody>
        </p:sp>
        <p:sp>
          <p:nvSpPr>
            <p:cNvPr id="21" name="íSḷîḑe"/>
            <p:cNvSpPr txBox="1"/>
            <p:nvPr/>
          </p:nvSpPr>
          <p:spPr>
            <a:xfrm>
              <a:off x="6640509" y="2222026"/>
              <a:ext cx="4041459" cy="310032"/>
            </a:xfrm>
            <a:prstGeom prst="rect">
              <a:avLst/>
            </a:prstGeom>
            <a:noFill/>
          </p:spPr>
          <p:txBody>
            <a:bodyPr wrap="none" lIns="91792" tIns="47732" rIns="91792" bIns="47732" anchor="b" anchorCtr="0">
              <a:noAutofit/>
            </a:bodyPr>
            <a:lstStyle/>
            <a:p>
              <a:pPr defTabSz="671830">
                <a:defRPr/>
              </a:pPr>
              <a:r>
                <a:rPr lang="en-US" altLang="zh-CN" sz="2800" kern="0" dirty="0" err="1">
                  <a:solidFill>
                    <a:schemeClr val="tx1">
                      <a:lumMod val="75000"/>
                    </a:schemeClr>
                  </a:solidFill>
                  <a:cs typeface="+mn-ea"/>
                  <a:sym typeface="+mn-lt"/>
                </a:rPr>
                <a:t>Présentation</a:t>
              </a:r>
              <a:r>
                <a:rPr lang="en-US" altLang="zh-CN" sz="2800" kern="0" dirty="0">
                  <a:solidFill>
                    <a:schemeClr val="tx1">
                      <a:lumMod val="75000"/>
                    </a:schemeClr>
                  </a:solidFill>
                  <a:cs typeface="+mn-ea"/>
                  <a:sym typeface="+mn-lt"/>
                </a:rPr>
                <a:t> De </a:t>
              </a:r>
              <a:r>
                <a:rPr lang="en-US" altLang="zh-CN" sz="2800" kern="0" dirty="0" err="1">
                  <a:solidFill>
                    <a:schemeClr val="tx1">
                      <a:lumMod val="75000"/>
                    </a:schemeClr>
                  </a:solidFill>
                  <a:cs typeface="+mn-ea"/>
                  <a:sym typeface="+mn-lt"/>
                </a:rPr>
                <a:t>L'Entreprise</a:t>
              </a:r>
              <a:endParaRPr lang="en-US" altLang="zh-CN" sz="2800" kern="0" dirty="0">
                <a:solidFill>
                  <a:schemeClr val="tx1">
                    <a:lumMod val="75000"/>
                  </a:schemeClr>
                </a:solidFill>
                <a:cs typeface="+mn-ea"/>
                <a:sym typeface="+mn-lt"/>
              </a:endParaRPr>
            </a:p>
          </p:txBody>
        </p:sp>
        <p:cxnSp>
          <p:nvCxnSpPr>
            <p:cNvPr id="23" name="直接连接符 22"/>
            <p:cNvCxnSpPr/>
            <p:nvPr/>
          </p:nvCxnSpPr>
          <p:spPr>
            <a:xfrm>
              <a:off x="6630048" y="2655833"/>
              <a:ext cx="466045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5947179" y="3216360"/>
            <a:ext cx="5343324" cy="759286"/>
            <a:chOff x="5947179" y="3216360"/>
            <a:chExt cx="5343324" cy="759286"/>
          </a:xfrm>
        </p:grpSpPr>
        <p:sp>
          <p:nvSpPr>
            <p:cNvPr id="11" name="ïṩḷîďè"/>
            <p:cNvSpPr/>
            <p:nvPr/>
          </p:nvSpPr>
          <p:spPr>
            <a:xfrm>
              <a:off x="5947179" y="3216360"/>
              <a:ext cx="636778" cy="636778"/>
            </a:xfrm>
            <a:prstGeom prst="diamond">
              <a:avLst/>
            </a:prstGeom>
            <a:solidFill>
              <a:srgbClr val="9AB5D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792" tIns="47732" rIns="91792" bIns="47732" anchor="ctr">
              <a:normAutofit fontScale="92500" lnSpcReduction="20000"/>
            </a:bodyPr>
            <a:lstStyle/>
            <a:p>
              <a:pPr algn="ctr"/>
              <a:r>
                <a:rPr lang="en-US" altLang="zh-CN" sz="1835">
                  <a:solidFill>
                    <a:schemeClr val="bg1"/>
                  </a:solidFill>
                  <a:cs typeface="+mn-ea"/>
                  <a:sym typeface="+mn-lt"/>
                </a:rPr>
                <a:t>02</a:t>
              </a:r>
            </a:p>
          </p:txBody>
        </p:sp>
        <p:sp>
          <p:nvSpPr>
            <p:cNvPr id="19" name="íSliḓê"/>
            <p:cNvSpPr txBox="1"/>
            <p:nvPr/>
          </p:nvSpPr>
          <p:spPr>
            <a:xfrm>
              <a:off x="6640509" y="3534749"/>
              <a:ext cx="4041459" cy="310032"/>
            </a:xfrm>
            <a:prstGeom prst="rect">
              <a:avLst/>
            </a:prstGeom>
            <a:noFill/>
          </p:spPr>
          <p:txBody>
            <a:bodyPr wrap="none" lIns="91792" tIns="47732" rIns="91792" bIns="47732" anchor="b" anchorCtr="0">
              <a:noAutofit/>
            </a:bodyPr>
            <a:lstStyle/>
            <a:p>
              <a:pPr defTabSz="671830">
                <a:defRPr/>
              </a:pPr>
              <a:r>
                <a:rPr lang="en-US" altLang="zh-CN" sz="2800" kern="0" dirty="0">
                  <a:solidFill>
                    <a:schemeClr val="tx1">
                      <a:lumMod val="75000"/>
                    </a:schemeClr>
                  </a:solidFill>
                  <a:cs typeface="+mn-ea"/>
                  <a:sym typeface="+mn-lt"/>
                </a:rPr>
                <a:t>Solution </a:t>
              </a:r>
              <a:r>
                <a:rPr lang="en-US" altLang="zh-CN" sz="2800" kern="0" dirty="0" err="1">
                  <a:solidFill>
                    <a:schemeClr val="tx1">
                      <a:lumMod val="75000"/>
                    </a:schemeClr>
                  </a:solidFill>
                  <a:cs typeface="+mn-ea"/>
                  <a:sym typeface="+mn-lt"/>
                </a:rPr>
                <a:t>Dahua</a:t>
              </a:r>
              <a:r>
                <a:rPr lang="en-US" altLang="zh-CN" sz="2800" kern="0" dirty="0">
                  <a:solidFill>
                    <a:schemeClr val="tx1">
                      <a:lumMod val="75000"/>
                    </a:schemeClr>
                  </a:solidFill>
                  <a:cs typeface="+mn-ea"/>
                  <a:sym typeface="+mn-lt"/>
                </a:rPr>
                <a:t> Retail</a:t>
              </a:r>
            </a:p>
          </p:txBody>
        </p:sp>
        <p:cxnSp>
          <p:nvCxnSpPr>
            <p:cNvPr id="24" name="直接连接符 23"/>
            <p:cNvCxnSpPr/>
            <p:nvPr/>
          </p:nvCxnSpPr>
          <p:spPr>
            <a:xfrm>
              <a:off x="6630048" y="3975646"/>
              <a:ext cx="466045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grpSp>
        <p:nvGrpSpPr>
          <p:cNvPr id="32" name="组合 31"/>
          <p:cNvGrpSpPr/>
          <p:nvPr/>
        </p:nvGrpSpPr>
        <p:grpSpPr>
          <a:xfrm>
            <a:off x="5947179" y="4686092"/>
            <a:ext cx="5343324" cy="805538"/>
            <a:chOff x="5947179" y="4112426"/>
            <a:chExt cx="5343324" cy="805538"/>
          </a:xfrm>
        </p:grpSpPr>
        <p:sp>
          <p:nvSpPr>
            <p:cNvPr id="10" name="ïṥľïďé"/>
            <p:cNvSpPr/>
            <p:nvPr/>
          </p:nvSpPr>
          <p:spPr>
            <a:xfrm>
              <a:off x="5947179" y="4112426"/>
              <a:ext cx="636778" cy="636778"/>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792" tIns="47732" rIns="91792" bIns="47732" anchor="ctr">
              <a:normAutofit fontScale="92500" lnSpcReduction="20000"/>
            </a:bodyPr>
            <a:lstStyle/>
            <a:p>
              <a:pPr algn="ctr"/>
              <a:r>
                <a:rPr lang="en-US" altLang="zh-CN" sz="1835">
                  <a:solidFill>
                    <a:schemeClr val="bg1"/>
                  </a:solidFill>
                  <a:cs typeface="+mn-ea"/>
                  <a:sym typeface="+mn-lt"/>
                </a:rPr>
                <a:t>03</a:t>
              </a:r>
            </a:p>
          </p:txBody>
        </p:sp>
        <p:sp>
          <p:nvSpPr>
            <p:cNvPr id="17" name="ísḻídè"/>
            <p:cNvSpPr txBox="1"/>
            <p:nvPr/>
          </p:nvSpPr>
          <p:spPr>
            <a:xfrm>
              <a:off x="6630048" y="4346801"/>
              <a:ext cx="4571950" cy="402403"/>
            </a:xfrm>
            <a:prstGeom prst="rect">
              <a:avLst/>
            </a:prstGeom>
            <a:noFill/>
          </p:spPr>
          <p:txBody>
            <a:bodyPr wrap="none" lIns="91792" tIns="47732" rIns="91792" bIns="47732" anchor="b" anchorCtr="0">
              <a:noAutofit/>
            </a:bodyPr>
            <a:lstStyle/>
            <a:p>
              <a:pPr defTabSz="671830">
                <a:defRPr/>
              </a:pPr>
              <a:r>
                <a:rPr lang="en-US" altLang="zh-CN" sz="2800" kern="0" dirty="0" err="1">
                  <a:solidFill>
                    <a:schemeClr val="tx1">
                      <a:lumMod val="75000"/>
                    </a:schemeClr>
                  </a:solidFill>
                  <a:cs typeface="+mn-ea"/>
                  <a:sym typeface="+mn-lt"/>
                </a:rPr>
                <a:t>Exemples</a:t>
              </a:r>
              <a:r>
                <a:rPr lang="en-US" altLang="zh-CN" sz="2800" kern="0" dirty="0">
                  <a:solidFill>
                    <a:schemeClr val="tx1">
                      <a:lumMod val="75000"/>
                    </a:schemeClr>
                  </a:solidFill>
                  <a:cs typeface="+mn-ea"/>
                  <a:sym typeface="+mn-lt"/>
                </a:rPr>
                <a:t> de </a:t>
              </a:r>
              <a:r>
                <a:rPr lang="en-US" altLang="zh-CN" sz="2800" kern="0" dirty="0" err="1">
                  <a:solidFill>
                    <a:schemeClr val="tx1">
                      <a:lumMod val="75000"/>
                    </a:schemeClr>
                  </a:solidFill>
                  <a:cs typeface="+mn-ea"/>
                  <a:sym typeface="+mn-lt"/>
                </a:rPr>
                <a:t>réalisation</a:t>
              </a:r>
              <a:endParaRPr lang="en-US" altLang="zh-CN" sz="2800" kern="0" dirty="0">
                <a:solidFill>
                  <a:schemeClr val="tx1">
                    <a:lumMod val="75000"/>
                  </a:schemeClr>
                </a:solidFill>
                <a:cs typeface="+mn-ea"/>
                <a:sym typeface="+mn-lt"/>
              </a:endParaRPr>
            </a:p>
          </p:txBody>
        </p:sp>
        <p:cxnSp>
          <p:nvCxnSpPr>
            <p:cNvPr id="25" name="直接连接符 24"/>
            <p:cNvCxnSpPr/>
            <p:nvPr/>
          </p:nvCxnSpPr>
          <p:spPr>
            <a:xfrm>
              <a:off x="6630048" y="4917964"/>
              <a:ext cx="4660455"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53140" y="306045"/>
            <a:ext cx="11192828" cy="1560519"/>
          </a:xfrm>
        </p:spPr>
        <p:txBody>
          <a:bodyPr/>
          <a:lstStyle/>
          <a:p>
            <a:r>
              <a:rPr lang="fr-FR" altLang="zh-CN" dirty="0"/>
              <a:t>Caisse </a:t>
            </a:r>
            <a:r>
              <a:rPr lang="en-US" altLang="zh-CN" dirty="0">
                <a:latin typeface="+mn-lt"/>
                <a:cs typeface="+mn-ea"/>
                <a:sym typeface="+mn-lt"/>
              </a:rPr>
              <a:t>| </a:t>
            </a:r>
            <a:r>
              <a:rPr lang="fr-FR" altLang="zh-CN" sz="3600" dirty="0">
                <a:latin typeface="+mn-lt"/>
                <a:cs typeface="+mn-ea"/>
                <a:sym typeface="+mn-lt"/>
              </a:rPr>
              <a:t>La gestion des files d'attente </a:t>
            </a:r>
            <a:r>
              <a:rPr lang="fr-FR" altLang="zh-CN" sz="3600" dirty="0" smtClean="0">
                <a:latin typeface="+mn-lt"/>
                <a:cs typeface="+mn-ea"/>
                <a:sym typeface="+mn-lt"/>
              </a:rPr>
              <a:t>: </a:t>
            </a:r>
            <a:r>
              <a:rPr lang="en-US" altLang="zh-CN" sz="3200" dirty="0">
                <a:latin typeface="+mn-lt"/>
                <a:cs typeface="+mn-ea"/>
                <a:sym typeface="+mn-lt"/>
              </a:rPr>
              <a:t/>
            </a:r>
            <a:br>
              <a:rPr lang="en-US" altLang="zh-CN" sz="3200" dirty="0">
                <a:latin typeface="+mn-lt"/>
                <a:cs typeface="+mn-ea"/>
                <a:sym typeface="+mn-lt"/>
              </a:rPr>
            </a:br>
            <a:endParaRPr lang="zh-CN" altLang="en-US" sz="5400" dirty="0">
              <a:latin typeface="+mn-lt"/>
              <a:cs typeface="+mn-ea"/>
              <a:sym typeface="+mn-lt"/>
            </a:endParaRPr>
          </a:p>
        </p:txBody>
      </p:sp>
      <p:grpSp>
        <p:nvGrpSpPr>
          <p:cNvPr id="4" name="组合 3"/>
          <p:cNvGrpSpPr/>
          <p:nvPr/>
        </p:nvGrpSpPr>
        <p:grpSpPr>
          <a:xfrm>
            <a:off x="640458" y="5829931"/>
            <a:ext cx="5506559" cy="756377"/>
            <a:chOff x="3246479" y="5918804"/>
            <a:chExt cx="5506559" cy="756377"/>
          </a:xfrm>
        </p:grpSpPr>
        <p:grpSp>
          <p:nvGrpSpPr>
            <p:cNvPr id="18" name="组合 17"/>
            <p:cNvGrpSpPr/>
            <p:nvPr/>
          </p:nvGrpSpPr>
          <p:grpSpPr>
            <a:xfrm>
              <a:off x="3246479" y="5918804"/>
              <a:ext cx="5506559" cy="756377"/>
              <a:chOff x="389457" y="5778536"/>
              <a:chExt cx="5506559" cy="1157942"/>
            </a:xfrm>
          </p:grpSpPr>
          <p:sp>
            <p:nvSpPr>
              <p:cNvPr id="19" name="圆角矩形 3"/>
              <p:cNvSpPr/>
              <p:nvPr/>
            </p:nvSpPr>
            <p:spPr bwMode="auto">
              <a:xfrm>
                <a:off x="389457" y="5869975"/>
                <a:ext cx="5506559" cy="786831"/>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0" name="TextBox 4"/>
              <p:cNvSpPr txBox="1"/>
              <p:nvPr/>
            </p:nvSpPr>
            <p:spPr>
              <a:xfrm>
                <a:off x="4321326" y="5778536"/>
                <a:ext cx="1242969" cy="664360"/>
              </a:xfrm>
              <a:prstGeom prst="rect">
                <a:avLst/>
              </a:prstGeom>
              <a:noFill/>
            </p:spPr>
            <p:txBody>
              <a:bodyPr wrap="non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DH-EBW81242</a:t>
                </a:r>
                <a:endParaRPr lang="zh-CN" altLang="en-US" sz="1000" dirty="0" err="1">
                  <a:gradFill>
                    <a:gsLst>
                      <a:gs pos="2917">
                        <a:schemeClr val="tx1"/>
                      </a:gs>
                      <a:gs pos="30000">
                        <a:schemeClr val="tx1"/>
                      </a:gs>
                    </a:gsLst>
                    <a:lin ang="5400000" scaled="0"/>
                  </a:gradFill>
                  <a:cs typeface="+mn-ea"/>
                  <a:sym typeface="+mn-lt"/>
                </a:endParaRPr>
              </a:p>
            </p:txBody>
          </p:sp>
          <p:sp>
            <p:nvSpPr>
              <p:cNvPr id="23" name="TextBox 11"/>
              <p:cNvSpPr txBox="1"/>
              <p:nvPr/>
            </p:nvSpPr>
            <p:spPr>
              <a:xfrm>
                <a:off x="1808470" y="5805653"/>
                <a:ext cx="3649076" cy="1130825"/>
              </a:xfrm>
              <a:prstGeom prst="rect">
                <a:avLst/>
              </a:prstGeom>
              <a:noFill/>
            </p:spPr>
            <p:txBody>
              <a:bodyPr wrap="none" lIns="182880" tIns="146304" rIns="182880" bIns="146304" rtlCol="0">
                <a:spAutoFit/>
              </a:bodyPr>
              <a:lstStyle/>
              <a:p>
                <a:pPr>
                  <a:lnSpc>
                    <a:spcPct val="90000"/>
                  </a:lnSpc>
                  <a:spcAft>
                    <a:spcPts val="600"/>
                  </a:spcAft>
                </a:pPr>
                <a:r>
                  <a:rPr lang="en-US" altLang="zh-CN" sz="3200" dirty="0">
                    <a:gradFill>
                      <a:gsLst>
                        <a:gs pos="2917">
                          <a:schemeClr val="tx1"/>
                        </a:gs>
                        <a:gs pos="30000">
                          <a:schemeClr val="tx1"/>
                        </a:gs>
                      </a:gsLst>
                      <a:lin ang="5400000" scaled="0"/>
                    </a:gradFill>
                    <a:cs typeface="+mn-ea"/>
                    <a:sym typeface="+mn-lt"/>
                  </a:rPr>
                  <a:t>AI fisheye camera</a:t>
                </a:r>
                <a:endParaRPr lang="zh-CN" altLang="en-US" sz="3200" dirty="0" err="1">
                  <a:gradFill>
                    <a:gsLst>
                      <a:gs pos="2917">
                        <a:schemeClr val="tx1"/>
                      </a:gs>
                      <a:gs pos="30000">
                        <a:schemeClr val="tx1"/>
                      </a:gs>
                    </a:gsLst>
                    <a:lin ang="5400000" scaled="0"/>
                  </a:gradFill>
                  <a:cs typeface="+mn-ea"/>
                  <a:sym typeface="+mn-lt"/>
                </a:endParaRPr>
              </a:p>
            </p:txBody>
          </p:sp>
        </p:grpSp>
        <p:pic>
          <p:nvPicPr>
            <p:cNvPr id="12"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253" b="93360" l="3003" r="96321">
                          <a14:foregroundMark x1="69144" y1="21110" x2="69144" y2="21110"/>
                        </a14:backgroundRemoval>
                      </a14:imgEffect>
                    </a14:imgLayer>
                  </a14:imgProps>
                </a:ext>
              </a:extLst>
            </a:blip>
            <a:srcRect/>
            <a:stretch>
              <a:fillRect/>
            </a:stretch>
          </p:blipFill>
          <p:spPr bwMode="auto">
            <a:xfrm>
              <a:off x="3579163" y="5936518"/>
              <a:ext cx="1225120" cy="597991"/>
            </a:xfrm>
            <a:prstGeom prst="rect">
              <a:avLst/>
            </a:prstGeom>
            <a:noFill/>
            <a:ln>
              <a:no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矩形 12"/>
          <p:cNvSpPr/>
          <p:nvPr/>
        </p:nvSpPr>
        <p:spPr>
          <a:xfrm>
            <a:off x="6783321" y="4132198"/>
            <a:ext cx="4313341" cy="1418786"/>
          </a:xfrm>
          <a:prstGeom prst="rect">
            <a:avLst/>
          </a:prstGeom>
        </p:spPr>
        <p:txBody>
          <a:bodyPr wrap="square">
            <a:spAutoFit/>
          </a:bodyPr>
          <a:lstStyle/>
          <a:p>
            <a:pPr algn="just">
              <a:lnSpc>
                <a:spcPct val="150000"/>
              </a:lnSpc>
              <a:defRPr/>
            </a:pPr>
            <a:r>
              <a:rPr lang="fr-FR" altLang="zh-CN" sz="2000" dirty="0">
                <a:cs typeface="+mn-ea"/>
                <a:sym typeface="+mn-lt"/>
              </a:rPr>
              <a:t>Alerter le gestionnaire pour ouvrir une </a:t>
            </a:r>
            <a:r>
              <a:rPr lang="fr-FR" altLang="zh-CN" sz="2000" dirty="0"/>
              <a:t>Caisse</a:t>
            </a:r>
            <a:r>
              <a:rPr lang="fr-FR" altLang="zh-CN" sz="2000" dirty="0">
                <a:cs typeface="+mn-ea"/>
                <a:sym typeface="+mn-lt"/>
              </a:rPr>
              <a:t> supplémentaire pour servir le client sans délai.</a:t>
            </a:r>
          </a:p>
        </p:txBody>
      </p:sp>
      <p:sp>
        <p:nvSpPr>
          <p:cNvPr id="6" name="矩形 5"/>
          <p:cNvSpPr/>
          <p:nvPr/>
        </p:nvSpPr>
        <p:spPr>
          <a:xfrm>
            <a:off x="9513046" y="3767913"/>
            <a:ext cx="1965603" cy="369332"/>
          </a:xfrm>
          <a:prstGeom prst="rect">
            <a:avLst/>
          </a:prstGeom>
        </p:spPr>
        <p:txBody>
          <a:bodyPr wrap="none">
            <a:spAutoFit/>
          </a:bodyPr>
          <a:lstStyle/>
          <a:p>
            <a:r>
              <a:rPr lang="en-US" altLang="zh-CN" b="1" dirty="0">
                <a:cs typeface="+mn-ea"/>
                <a:sym typeface="+mn-lt"/>
              </a:rPr>
              <a:t>temps </a:t>
            </a:r>
            <a:r>
              <a:rPr lang="en-US" altLang="zh-CN" b="1" dirty="0" err="1">
                <a:cs typeface="+mn-ea"/>
                <a:sym typeface="+mn-lt"/>
              </a:rPr>
              <a:t>d'attente</a:t>
            </a:r>
            <a:endParaRPr lang="zh-CN" altLang="en-US" dirty="0">
              <a:cs typeface="+mn-ea"/>
              <a:sym typeface="+mn-lt"/>
            </a:endParaRPr>
          </a:p>
        </p:txBody>
      </p:sp>
      <p:sp>
        <p:nvSpPr>
          <p:cNvPr id="8" name="矩形 7"/>
          <p:cNvSpPr/>
          <p:nvPr/>
        </p:nvSpPr>
        <p:spPr>
          <a:xfrm>
            <a:off x="7200319" y="3747599"/>
            <a:ext cx="2135521" cy="369332"/>
          </a:xfrm>
          <a:prstGeom prst="rect">
            <a:avLst/>
          </a:prstGeom>
        </p:spPr>
        <p:txBody>
          <a:bodyPr wrap="none">
            <a:spAutoFit/>
          </a:bodyPr>
          <a:lstStyle/>
          <a:p>
            <a:r>
              <a:rPr lang="en-US" altLang="zh-CN" b="1" dirty="0" err="1">
                <a:cs typeface="+mn-ea"/>
                <a:sym typeface="+mn-lt"/>
              </a:rPr>
              <a:t>Nombre</a:t>
            </a:r>
            <a:r>
              <a:rPr lang="en-US" altLang="zh-CN" b="1" dirty="0">
                <a:cs typeface="+mn-ea"/>
                <a:sym typeface="+mn-lt"/>
              </a:rPr>
              <a:t> de client</a:t>
            </a:r>
            <a:endParaRPr lang="zh-CN" altLang="en-US" dirty="0">
              <a:cs typeface="+mn-ea"/>
              <a:sym typeface="+mn-lt"/>
            </a:endParaRPr>
          </a:p>
        </p:txBody>
      </p:sp>
      <p:sp>
        <p:nvSpPr>
          <p:cNvPr id="9" name="矩形 8"/>
          <p:cNvSpPr/>
          <p:nvPr/>
        </p:nvSpPr>
        <p:spPr bwMode="auto">
          <a:xfrm>
            <a:off x="7132627" y="1792554"/>
            <a:ext cx="4754828" cy="3150607"/>
          </a:xfrm>
          <a:prstGeom prst="rect">
            <a:avLst/>
          </a:prstGeom>
          <a:no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40" name="矩形 39"/>
          <p:cNvSpPr/>
          <p:nvPr/>
        </p:nvSpPr>
        <p:spPr>
          <a:xfrm>
            <a:off x="6758339" y="2298645"/>
            <a:ext cx="4626394" cy="404675"/>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zh-CN" sz="2000" dirty="0">
                <a:cs typeface="+mn-ea"/>
                <a:sym typeface="+mn-lt"/>
              </a:rPr>
              <a:t>La gestion des files d'attente</a:t>
            </a:r>
            <a:endParaRPr lang="zh-CN" altLang="en-US" sz="2000" b="1" dirty="0">
              <a:cs typeface="+mn-ea"/>
              <a:sym typeface="+mn-lt"/>
            </a:endParaRPr>
          </a:p>
        </p:txBody>
      </p:sp>
      <p:sp>
        <p:nvSpPr>
          <p:cNvPr id="56" name="椭圆 55"/>
          <p:cNvSpPr/>
          <p:nvPr/>
        </p:nvSpPr>
        <p:spPr bwMode="auto">
          <a:xfrm>
            <a:off x="8777482" y="1028410"/>
            <a:ext cx="1221103" cy="1149626"/>
          </a:xfrm>
          <a:prstGeom prst="ellipse">
            <a:avLst/>
          </a:prstGeom>
          <a:solidFill>
            <a:srgbClr val="EAEAEA"/>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grpSp>
        <p:nvGrpSpPr>
          <p:cNvPr id="71" name="组合 70"/>
          <p:cNvGrpSpPr/>
          <p:nvPr/>
        </p:nvGrpSpPr>
        <p:grpSpPr>
          <a:xfrm>
            <a:off x="7792387" y="3044934"/>
            <a:ext cx="2582562" cy="649659"/>
            <a:chOff x="7647431" y="3044646"/>
            <a:chExt cx="2582562" cy="649659"/>
          </a:xfrm>
        </p:grpSpPr>
        <p:grpSp>
          <p:nvGrpSpPr>
            <p:cNvPr id="14" name="组合 13"/>
            <p:cNvGrpSpPr/>
            <p:nvPr/>
          </p:nvGrpSpPr>
          <p:grpSpPr>
            <a:xfrm>
              <a:off x="9589952" y="3051653"/>
              <a:ext cx="640041" cy="615488"/>
              <a:chOff x="7196138" y="4465638"/>
              <a:chExt cx="841375" cy="817563"/>
            </a:xfrm>
            <a:solidFill>
              <a:srgbClr val="424953"/>
            </a:solidFill>
          </p:grpSpPr>
          <p:sp>
            <p:nvSpPr>
              <p:cNvPr id="16" name="Freeform 85"/>
              <p:cNvSpPr>
                <a:spLocks noEditPoints="1"/>
              </p:cNvSpPr>
              <p:nvPr/>
            </p:nvSpPr>
            <p:spPr bwMode="auto">
              <a:xfrm>
                <a:off x="7196138" y="4465638"/>
                <a:ext cx="841375" cy="817563"/>
              </a:xfrm>
              <a:custGeom>
                <a:avLst/>
                <a:gdLst>
                  <a:gd name="T0" fmla="*/ 141 w 283"/>
                  <a:gd name="T1" fmla="*/ 0 h 275"/>
                  <a:gd name="T2" fmla="*/ 0 w 283"/>
                  <a:gd name="T3" fmla="*/ 137 h 275"/>
                  <a:gd name="T4" fmla="*/ 141 w 283"/>
                  <a:gd name="T5" fmla="*/ 275 h 275"/>
                  <a:gd name="T6" fmla="*/ 283 w 283"/>
                  <a:gd name="T7" fmla="*/ 137 h 275"/>
                  <a:gd name="T8" fmla="*/ 141 w 283"/>
                  <a:gd name="T9" fmla="*/ 0 h 275"/>
                  <a:gd name="T10" fmla="*/ 154 w 283"/>
                  <a:gd name="T11" fmla="*/ 248 h 275"/>
                  <a:gd name="T12" fmla="*/ 154 w 283"/>
                  <a:gd name="T13" fmla="*/ 223 h 275"/>
                  <a:gd name="T14" fmla="*/ 141 w 283"/>
                  <a:gd name="T15" fmla="*/ 224 h 275"/>
                  <a:gd name="T16" fmla="*/ 129 w 283"/>
                  <a:gd name="T17" fmla="*/ 223 h 275"/>
                  <a:gd name="T18" fmla="*/ 129 w 283"/>
                  <a:gd name="T19" fmla="*/ 248 h 275"/>
                  <a:gd name="T20" fmla="*/ 27 w 283"/>
                  <a:gd name="T21" fmla="*/ 150 h 275"/>
                  <a:gd name="T22" fmla="*/ 54 w 283"/>
                  <a:gd name="T23" fmla="*/ 150 h 275"/>
                  <a:gd name="T24" fmla="*/ 53 w 283"/>
                  <a:gd name="T25" fmla="*/ 137 h 275"/>
                  <a:gd name="T26" fmla="*/ 54 w 283"/>
                  <a:gd name="T27" fmla="*/ 125 h 275"/>
                  <a:gd name="T28" fmla="*/ 27 w 283"/>
                  <a:gd name="T29" fmla="*/ 125 h 275"/>
                  <a:gd name="T30" fmla="*/ 129 w 283"/>
                  <a:gd name="T31" fmla="*/ 26 h 275"/>
                  <a:gd name="T32" fmla="*/ 129 w 283"/>
                  <a:gd name="T33" fmla="*/ 52 h 275"/>
                  <a:gd name="T34" fmla="*/ 141 w 283"/>
                  <a:gd name="T35" fmla="*/ 51 h 275"/>
                  <a:gd name="T36" fmla="*/ 154 w 283"/>
                  <a:gd name="T37" fmla="*/ 52 h 275"/>
                  <a:gd name="T38" fmla="*/ 154 w 283"/>
                  <a:gd name="T39" fmla="*/ 26 h 275"/>
                  <a:gd name="T40" fmla="*/ 256 w 283"/>
                  <a:gd name="T41" fmla="*/ 125 h 275"/>
                  <a:gd name="T42" fmla="*/ 229 w 283"/>
                  <a:gd name="T43" fmla="*/ 125 h 275"/>
                  <a:gd name="T44" fmla="*/ 230 w 283"/>
                  <a:gd name="T45" fmla="*/ 137 h 275"/>
                  <a:gd name="T46" fmla="*/ 229 w 283"/>
                  <a:gd name="T47" fmla="*/ 150 h 275"/>
                  <a:gd name="T48" fmla="*/ 256 w 283"/>
                  <a:gd name="T49" fmla="*/ 150 h 275"/>
                  <a:gd name="T50" fmla="*/ 154 w 283"/>
                  <a:gd name="T51" fmla="*/ 24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3" h="275">
                    <a:moveTo>
                      <a:pt x="141" y="0"/>
                    </a:moveTo>
                    <a:cubicBezTo>
                      <a:pt x="63" y="0"/>
                      <a:pt x="0" y="61"/>
                      <a:pt x="0" y="137"/>
                    </a:cubicBezTo>
                    <a:cubicBezTo>
                      <a:pt x="0" y="213"/>
                      <a:pt x="63" y="275"/>
                      <a:pt x="141" y="275"/>
                    </a:cubicBezTo>
                    <a:cubicBezTo>
                      <a:pt x="220" y="275"/>
                      <a:pt x="283" y="213"/>
                      <a:pt x="283" y="137"/>
                    </a:cubicBezTo>
                    <a:cubicBezTo>
                      <a:pt x="283" y="61"/>
                      <a:pt x="220" y="0"/>
                      <a:pt x="141" y="0"/>
                    </a:cubicBezTo>
                    <a:close/>
                    <a:moveTo>
                      <a:pt x="154" y="248"/>
                    </a:moveTo>
                    <a:cubicBezTo>
                      <a:pt x="154" y="223"/>
                      <a:pt x="154" y="223"/>
                      <a:pt x="154" y="223"/>
                    </a:cubicBezTo>
                    <a:cubicBezTo>
                      <a:pt x="150" y="223"/>
                      <a:pt x="146" y="224"/>
                      <a:pt x="141" y="224"/>
                    </a:cubicBezTo>
                    <a:cubicBezTo>
                      <a:pt x="137" y="224"/>
                      <a:pt x="133" y="223"/>
                      <a:pt x="129" y="223"/>
                    </a:cubicBezTo>
                    <a:cubicBezTo>
                      <a:pt x="129" y="248"/>
                      <a:pt x="129" y="248"/>
                      <a:pt x="129" y="248"/>
                    </a:cubicBezTo>
                    <a:cubicBezTo>
                      <a:pt x="75" y="243"/>
                      <a:pt x="33" y="202"/>
                      <a:pt x="27" y="150"/>
                    </a:cubicBezTo>
                    <a:cubicBezTo>
                      <a:pt x="54" y="150"/>
                      <a:pt x="54" y="150"/>
                      <a:pt x="54" y="150"/>
                    </a:cubicBezTo>
                    <a:cubicBezTo>
                      <a:pt x="53" y="146"/>
                      <a:pt x="53" y="142"/>
                      <a:pt x="53" y="137"/>
                    </a:cubicBezTo>
                    <a:cubicBezTo>
                      <a:pt x="53" y="133"/>
                      <a:pt x="53" y="129"/>
                      <a:pt x="54" y="125"/>
                    </a:cubicBezTo>
                    <a:cubicBezTo>
                      <a:pt x="27" y="125"/>
                      <a:pt x="27" y="125"/>
                      <a:pt x="27" y="125"/>
                    </a:cubicBezTo>
                    <a:cubicBezTo>
                      <a:pt x="33" y="73"/>
                      <a:pt x="75" y="32"/>
                      <a:pt x="129" y="26"/>
                    </a:cubicBezTo>
                    <a:cubicBezTo>
                      <a:pt x="129" y="52"/>
                      <a:pt x="129" y="52"/>
                      <a:pt x="129" y="52"/>
                    </a:cubicBezTo>
                    <a:cubicBezTo>
                      <a:pt x="133" y="51"/>
                      <a:pt x="137" y="51"/>
                      <a:pt x="141" y="51"/>
                    </a:cubicBezTo>
                    <a:cubicBezTo>
                      <a:pt x="146" y="51"/>
                      <a:pt x="150" y="51"/>
                      <a:pt x="154" y="52"/>
                    </a:cubicBezTo>
                    <a:cubicBezTo>
                      <a:pt x="154" y="26"/>
                      <a:pt x="154" y="26"/>
                      <a:pt x="154" y="26"/>
                    </a:cubicBezTo>
                    <a:cubicBezTo>
                      <a:pt x="207" y="32"/>
                      <a:pt x="250" y="73"/>
                      <a:pt x="256" y="125"/>
                    </a:cubicBezTo>
                    <a:cubicBezTo>
                      <a:pt x="229" y="125"/>
                      <a:pt x="229" y="125"/>
                      <a:pt x="229" y="125"/>
                    </a:cubicBezTo>
                    <a:cubicBezTo>
                      <a:pt x="230" y="129"/>
                      <a:pt x="230" y="133"/>
                      <a:pt x="230" y="137"/>
                    </a:cubicBezTo>
                    <a:cubicBezTo>
                      <a:pt x="230" y="142"/>
                      <a:pt x="230" y="146"/>
                      <a:pt x="229" y="150"/>
                    </a:cubicBezTo>
                    <a:cubicBezTo>
                      <a:pt x="256" y="150"/>
                      <a:pt x="256" y="150"/>
                      <a:pt x="256" y="150"/>
                    </a:cubicBezTo>
                    <a:cubicBezTo>
                      <a:pt x="250" y="202"/>
                      <a:pt x="207" y="243"/>
                      <a:pt x="154" y="2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17" name="Freeform 86"/>
              <p:cNvSpPr/>
              <p:nvPr/>
            </p:nvSpPr>
            <p:spPr bwMode="auto">
              <a:xfrm>
                <a:off x="7445376" y="4597400"/>
                <a:ext cx="60325" cy="61913"/>
              </a:xfrm>
              <a:custGeom>
                <a:avLst/>
                <a:gdLst>
                  <a:gd name="T0" fmla="*/ 8 w 20"/>
                  <a:gd name="T1" fmla="*/ 21 h 21"/>
                  <a:gd name="T2" fmla="*/ 20 w 20"/>
                  <a:gd name="T3" fmla="*/ 15 h 21"/>
                  <a:gd name="T4" fmla="*/ 13 w 20"/>
                  <a:gd name="T5" fmla="*/ 3 h 21"/>
                  <a:gd name="T6" fmla="*/ 7 w 20"/>
                  <a:gd name="T7" fmla="*/ 0 h 21"/>
                  <a:gd name="T8" fmla="*/ 4 w 20"/>
                  <a:gd name="T9" fmla="*/ 1 h 21"/>
                  <a:gd name="T10" fmla="*/ 1 w 20"/>
                  <a:gd name="T11" fmla="*/ 5 h 21"/>
                  <a:gd name="T12" fmla="*/ 2 w 20"/>
                  <a:gd name="T13" fmla="*/ 10 h 21"/>
                  <a:gd name="T14" fmla="*/ 8 w 2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1">
                    <a:moveTo>
                      <a:pt x="8" y="21"/>
                    </a:moveTo>
                    <a:cubicBezTo>
                      <a:pt x="12" y="19"/>
                      <a:pt x="16" y="17"/>
                      <a:pt x="20" y="15"/>
                    </a:cubicBezTo>
                    <a:cubicBezTo>
                      <a:pt x="13" y="3"/>
                      <a:pt x="13" y="3"/>
                      <a:pt x="13" y="3"/>
                    </a:cubicBezTo>
                    <a:cubicBezTo>
                      <a:pt x="12" y="1"/>
                      <a:pt x="10" y="0"/>
                      <a:pt x="7" y="0"/>
                    </a:cubicBezTo>
                    <a:cubicBezTo>
                      <a:pt x="6" y="0"/>
                      <a:pt x="5" y="0"/>
                      <a:pt x="4" y="1"/>
                    </a:cubicBezTo>
                    <a:cubicBezTo>
                      <a:pt x="2" y="2"/>
                      <a:pt x="1" y="3"/>
                      <a:pt x="1" y="5"/>
                    </a:cubicBezTo>
                    <a:cubicBezTo>
                      <a:pt x="0" y="6"/>
                      <a:pt x="1" y="8"/>
                      <a:pt x="2" y="10"/>
                    </a:cubicBezTo>
                    <a:lnTo>
                      <a:pt x="8" y="2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1" name="Freeform 87"/>
              <p:cNvSpPr/>
              <p:nvPr/>
            </p:nvSpPr>
            <p:spPr bwMode="auto">
              <a:xfrm>
                <a:off x="7727951" y="4597400"/>
                <a:ext cx="58738" cy="61913"/>
              </a:xfrm>
              <a:custGeom>
                <a:avLst/>
                <a:gdLst>
                  <a:gd name="T0" fmla="*/ 16 w 20"/>
                  <a:gd name="T1" fmla="*/ 1 h 21"/>
                  <a:gd name="T2" fmla="*/ 13 w 20"/>
                  <a:gd name="T3" fmla="*/ 0 h 21"/>
                  <a:gd name="T4" fmla="*/ 7 w 20"/>
                  <a:gd name="T5" fmla="*/ 3 h 21"/>
                  <a:gd name="T6" fmla="*/ 0 w 20"/>
                  <a:gd name="T7" fmla="*/ 15 h 21"/>
                  <a:gd name="T8" fmla="*/ 12 w 20"/>
                  <a:gd name="T9" fmla="*/ 21 h 21"/>
                  <a:gd name="T10" fmla="*/ 18 w 20"/>
                  <a:gd name="T11" fmla="*/ 10 h 21"/>
                  <a:gd name="T12" fmla="*/ 16 w 20"/>
                  <a:gd name="T13" fmla="*/ 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16" y="1"/>
                    </a:moveTo>
                    <a:cubicBezTo>
                      <a:pt x="15" y="0"/>
                      <a:pt x="14" y="0"/>
                      <a:pt x="13" y="0"/>
                    </a:cubicBezTo>
                    <a:cubicBezTo>
                      <a:pt x="10" y="0"/>
                      <a:pt x="8" y="1"/>
                      <a:pt x="7" y="3"/>
                    </a:cubicBezTo>
                    <a:cubicBezTo>
                      <a:pt x="0" y="15"/>
                      <a:pt x="0" y="15"/>
                      <a:pt x="0" y="15"/>
                    </a:cubicBezTo>
                    <a:cubicBezTo>
                      <a:pt x="4" y="17"/>
                      <a:pt x="8" y="19"/>
                      <a:pt x="12" y="21"/>
                    </a:cubicBezTo>
                    <a:cubicBezTo>
                      <a:pt x="18" y="10"/>
                      <a:pt x="18" y="10"/>
                      <a:pt x="18" y="10"/>
                    </a:cubicBezTo>
                    <a:cubicBezTo>
                      <a:pt x="20" y="7"/>
                      <a:pt x="19" y="3"/>
                      <a:pt x="16" y="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2" name="Freeform 88"/>
              <p:cNvSpPr/>
              <p:nvPr/>
            </p:nvSpPr>
            <p:spPr bwMode="auto">
              <a:xfrm>
                <a:off x="7832726" y="4706938"/>
                <a:ext cx="61913" cy="53975"/>
              </a:xfrm>
              <a:custGeom>
                <a:avLst/>
                <a:gdLst>
                  <a:gd name="T0" fmla="*/ 18 w 21"/>
                  <a:gd name="T1" fmla="*/ 12 h 18"/>
                  <a:gd name="T2" fmla="*/ 21 w 21"/>
                  <a:gd name="T3" fmla="*/ 8 h 18"/>
                  <a:gd name="T4" fmla="*/ 20 w 21"/>
                  <a:gd name="T5" fmla="*/ 3 h 18"/>
                  <a:gd name="T6" fmla="*/ 14 w 21"/>
                  <a:gd name="T7" fmla="*/ 0 h 18"/>
                  <a:gd name="T8" fmla="*/ 11 w 21"/>
                  <a:gd name="T9" fmla="*/ 0 h 18"/>
                  <a:gd name="T10" fmla="*/ 0 w 21"/>
                  <a:gd name="T11" fmla="*/ 7 h 18"/>
                  <a:gd name="T12" fmla="*/ 7 w 21"/>
                  <a:gd name="T13" fmla="*/ 18 h 18"/>
                  <a:gd name="T14" fmla="*/ 18 w 21"/>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8">
                    <a:moveTo>
                      <a:pt x="18" y="12"/>
                    </a:moveTo>
                    <a:cubicBezTo>
                      <a:pt x="19" y="11"/>
                      <a:pt x="20" y="10"/>
                      <a:pt x="21" y="8"/>
                    </a:cubicBezTo>
                    <a:cubicBezTo>
                      <a:pt x="21" y="6"/>
                      <a:pt x="21" y="4"/>
                      <a:pt x="20" y="3"/>
                    </a:cubicBezTo>
                    <a:cubicBezTo>
                      <a:pt x="19" y="1"/>
                      <a:pt x="17" y="0"/>
                      <a:pt x="14" y="0"/>
                    </a:cubicBezTo>
                    <a:cubicBezTo>
                      <a:pt x="13" y="0"/>
                      <a:pt x="12" y="0"/>
                      <a:pt x="11" y="0"/>
                    </a:cubicBezTo>
                    <a:cubicBezTo>
                      <a:pt x="0" y="7"/>
                      <a:pt x="0" y="7"/>
                      <a:pt x="0" y="7"/>
                    </a:cubicBezTo>
                    <a:cubicBezTo>
                      <a:pt x="3" y="10"/>
                      <a:pt x="5" y="14"/>
                      <a:pt x="7" y="18"/>
                    </a:cubicBezTo>
                    <a:lnTo>
                      <a:pt x="18"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4" name="Freeform 89"/>
              <p:cNvSpPr/>
              <p:nvPr/>
            </p:nvSpPr>
            <p:spPr bwMode="auto">
              <a:xfrm>
                <a:off x="7339013" y="4706938"/>
                <a:ext cx="61913" cy="53975"/>
              </a:xfrm>
              <a:custGeom>
                <a:avLst/>
                <a:gdLst>
                  <a:gd name="T0" fmla="*/ 7 w 21"/>
                  <a:gd name="T1" fmla="*/ 0 h 18"/>
                  <a:gd name="T2" fmla="*/ 1 w 21"/>
                  <a:gd name="T3" fmla="*/ 3 h 18"/>
                  <a:gd name="T4" fmla="*/ 0 w 21"/>
                  <a:gd name="T5" fmla="*/ 8 h 18"/>
                  <a:gd name="T6" fmla="*/ 3 w 21"/>
                  <a:gd name="T7" fmla="*/ 12 h 18"/>
                  <a:gd name="T8" fmla="*/ 14 w 21"/>
                  <a:gd name="T9" fmla="*/ 18 h 18"/>
                  <a:gd name="T10" fmla="*/ 21 w 21"/>
                  <a:gd name="T11" fmla="*/ 7 h 18"/>
                  <a:gd name="T12" fmla="*/ 10 w 21"/>
                  <a:gd name="T13" fmla="*/ 0 h 18"/>
                  <a:gd name="T14" fmla="*/ 7 w 21"/>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8">
                    <a:moveTo>
                      <a:pt x="7" y="0"/>
                    </a:moveTo>
                    <a:cubicBezTo>
                      <a:pt x="4" y="0"/>
                      <a:pt x="2" y="1"/>
                      <a:pt x="1" y="3"/>
                    </a:cubicBezTo>
                    <a:cubicBezTo>
                      <a:pt x="0" y="4"/>
                      <a:pt x="0" y="6"/>
                      <a:pt x="0" y="8"/>
                    </a:cubicBezTo>
                    <a:cubicBezTo>
                      <a:pt x="1" y="10"/>
                      <a:pt x="2" y="11"/>
                      <a:pt x="3" y="12"/>
                    </a:cubicBezTo>
                    <a:cubicBezTo>
                      <a:pt x="14" y="18"/>
                      <a:pt x="14" y="18"/>
                      <a:pt x="14" y="18"/>
                    </a:cubicBezTo>
                    <a:cubicBezTo>
                      <a:pt x="16" y="14"/>
                      <a:pt x="18" y="10"/>
                      <a:pt x="21" y="7"/>
                    </a:cubicBezTo>
                    <a:cubicBezTo>
                      <a:pt x="10" y="0"/>
                      <a:pt x="10" y="0"/>
                      <a:pt x="10" y="0"/>
                    </a:cubicBezTo>
                    <a:cubicBezTo>
                      <a:pt x="9" y="0"/>
                      <a:pt x="8" y="0"/>
                      <a:pt x="7"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5" name="Freeform 90"/>
              <p:cNvSpPr/>
              <p:nvPr/>
            </p:nvSpPr>
            <p:spPr bwMode="auto">
              <a:xfrm>
                <a:off x="7832726" y="4989513"/>
                <a:ext cx="61913" cy="52388"/>
              </a:xfrm>
              <a:custGeom>
                <a:avLst/>
                <a:gdLst>
                  <a:gd name="T0" fmla="*/ 21 w 21"/>
                  <a:gd name="T1" fmla="*/ 10 h 18"/>
                  <a:gd name="T2" fmla="*/ 18 w 21"/>
                  <a:gd name="T3" fmla="*/ 6 h 18"/>
                  <a:gd name="T4" fmla="*/ 7 w 21"/>
                  <a:gd name="T5" fmla="*/ 0 h 18"/>
                  <a:gd name="T6" fmla="*/ 0 w 21"/>
                  <a:gd name="T7" fmla="*/ 11 h 18"/>
                  <a:gd name="T8" fmla="*/ 11 w 21"/>
                  <a:gd name="T9" fmla="*/ 17 h 18"/>
                  <a:gd name="T10" fmla="*/ 14 w 21"/>
                  <a:gd name="T11" fmla="*/ 18 h 18"/>
                  <a:gd name="T12" fmla="*/ 20 w 21"/>
                  <a:gd name="T13" fmla="*/ 15 h 18"/>
                  <a:gd name="T14" fmla="*/ 21 w 21"/>
                  <a:gd name="T15" fmla="*/ 1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8">
                    <a:moveTo>
                      <a:pt x="21" y="10"/>
                    </a:moveTo>
                    <a:cubicBezTo>
                      <a:pt x="20" y="8"/>
                      <a:pt x="19" y="7"/>
                      <a:pt x="18" y="6"/>
                    </a:cubicBezTo>
                    <a:cubicBezTo>
                      <a:pt x="7" y="0"/>
                      <a:pt x="7" y="0"/>
                      <a:pt x="7" y="0"/>
                    </a:cubicBezTo>
                    <a:cubicBezTo>
                      <a:pt x="5" y="4"/>
                      <a:pt x="3" y="7"/>
                      <a:pt x="0" y="11"/>
                    </a:cubicBezTo>
                    <a:cubicBezTo>
                      <a:pt x="11" y="17"/>
                      <a:pt x="11" y="17"/>
                      <a:pt x="11" y="17"/>
                    </a:cubicBezTo>
                    <a:cubicBezTo>
                      <a:pt x="12" y="18"/>
                      <a:pt x="13" y="18"/>
                      <a:pt x="14" y="18"/>
                    </a:cubicBezTo>
                    <a:cubicBezTo>
                      <a:pt x="17" y="18"/>
                      <a:pt x="19" y="17"/>
                      <a:pt x="20" y="15"/>
                    </a:cubicBezTo>
                    <a:cubicBezTo>
                      <a:pt x="21" y="13"/>
                      <a:pt x="21" y="11"/>
                      <a:pt x="21"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6" name="Freeform 91"/>
              <p:cNvSpPr/>
              <p:nvPr/>
            </p:nvSpPr>
            <p:spPr bwMode="auto">
              <a:xfrm>
                <a:off x="7339013" y="4989513"/>
                <a:ext cx="61913" cy="52388"/>
              </a:xfrm>
              <a:custGeom>
                <a:avLst/>
                <a:gdLst>
                  <a:gd name="T0" fmla="*/ 3 w 21"/>
                  <a:gd name="T1" fmla="*/ 6 h 18"/>
                  <a:gd name="T2" fmla="*/ 0 w 21"/>
                  <a:gd name="T3" fmla="*/ 10 h 18"/>
                  <a:gd name="T4" fmla="*/ 1 w 21"/>
                  <a:gd name="T5" fmla="*/ 15 h 18"/>
                  <a:gd name="T6" fmla="*/ 7 w 21"/>
                  <a:gd name="T7" fmla="*/ 18 h 18"/>
                  <a:gd name="T8" fmla="*/ 10 w 21"/>
                  <a:gd name="T9" fmla="*/ 17 h 18"/>
                  <a:gd name="T10" fmla="*/ 21 w 21"/>
                  <a:gd name="T11" fmla="*/ 11 h 18"/>
                  <a:gd name="T12" fmla="*/ 14 w 21"/>
                  <a:gd name="T13" fmla="*/ 0 h 18"/>
                  <a:gd name="T14" fmla="*/ 3 w 21"/>
                  <a:gd name="T15" fmla="*/ 6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8">
                    <a:moveTo>
                      <a:pt x="3" y="6"/>
                    </a:moveTo>
                    <a:cubicBezTo>
                      <a:pt x="2" y="7"/>
                      <a:pt x="1" y="8"/>
                      <a:pt x="0" y="10"/>
                    </a:cubicBezTo>
                    <a:cubicBezTo>
                      <a:pt x="0" y="11"/>
                      <a:pt x="0" y="13"/>
                      <a:pt x="1" y="15"/>
                    </a:cubicBezTo>
                    <a:cubicBezTo>
                      <a:pt x="2" y="17"/>
                      <a:pt x="4" y="18"/>
                      <a:pt x="7" y="18"/>
                    </a:cubicBezTo>
                    <a:cubicBezTo>
                      <a:pt x="8" y="18"/>
                      <a:pt x="9" y="18"/>
                      <a:pt x="10" y="17"/>
                    </a:cubicBezTo>
                    <a:cubicBezTo>
                      <a:pt x="21" y="11"/>
                      <a:pt x="21" y="11"/>
                      <a:pt x="21" y="11"/>
                    </a:cubicBezTo>
                    <a:cubicBezTo>
                      <a:pt x="18" y="7"/>
                      <a:pt x="16" y="4"/>
                      <a:pt x="14" y="0"/>
                    </a:cubicBezTo>
                    <a:lnTo>
                      <a:pt x="3" y="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7" name="Freeform 92"/>
              <p:cNvSpPr/>
              <p:nvPr/>
            </p:nvSpPr>
            <p:spPr bwMode="auto">
              <a:xfrm>
                <a:off x="7727951" y="5086350"/>
                <a:ext cx="58738" cy="66675"/>
              </a:xfrm>
              <a:custGeom>
                <a:avLst/>
                <a:gdLst>
                  <a:gd name="T0" fmla="*/ 12 w 20"/>
                  <a:gd name="T1" fmla="*/ 0 h 22"/>
                  <a:gd name="T2" fmla="*/ 0 w 20"/>
                  <a:gd name="T3" fmla="*/ 6 h 22"/>
                  <a:gd name="T4" fmla="*/ 7 w 20"/>
                  <a:gd name="T5" fmla="*/ 18 h 22"/>
                  <a:gd name="T6" fmla="*/ 13 w 20"/>
                  <a:gd name="T7" fmla="*/ 22 h 22"/>
                  <a:gd name="T8" fmla="*/ 16 w 20"/>
                  <a:gd name="T9" fmla="*/ 21 h 22"/>
                  <a:gd name="T10" fmla="*/ 18 w 20"/>
                  <a:gd name="T11" fmla="*/ 12 h 22"/>
                  <a:gd name="T12" fmla="*/ 12 w 20"/>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0" h="22">
                    <a:moveTo>
                      <a:pt x="12" y="0"/>
                    </a:moveTo>
                    <a:cubicBezTo>
                      <a:pt x="8" y="3"/>
                      <a:pt x="4" y="5"/>
                      <a:pt x="0" y="6"/>
                    </a:cubicBezTo>
                    <a:cubicBezTo>
                      <a:pt x="7" y="18"/>
                      <a:pt x="7" y="18"/>
                      <a:pt x="7" y="18"/>
                    </a:cubicBezTo>
                    <a:cubicBezTo>
                      <a:pt x="8" y="20"/>
                      <a:pt x="10" y="22"/>
                      <a:pt x="13" y="22"/>
                    </a:cubicBezTo>
                    <a:cubicBezTo>
                      <a:pt x="14" y="22"/>
                      <a:pt x="15" y="21"/>
                      <a:pt x="16" y="21"/>
                    </a:cubicBezTo>
                    <a:cubicBezTo>
                      <a:pt x="19" y="19"/>
                      <a:pt x="20" y="15"/>
                      <a:pt x="18" y="12"/>
                    </a:cubicBez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8" name="Freeform 93"/>
              <p:cNvSpPr/>
              <p:nvPr/>
            </p:nvSpPr>
            <p:spPr bwMode="auto">
              <a:xfrm>
                <a:off x="7445376" y="5086350"/>
                <a:ext cx="60325" cy="66675"/>
              </a:xfrm>
              <a:custGeom>
                <a:avLst/>
                <a:gdLst>
                  <a:gd name="T0" fmla="*/ 2 w 20"/>
                  <a:gd name="T1" fmla="*/ 12 h 22"/>
                  <a:gd name="T2" fmla="*/ 1 w 20"/>
                  <a:gd name="T3" fmla="*/ 17 h 22"/>
                  <a:gd name="T4" fmla="*/ 4 w 20"/>
                  <a:gd name="T5" fmla="*/ 21 h 22"/>
                  <a:gd name="T6" fmla="*/ 7 w 20"/>
                  <a:gd name="T7" fmla="*/ 22 h 22"/>
                  <a:gd name="T8" fmla="*/ 13 w 20"/>
                  <a:gd name="T9" fmla="*/ 18 h 22"/>
                  <a:gd name="T10" fmla="*/ 20 w 20"/>
                  <a:gd name="T11" fmla="*/ 6 h 22"/>
                  <a:gd name="T12" fmla="*/ 8 w 20"/>
                  <a:gd name="T13" fmla="*/ 0 h 22"/>
                  <a:gd name="T14" fmla="*/ 2 w 20"/>
                  <a:gd name="T15" fmla="*/ 1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2" y="12"/>
                    </a:moveTo>
                    <a:cubicBezTo>
                      <a:pt x="1" y="13"/>
                      <a:pt x="0" y="15"/>
                      <a:pt x="1" y="17"/>
                    </a:cubicBezTo>
                    <a:cubicBezTo>
                      <a:pt x="1" y="19"/>
                      <a:pt x="2" y="20"/>
                      <a:pt x="4" y="21"/>
                    </a:cubicBezTo>
                    <a:cubicBezTo>
                      <a:pt x="5" y="21"/>
                      <a:pt x="6" y="22"/>
                      <a:pt x="7" y="22"/>
                    </a:cubicBezTo>
                    <a:cubicBezTo>
                      <a:pt x="10" y="22"/>
                      <a:pt x="12" y="20"/>
                      <a:pt x="13" y="18"/>
                    </a:cubicBezTo>
                    <a:cubicBezTo>
                      <a:pt x="20" y="6"/>
                      <a:pt x="20" y="6"/>
                      <a:pt x="20" y="6"/>
                    </a:cubicBezTo>
                    <a:cubicBezTo>
                      <a:pt x="16" y="5"/>
                      <a:pt x="12" y="3"/>
                      <a:pt x="8" y="0"/>
                    </a:cubicBezTo>
                    <a:lnTo>
                      <a:pt x="2"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29" name="Oval 94"/>
              <p:cNvSpPr>
                <a:spLocks noChangeArrowheads="1"/>
              </p:cNvSpPr>
              <p:nvPr/>
            </p:nvSpPr>
            <p:spPr bwMode="auto">
              <a:xfrm>
                <a:off x="7585076" y="4843463"/>
                <a:ext cx="60325" cy="6191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sp>
            <p:nvSpPr>
              <p:cNvPr id="30" name="Freeform 95"/>
              <p:cNvSpPr/>
              <p:nvPr/>
            </p:nvSpPr>
            <p:spPr bwMode="auto">
              <a:xfrm>
                <a:off x="7496176" y="4670425"/>
                <a:ext cx="146050" cy="169863"/>
              </a:xfrm>
              <a:custGeom>
                <a:avLst/>
                <a:gdLst>
                  <a:gd name="T0" fmla="*/ 49 w 49"/>
                  <a:gd name="T1" fmla="*/ 56 h 57"/>
                  <a:gd name="T2" fmla="*/ 48 w 49"/>
                  <a:gd name="T3" fmla="*/ 16 h 57"/>
                  <a:gd name="T4" fmla="*/ 39 w 49"/>
                  <a:gd name="T5" fmla="*/ 7 h 57"/>
                  <a:gd name="T6" fmla="*/ 31 w 49"/>
                  <a:gd name="T7" fmla="*/ 16 h 57"/>
                  <a:gd name="T8" fmla="*/ 31 w 49"/>
                  <a:gd name="T9" fmla="*/ 39 h 57"/>
                  <a:gd name="T10" fmla="*/ 11 w 49"/>
                  <a:gd name="T11" fmla="*/ 4 h 57"/>
                  <a:gd name="T12" fmla="*/ 3 w 49"/>
                  <a:gd name="T13" fmla="*/ 2 h 57"/>
                  <a:gd name="T14" fmla="*/ 1 w 49"/>
                  <a:gd name="T15" fmla="*/ 9 h 57"/>
                  <a:gd name="T16" fmla="*/ 29 w 49"/>
                  <a:gd name="T17" fmla="*/ 57 h 57"/>
                  <a:gd name="T18" fmla="*/ 40 w 49"/>
                  <a:gd name="T19" fmla="*/ 53 h 57"/>
                  <a:gd name="T20" fmla="*/ 49 w 49"/>
                  <a:gd name="T21"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57">
                    <a:moveTo>
                      <a:pt x="49" y="56"/>
                    </a:moveTo>
                    <a:cubicBezTo>
                      <a:pt x="48" y="16"/>
                      <a:pt x="48" y="16"/>
                      <a:pt x="48" y="16"/>
                    </a:cubicBezTo>
                    <a:cubicBezTo>
                      <a:pt x="48" y="11"/>
                      <a:pt x="44" y="7"/>
                      <a:pt x="39" y="7"/>
                    </a:cubicBezTo>
                    <a:cubicBezTo>
                      <a:pt x="35" y="7"/>
                      <a:pt x="31" y="11"/>
                      <a:pt x="31" y="16"/>
                    </a:cubicBezTo>
                    <a:cubicBezTo>
                      <a:pt x="31" y="39"/>
                      <a:pt x="31" y="39"/>
                      <a:pt x="31" y="39"/>
                    </a:cubicBezTo>
                    <a:cubicBezTo>
                      <a:pt x="11" y="4"/>
                      <a:pt x="11" y="4"/>
                      <a:pt x="11" y="4"/>
                    </a:cubicBezTo>
                    <a:cubicBezTo>
                      <a:pt x="9" y="1"/>
                      <a:pt x="6" y="0"/>
                      <a:pt x="3" y="2"/>
                    </a:cubicBezTo>
                    <a:cubicBezTo>
                      <a:pt x="1" y="3"/>
                      <a:pt x="0" y="6"/>
                      <a:pt x="1" y="9"/>
                    </a:cubicBezTo>
                    <a:cubicBezTo>
                      <a:pt x="29" y="57"/>
                      <a:pt x="29" y="57"/>
                      <a:pt x="29" y="57"/>
                    </a:cubicBezTo>
                    <a:cubicBezTo>
                      <a:pt x="32" y="55"/>
                      <a:pt x="36" y="53"/>
                      <a:pt x="40" y="53"/>
                    </a:cubicBezTo>
                    <a:cubicBezTo>
                      <a:pt x="43" y="53"/>
                      <a:pt x="46" y="54"/>
                      <a:pt x="49"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cs typeface="+mn-ea"/>
                  <a:sym typeface="+mn-lt"/>
                </a:endParaRPr>
              </a:p>
            </p:txBody>
          </p:sp>
        </p:grpSp>
        <p:grpSp>
          <p:nvGrpSpPr>
            <p:cNvPr id="70" name="组合 69"/>
            <p:cNvGrpSpPr/>
            <p:nvPr/>
          </p:nvGrpSpPr>
          <p:grpSpPr>
            <a:xfrm>
              <a:off x="7647431" y="3044646"/>
              <a:ext cx="651600" cy="649659"/>
              <a:chOff x="8299032" y="3018519"/>
              <a:chExt cx="651600" cy="649659"/>
            </a:xfrm>
          </p:grpSpPr>
          <p:grpSp>
            <p:nvGrpSpPr>
              <p:cNvPr id="67" name="组合 66"/>
              <p:cNvGrpSpPr/>
              <p:nvPr/>
            </p:nvGrpSpPr>
            <p:grpSpPr>
              <a:xfrm>
                <a:off x="8485793" y="3124721"/>
                <a:ext cx="291689" cy="428108"/>
                <a:chOff x="8346550" y="3014965"/>
                <a:chExt cx="467483" cy="601113"/>
              </a:xfrm>
            </p:grpSpPr>
            <p:grpSp>
              <p:nvGrpSpPr>
                <p:cNvPr id="7" name="组合 6"/>
                <p:cNvGrpSpPr/>
                <p:nvPr/>
              </p:nvGrpSpPr>
              <p:grpSpPr>
                <a:xfrm>
                  <a:off x="8346550" y="3014965"/>
                  <a:ext cx="236537" cy="590551"/>
                  <a:chOff x="8229895" y="3665390"/>
                  <a:chExt cx="236537" cy="590551"/>
                </a:xfrm>
              </p:grpSpPr>
              <p:sp>
                <p:nvSpPr>
                  <p:cNvPr id="31" name="Freeform 250"/>
                  <p:cNvSpPr/>
                  <p:nvPr/>
                </p:nvSpPr>
                <p:spPr bwMode="auto">
                  <a:xfrm>
                    <a:off x="8288632" y="3665390"/>
                    <a:ext cx="119062" cy="119063"/>
                  </a:xfrm>
                  <a:custGeom>
                    <a:avLst/>
                    <a:gdLst>
                      <a:gd name="T0" fmla="*/ 73 w 185"/>
                      <a:gd name="T1" fmla="*/ 174 h 185"/>
                      <a:gd name="T2" fmla="*/ 174 w 185"/>
                      <a:gd name="T3" fmla="*/ 112 h 185"/>
                      <a:gd name="T4" fmla="*/ 111 w 185"/>
                      <a:gd name="T5" fmla="*/ 11 h 185"/>
                      <a:gd name="T6" fmla="*/ 11 w 185"/>
                      <a:gd name="T7" fmla="*/ 74 h 185"/>
                      <a:gd name="T8" fmla="*/ 73 w 185"/>
                      <a:gd name="T9" fmla="*/ 174 h 185"/>
                    </a:gdLst>
                    <a:ahLst/>
                    <a:cxnLst>
                      <a:cxn ang="0">
                        <a:pos x="T0" y="T1"/>
                      </a:cxn>
                      <a:cxn ang="0">
                        <a:pos x="T2" y="T3"/>
                      </a:cxn>
                      <a:cxn ang="0">
                        <a:pos x="T4" y="T5"/>
                      </a:cxn>
                      <a:cxn ang="0">
                        <a:pos x="T6" y="T7"/>
                      </a:cxn>
                      <a:cxn ang="0">
                        <a:pos x="T8" y="T9"/>
                      </a:cxn>
                    </a:cxnLst>
                    <a:rect l="0" t="0" r="r" b="b"/>
                    <a:pathLst>
                      <a:path w="185" h="185">
                        <a:moveTo>
                          <a:pt x="73" y="174"/>
                        </a:moveTo>
                        <a:cubicBezTo>
                          <a:pt x="118" y="185"/>
                          <a:pt x="164" y="157"/>
                          <a:pt x="174" y="112"/>
                        </a:cubicBezTo>
                        <a:cubicBezTo>
                          <a:pt x="185" y="67"/>
                          <a:pt x="157" y="21"/>
                          <a:pt x="111" y="11"/>
                        </a:cubicBezTo>
                        <a:cubicBezTo>
                          <a:pt x="66" y="0"/>
                          <a:pt x="21" y="28"/>
                          <a:pt x="11" y="74"/>
                        </a:cubicBezTo>
                        <a:cubicBezTo>
                          <a:pt x="0" y="119"/>
                          <a:pt x="28" y="164"/>
                          <a:pt x="73" y="174"/>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32" name="Freeform 251"/>
                  <p:cNvSpPr/>
                  <p:nvPr/>
                </p:nvSpPr>
                <p:spPr bwMode="auto">
                  <a:xfrm>
                    <a:off x="8229895" y="3793978"/>
                    <a:ext cx="236537" cy="461963"/>
                  </a:xfrm>
                  <a:custGeom>
                    <a:avLst/>
                    <a:gdLst>
                      <a:gd name="T0" fmla="*/ 26 w 365"/>
                      <a:gd name="T1" fmla="*/ 360 h 716"/>
                      <a:gd name="T2" fmla="*/ 52 w 365"/>
                      <a:gd name="T3" fmla="*/ 334 h 716"/>
                      <a:gd name="T4" fmla="*/ 52 w 365"/>
                      <a:gd name="T5" fmla="*/ 308 h 716"/>
                      <a:gd name="T6" fmla="*/ 72 w 365"/>
                      <a:gd name="T7" fmla="*/ 134 h 716"/>
                      <a:gd name="T8" fmla="*/ 89 w 365"/>
                      <a:gd name="T9" fmla="*/ 99 h 716"/>
                      <a:gd name="T10" fmla="*/ 102 w 365"/>
                      <a:gd name="T11" fmla="*/ 198 h 716"/>
                      <a:gd name="T12" fmla="*/ 79 w 365"/>
                      <a:gd name="T13" fmla="*/ 281 h 716"/>
                      <a:gd name="T14" fmla="*/ 77 w 365"/>
                      <a:gd name="T15" fmla="*/ 305 h 716"/>
                      <a:gd name="T16" fmla="*/ 96 w 365"/>
                      <a:gd name="T17" fmla="*/ 463 h 716"/>
                      <a:gd name="T18" fmla="*/ 96 w 365"/>
                      <a:gd name="T19" fmla="*/ 676 h 716"/>
                      <a:gd name="T20" fmla="*/ 136 w 365"/>
                      <a:gd name="T21" fmla="*/ 716 h 716"/>
                      <a:gd name="T22" fmla="*/ 176 w 365"/>
                      <a:gd name="T23" fmla="*/ 676 h 716"/>
                      <a:gd name="T24" fmla="*/ 176 w 365"/>
                      <a:gd name="T25" fmla="*/ 348 h 716"/>
                      <a:gd name="T26" fmla="*/ 176 w 365"/>
                      <a:gd name="T27" fmla="*/ 346 h 716"/>
                      <a:gd name="T28" fmla="*/ 189 w 365"/>
                      <a:gd name="T29" fmla="*/ 346 h 716"/>
                      <a:gd name="T30" fmla="*/ 189 w 365"/>
                      <a:gd name="T31" fmla="*/ 348 h 716"/>
                      <a:gd name="T32" fmla="*/ 189 w 365"/>
                      <a:gd name="T33" fmla="*/ 676 h 716"/>
                      <a:gd name="T34" fmla="*/ 229 w 365"/>
                      <a:gd name="T35" fmla="*/ 716 h 716"/>
                      <a:gd name="T36" fmla="*/ 269 w 365"/>
                      <a:gd name="T37" fmla="*/ 676 h 716"/>
                      <a:gd name="T38" fmla="*/ 269 w 365"/>
                      <a:gd name="T39" fmla="*/ 463 h 716"/>
                      <a:gd name="T40" fmla="*/ 288 w 365"/>
                      <a:gd name="T41" fmla="*/ 305 h 716"/>
                      <a:gd name="T42" fmla="*/ 285 w 365"/>
                      <a:gd name="T43" fmla="*/ 281 h 716"/>
                      <a:gd name="T44" fmla="*/ 262 w 365"/>
                      <a:gd name="T45" fmla="*/ 198 h 716"/>
                      <a:gd name="T46" fmla="*/ 276 w 365"/>
                      <a:gd name="T47" fmla="*/ 99 h 716"/>
                      <a:gd name="T48" fmla="*/ 303 w 365"/>
                      <a:gd name="T49" fmla="*/ 175 h 716"/>
                      <a:gd name="T50" fmla="*/ 313 w 365"/>
                      <a:gd name="T51" fmla="*/ 308 h 716"/>
                      <a:gd name="T52" fmla="*/ 313 w 365"/>
                      <a:gd name="T53" fmla="*/ 334 h 716"/>
                      <a:gd name="T54" fmla="*/ 339 w 365"/>
                      <a:gd name="T55" fmla="*/ 360 h 716"/>
                      <a:gd name="T56" fmla="*/ 365 w 365"/>
                      <a:gd name="T57" fmla="*/ 334 h 716"/>
                      <a:gd name="T58" fmla="*/ 365 w 365"/>
                      <a:gd name="T59" fmla="*/ 308 h 716"/>
                      <a:gd name="T60" fmla="*/ 341 w 365"/>
                      <a:gd name="T61" fmla="*/ 117 h 716"/>
                      <a:gd name="T62" fmla="*/ 290 w 365"/>
                      <a:gd name="T63" fmla="*/ 37 h 716"/>
                      <a:gd name="T64" fmla="*/ 242 w 365"/>
                      <a:gd name="T65" fmla="*/ 9 h 716"/>
                      <a:gd name="T66" fmla="*/ 182 w 365"/>
                      <a:gd name="T67" fmla="*/ 0 h 716"/>
                      <a:gd name="T68" fmla="*/ 123 w 365"/>
                      <a:gd name="T69" fmla="*/ 9 h 716"/>
                      <a:gd name="T70" fmla="*/ 75 w 365"/>
                      <a:gd name="T71" fmla="*/ 37 h 716"/>
                      <a:gd name="T72" fmla="*/ 10 w 365"/>
                      <a:gd name="T73" fmla="*/ 165 h 716"/>
                      <a:gd name="T74" fmla="*/ 0 w 365"/>
                      <a:gd name="T75" fmla="*/ 308 h 716"/>
                      <a:gd name="T76" fmla="*/ 0 w 365"/>
                      <a:gd name="T77" fmla="*/ 334 h 716"/>
                      <a:gd name="T78" fmla="*/ 26 w 365"/>
                      <a:gd name="T79" fmla="*/ 36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5" h="716">
                        <a:moveTo>
                          <a:pt x="26" y="360"/>
                        </a:moveTo>
                        <a:cubicBezTo>
                          <a:pt x="40" y="360"/>
                          <a:pt x="52" y="348"/>
                          <a:pt x="52" y="334"/>
                        </a:cubicBezTo>
                        <a:cubicBezTo>
                          <a:pt x="52" y="325"/>
                          <a:pt x="52" y="317"/>
                          <a:pt x="52" y="308"/>
                        </a:cubicBezTo>
                        <a:cubicBezTo>
                          <a:pt x="52" y="253"/>
                          <a:pt x="54" y="185"/>
                          <a:pt x="72" y="134"/>
                        </a:cubicBezTo>
                        <a:cubicBezTo>
                          <a:pt x="77" y="121"/>
                          <a:pt x="82" y="109"/>
                          <a:pt x="89" y="99"/>
                        </a:cubicBezTo>
                        <a:cubicBezTo>
                          <a:pt x="97" y="133"/>
                          <a:pt x="105" y="173"/>
                          <a:pt x="102" y="198"/>
                        </a:cubicBezTo>
                        <a:cubicBezTo>
                          <a:pt x="99" y="240"/>
                          <a:pt x="84" y="243"/>
                          <a:pt x="79" y="281"/>
                        </a:cubicBezTo>
                        <a:cubicBezTo>
                          <a:pt x="78" y="286"/>
                          <a:pt x="77" y="294"/>
                          <a:pt x="77" y="305"/>
                        </a:cubicBezTo>
                        <a:cubicBezTo>
                          <a:pt x="77" y="376"/>
                          <a:pt x="95" y="396"/>
                          <a:pt x="96" y="463"/>
                        </a:cubicBezTo>
                        <a:cubicBezTo>
                          <a:pt x="96" y="676"/>
                          <a:pt x="96" y="676"/>
                          <a:pt x="96" y="676"/>
                        </a:cubicBezTo>
                        <a:cubicBezTo>
                          <a:pt x="96" y="698"/>
                          <a:pt x="114" y="716"/>
                          <a:pt x="136" y="716"/>
                        </a:cubicBezTo>
                        <a:cubicBezTo>
                          <a:pt x="158" y="716"/>
                          <a:pt x="176" y="698"/>
                          <a:pt x="176" y="676"/>
                        </a:cubicBezTo>
                        <a:cubicBezTo>
                          <a:pt x="176" y="348"/>
                          <a:pt x="176" y="348"/>
                          <a:pt x="176" y="348"/>
                        </a:cubicBezTo>
                        <a:cubicBezTo>
                          <a:pt x="176" y="348"/>
                          <a:pt x="176" y="347"/>
                          <a:pt x="176" y="346"/>
                        </a:cubicBezTo>
                        <a:cubicBezTo>
                          <a:pt x="189" y="346"/>
                          <a:pt x="189" y="346"/>
                          <a:pt x="189" y="346"/>
                        </a:cubicBezTo>
                        <a:cubicBezTo>
                          <a:pt x="189" y="347"/>
                          <a:pt x="189" y="348"/>
                          <a:pt x="189" y="348"/>
                        </a:cubicBezTo>
                        <a:cubicBezTo>
                          <a:pt x="189" y="676"/>
                          <a:pt x="189" y="676"/>
                          <a:pt x="189" y="676"/>
                        </a:cubicBezTo>
                        <a:cubicBezTo>
                          <a:pt x="189" y="698"/>
                          <a:pt x="207" y="716"/>
                          <a:pt x="229" y="716"/>
                        </a:cubicBezTo>
                        <a:cubicBezTo>
                          <a:pt x="251" y="716"/>
                          <a:pt x="269" y="698"/>
                          <a:pt x="269" y="676"/>
                        </a:cubicBezTo>
                        <a:cubicBezTo>
                          <a:pt x="269" y="463"/>
                          <a:pt x="269" y="463"/>
                          <a:pt x="269" y="463"/>
                        </a:cubicBezTo>
                        <a:cubicBezTo>
                          <a:pt x="270" y="396"/>
                          <a:pt x="288" y="376"/>
                          <a:pt x="288" y="305"/>
                        </a:cubicBezTo>
                        <a:cubicBezTo>
                          <a:pt x="288" y="294"/>
                          <a:pt x="287" y="286"/>
                          <a:pt x="285" y="281"/>
                        </a:cubicBezTo>
                        <a:cubicBezTo>
                          <a:pt x="280" y="243"/>
                          <a:pt x="266" y="240"/>
                          <a:pt x="262" y="198"/>
                        </a:cubicBezTo>
                        <a:cubicBezTo>
                          <a:pt x="260" y="173"/>
                          <a:pt x="268" y="133"/>
                          <a:pt x="276" y="99"/>
                        </a:cubicBezTo>
                        <a:cubicBezTo>
                          <a:pt x="289" y="120"/>
                          <a:pt x="298" y="146"/>
                          <a:pt x="303" y="175"/>
                        </a:cubicBezTo>
                        <a:cubicBezTo>
                          <a:pt x="312" y="218"/>
                          <a:pt x="313" y="267"/>
                          <a:pt x="313" y="308"/>
                        </a:cubicBezTo>
                        <a:cubicBezTo>
                          <a:pt x="313" y="317"/>
                          <a:pt x="313" y="325"/>
                          <a:pt x="313" y="334"/>
                        </a:cubicBezTo>
                        <a:cubicBezTo>
                          <a:pt x="313" y="348"/>
                          <a:pt x="324" y="360"/>
                          <a:pt x="339" y="360"/>
                        </a:cubicBezTo>
                        <a:cubicBezTo>
                          <a:pt x="353" y="360"/>
                          <a:pt x="365" y="348"/>
                          <a:pt x="365" y="334"/>
                        </a:cubicBezTo>
                        <a:cubicBezTo>
                          <a:pt x="365" y="326"/>
                          <a:pt x="365" y="317"/>
                          <a:pt x="365" y="308"/>
                        </a:cubicBezTo>
                        <a:cubicBezTo>
                          <a:pt x="365" y="252"/>
                          <a:pt x="364" y="179"/>
                          <a:pt x="341" y="117"/>
                        </a:cubicBezTo>
                        <a:cubicBezTo>
                          <a:pt x="331" y="87"/>
                          <a:pt x="315" y="59"/>
                          <a:pt x="290" y="37"/>
                        </a:cubicBezTo>
                        <a:cubicBezTo>
                          <a:pt x="285" y="32"/>
                          <a:pt x="270" y="18"/>
                          <a:pt x="242" y="9"/>
                        </a:cubicBezTo>
                        <a:cubicBezTo>
                          <a:pt x="224" y="3"/>
                          <a:pt x="204" y="0"/>
                          <a:pt x="182" y="0"/>
                        </a:cubicBezTo>
                        <a:cubicBezTo>
                          <a:pt x="161" y="0"/>
                          <a:pt x="141" y="3"/>
                          <a:pt x="123" y="9"/>
                        </a:cubicBezTo>
                        <a:cubicBezTo>
                          <a:pt x="95" y="18"/>
                          <a:pt x="80" y="31"/>
                          <a:pt x="75" y="37"/>
                        </a:cubicBezTo>
                        <a:cubicBezTo>
                          <a:pt x="37" y="70"/>
                          <a:pt x="20" y="117"/>
                          <a:pt x="10" y="165"/>
                        </a:cubicBezTo>
                        <a:cubicBezTo>
                          <a:pt x="1" y="215"/>
                          <a:pt x="0" y="266"/>
                          <a:pt x="0" y="308"/>
                        </a:cubicBezTo>
                        <a:cubicBezTo>
                          <a:pt x="0" y="317"/>
                          <a:pt x="0" y="326"/>
                          <a:pt x="0" y="334"/>
                        </a:cubicBezTo>
                        <a:cubicBezTo>
                          <a:pt x="0" y="348"/>
                          <a:pt x="12" y="360"/>
                          <a:pt x="26" y="360"/>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nvGrpSpPr>
                <p:cNvPr id="33" name="组合 32"/>
                <p:cNvGrpSpPr/>
                <p:nvPr/>
              </p:nvGrpSpPr>
              <p:grpSpPr>
                <a:xfrm>
                  <a:off x="8450541" y="3025526"/>
                  <a:ext cx="236537" cy="590551"/>
                  <a:chOff x="8229895" y="3665390"/>
                  <a:chExt cx="236537" cy="590551"/>
                </a:xfrm>
              </p:grpSpPr>
              <p:sp>
                <p:nvSpPr>
                  <p:cNvPr id="34" name="Freeform 250"/>
                  <p:cNvSpPr/>
                  <p:nvPr/>
                </p:nvSpPr>
                <p:spPr bwMode="auto">
                  <a:xfrm>
                    <a:off x="8288632" y="3665390"/>
                    <a:ext cx="119062" cy="119063"/>
                  </a:xfrm>
                  <a:custGeom>
                    <a:avLst/>
                    <a:gdLst>
                      <a:gd name="T0" fmla="*/ 73 w 185"/>
                      <a:gd name="T1" fmla="*/ 174 h 185"/>
                      <a:gd name="T2" fmla="*/ 174 w 185"/>
                      <a:gd name="T3" fmla="*/ 112 h 185"/>
                      <a:gd name="T4" fmla="*/ 111 w 185"/>
                      <a:gd name="T5" fmla="*/ 11 h 185"/>
                      <a:gd name="T6" fmla="*/ 11 w 185"/>
                      <a:gd name="T7" fmla="*/ 74 h 185"/>
                      <a:gd name="T8" fmla="*/ 73 w 185"/>
                      <a:gd name="T9" fmla="*/ 174 h 185"/>
                    </a:gdLst>
                    <a:ahLst/>
                    <a:cxnLst>
                      <a:cxn ang="0">
                        <a:pos x="T0" y="T1"/>
                      </a:cxn>
                      <a:cxn ang="0">
                        <a:pos x="T2" y="T3"/>
                      </a:cxn>
                      <a:cxn ang="0">
                        <a:pos x="T4" y="T5"/>
                      </a:cxn>
                      <a:cxn ang="0">
                        <a:pos x="T6" y="T7"/>
                      </a:cxn>
                      <a:cxn ang="0">
                        <a:pos x="T8" y="T9"/>
                      </a:cxn>
                    </a:cxnLst>
                    <a:rect l="0" t="0" r="r" b="b"/>
                    <a:pathLst>
                      <a:path w="185" h="185">
                        <a:moveTo>
                          <a:pt x="73" y="174"/>
                        </a:moveTo>
                        <a:cubicBezTo>
                          <a:pt x="118" y="185"/>
                          <a:pt x="164" y="157"/>
                          <a:pt x="174" y="112"/>
                        </a:cubicBezTo>
                        <a:cubicBezTo>
                          <a:pt x="185" y="67"/>
                          <a:pt x="157" y="21"/>
                          <a:pt x="111" y="11"/>
                        </a:cubicBezTo>
                        <a:cubicBezTo>
                          <a:pt x="66" y="0"/>
                          <a:pt x="21" y="28"/>
                          <a:pt x="11" y="74"/>
                        </a:cubicBezTo>
                        <a:cubicBezTo>
                          <a:pt x="0" y="119"/>
                          <a:pt x="28" y="164"/>
                          <a:pt x="73" y="174"/>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35" name="Freeform 251"/>
                  <p:cNvSpPr/>
                  <p:nvPr/>
                </p:nvSpPr>
                <p:spPr bwMode="auto">
                  <a:xfrm>
                    <a:off x="8229895" y="3793978"/>
                    <a:ext cx="236537" cy="461963"/>
                  </a:xfrm>
                  <a:custGeom>
                    <a:avLst/>
                    <a:gdLst>
                      <a:gd name="T0" fmla="*/ 26 w 365"/>
                      <a:gd name="T1" fmla="*/ 360 h 716"/>
                      <a:gd name="T2" fmla="*/ 52 w 365"/>
                      <a:gd name="T3" fmla="*/ 334 h 716"/>
                      <a:gd name="T4" fmla="*/ 52 w 365"/>
                      <a:gd name="T5" fmla="*/ 308 h 716"/>
                      <a:gd name="T6" fmla="*/ 72 w 365"/>
                      <a:gd name="T7" fmla="*/ 134 h 716"/>
                      <a:gd name="T8" fmla="*/ 89 w 365"/>
                      <a:gd name="T9" fmla="*/ 99 h 716"/>
                      <a:gd name="T10" fmla="*/ 102 w 365"/>
                      <a:gd name="T11" fmla="*/ 198 h 716"/>
                      <a:gd name="T12" fmla="*/ 79 w 365"/>
                      <a:gd name="T13" fmla="*/ 281 h 716"/>
                      <a:gd name="T14" fmla="*/ 77 w 365"/>
                      <a:gd name="T15" fmla="*/ 305 h 716"/>
                      <a:gd name="T16" fmla="*/ 96 w 365"/>
                      <a:gd name="T17" fmla="*/ 463 h 716"/>
                      <a:gd name="T18" fmla="*/ 96 w 365"/>
                      <a:gd name="T19" fmla="*/ 676 h 716"/>
                      <a:gd name="T20" fmla="*/ 136 w 365"/>
                      <a:gd name="T21" fmla="*/ 716 h 716"/>
                      <a:gd name="T22" fmla="*/ 176 w 365"/>
                      <a:gd name="T23" fmla="*/ 676 h 716"/>
                      <a:gd name="T24" fmla="*/ 176 w 365"/>
                      <a:gd name="T25" fmla="*/ 348 h 716"/>
                      <a:gd name="T26" fmla="*/ 176 w 365"/>
                      <a:gd name="T27" fmla="*/ 346 h 716"/>
                      <a:gd name="T28" fmla="*/ 189 w 365"/>
                      <a:gd name="T29" fmla="*/ 346 h 716"/>
                      <a:gd name="T30" fmla="*/ 189 w 365"/>
                      <a:gd name="T31" fmla="*/ 348 h 716"/>
                      <a:gd name="T32" fmla="*/ 189 w 365"/>
                      <a:gd name="T33" fmla="*/ 676 h 716"/>
                      <a:gd name="T34" fmla="*/ 229 w 365"/>
                      <a:gd name="T35" fmla="*/ 716 h 716"/>
                      <a:gd name="T36" fmla="*/ 269 w 365"/>
                      <a:gd name="T37" fmla="*/ 676 h 716"/>
                      <a:gd name="T38" fmla="*/ 269 w 365"/>
                      <a:gd name="T39" fmla="*/ 463 h 716"/>
                      <a:gd name="T40" fmla="*/ 288 w 365"/>
                      <a:gd name="T41" fmla="*/ 305 h 716"/>
                      <a:gd name="T42" fmla="*/ 285 w 365"/>
                      <a:gd name="T43" fmla="*/ 281 h 716"/>
                      <a:gd name="T44" fmla="*/ 262 w 365"/>
                      <a:gd name="T45" fmla="*/ 198 h 716"/>
                      <a:gd name="T46" fmla="*/ 276 w 365"/>
                      <a:gd name="T47" fmla="*/ 99 h 716"/>
                      <a:gd name="T48" fmla="*/ 303 w 365"/>
                      <a:gd name="T49" fmla="*/ 175 h 716"/>
                      <a:gd name="T50" fmla="*/ 313 w 365"/>
                      <a:gd name="T51" fmla="*/ 308 h 716"/>
                      <a:gd name="T52" fmla="*/ 313 w 365"/>
                      <a:gd name="T53" fmla="*/ 334 h 716"/>
                      <a:gd name="T54" fmla="*/ 339 w 365"/>
                      <a:gd name="T55" fmla="*/ 360 h 716"/>
                      <a:gd name="T56" fmla="*/ 365 w 365"/>
                      <a:gd name="T57" fmla="*/ 334 h 716"/>
                      <a:gd name="T58" fmla="*/ 365 w 365"/>
                      <a:gd name="T59" fmla="*/ 308 h 716"/>
                      <a:gd name="T60" fmla="*/ 341 w 365"/>
                      <a:gd name="T61" fmla="*/ 117 h 716"/>
                      <a:gd name="T62" fmla="*/ 290 w 365"/>
                      <a:gd name="T63" fmla="*/ 37 h 716"/>
                      <a:gd name="T64" fmla="*/ 242 w 365"/>
                      <a:gd name="T65" fmla="*/ 9 h 716"/>
                      <a:gd name="T66" fmla="*/ 182 w 365"/>
                      <a:gd name="T67" fmla="*/ 0 h 716"/>
                      <a:gd name="T68" fmla="*/ 123 w 365"/>
                      <a:gd name="T69" fmla="*/ 9 h 716"/>
                      <a:gd name="T70" fmla="*/ 75 w 365"/>
                      <a:gd name="T71" fmla="*/ 37 h 716"/>
                      <a:gd name="T72" fmla="*/ 10 w 365"/>
                      <a:gd name="T73" fmla="*/ 165 h 716"/>
                      <a:gd name="T74" fmla="*/ 0 w 365"/>
                      <a:gd name="T75" fmla="*/ 308 h 716"/>
                      <a:gd name="T76" fmla="*/ 0 w 365"/>
                      <a:gd name="T77" fmla="*/ 334 h 716"/>
                      <a:gd name="T78" fmla="*/ 26 w 365"/>
                      <a:gd name="T79" fmla="*/ 36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5" h="716">
                        <a:moveTo>
                          <a:pt x="26" y="360"/>
                        </a:moveTo>
                        <a:cubicBezTo>
                          <a:pt x="40" y="360"/>
                          <a:pt x="52" y="348"/>
                          <a:pt x="52" y="334"/>
                        </a:cubicBezTo>
                        <a:cubicBezTo>
                          <a:pt x="52" y="325"/>
                          <a:pt x="52" y="317"/>
                          <a:pt x="52" y="308"/>
                        </a:cubicBezTo>
                        <a:cubicBezTo>
                          <a:pt x="52" y="253"/>
                          <a:pt x="54" y="185"/>
                          <a:pt x="72" y="134"/>
                        </a:cubicBezTo>
                        <a:cubicBezTo>
                          <a:pt x="77" y="121"/>
                          <a:pt x="82" y="109"/>
                          <a:pt x="89" y="99"/>
                        </a:cubicBezTo>
                        <a:cubicBezTo>
                          <a:pt x="97" y="133"/>
                          <a:pt x="105" y="173"/>
                          <a:pt x="102" y="198"/>
                        </a:cubicBezTo>
                        <a:cubicBezTo>
                          <a:pt x="99" y="240"/>
                          <a:pt x="84" y="243"/>
                          <a:pt x="79" y="281"/>
                        </a:cubicBezTo>
                        <a:cubicBezTo>
                          <a:pt x="78" y="286"/>
                          <a:pt x="77" y="294"/>
                          <a:pt x="77" y="305"/>
                        </a:cubicBezTo>
                        <a:cubicBezTo>
                          <a:pt x="77" y="376"/>
                          <a:pt x="95" y="396"/>
                          <a:pt x="96" y="463"/>
                        </a:cubicBezTo>
                        <a:cubicBezTo>
                          <a:pt x="96" y="676"/>
                          <a:pt x="96" y="676"/>
                          <a:pt x="96" y="676"/>
                        </a:cubicBezTo>
                        <a:cubicBezTo>
                          <a:pt x="96" y="698"/>
                          <a:pt x="114" y="716"/>
                          <a:pt x="136" y="716"/>
                        </a:cubicBezTo>
                        <a:cubicBezTo>
                          <a:pt x="158" y="716"/>
                          <a:pt x="176" y="698"/>
                          <a:pt x="176" y="676"/>
                        </a:cubicBezTo>
                        <a:cubicBezTo>
                          <a:pt x="176" y="348"/>
                          <a:pt x="176" y="348"/>
                          <a:pt x="176" y="348"/>
                        </a:cubicBezTo>
                        <a:cubicBezTo>
                          <a:pt x="176" y="348"/>
                          <a:pt x="176" y="347"/>
                          <a:pt x="176" y="346"/>
                        </a:cubicBezTo>
                        <a:cubicBezTo>
                          <a:pt x="189" y="346"/>
                          <a:pt x="189" y="346"/>
                          <a:pt x="189" y="346"/>
                        </a:cubicBezTo>
                        <a:cubicBezTo>
                          <a:pt x="189" y="347"/>
                          <a:pt x="189" y="348"/>
                          <a:pt x="189" y="348"/>
                        </a:cubicBezTo>
                        <a:cubicBezTo>
                          <a:pt x="189" y="676"/>
                          <a:pt x="189" y="676"/>
                          <a:pt x="189" y="676"/>
                        </a:cubicBezTo>
                        <a:cubicBezTo>
                          <a:pt x="189" y="698"/>
                          <a:pt x="207" y="716"/>
                          <a:pt x="229" y="716"/>
                        </a:cubicBezTo>
                        <a:cubicBezTo>
                          <a:pt x="251" y="716"/>
                          <a:pt x="269" y="698"/>
                          <a:pt x="269" y="676"/>
                        </a:cubicBezTo>
                        <a:cubicBezTo>
                          <a:pt x="269" y="463"/>
                          <a:pt x="269" y="463"/>
                          <a:pt x="269" y="463"/>
                        </a:cubicBezTo>
                        <a:cubicBezTo>
                          <a:pt x="270" y="396"/>
                          <a:pt x="288" y="376"/>
                          <a:pt x="288" y="305"/>
                        </a:cubicBezTo>
                        <a:cubicBezTo>
                          <a:pt x="288" y="294"/>
                          <a:pt x="287" y="286"/>
                          <a:pt x="285" y="281"/>
                        </a:cubicBezTo>
                        <a:cubicBezTo>
                          <a:pt x="280" y="243"/>
                          <a:pt x="266" y="240"/>
                          <a:pt x="262" y="198"/>
                        </a:cubicBezTo>
                        <a:cubicBezTo>
                          <a:pt x="260" y="173"/>
                          <a:pt x="268" y="133"/>
                          <a:pt x="276" y="99"/>
                        </a:cubicBezTo>
                        <a:cubicBezTo>
                          <a:pt x="289" y="120"/>
                          <a:pt x="298" y="146"/>
                          <a:pt x="303" y="175"/>
                        </a:cubicBezTo>
                        <a:cubicBezTo>
                          <a:pt x="312" y="218"/>
                          <a:pt x="313" y="267"/>
                          <a:pt x="313" y="308"/>
                        </a:cubicBezTo>
                        <a:cubicBezTo>
                          <a:pt x="313" y="317"/>
                          <a:pt x="313" y="325"/>
                          <a:pt x="313" y="334"/>
                        </a:cubicBezTo>
                        <a:cubicBezTo>
                          <a:pt x="313" y="348"/>
                          <a:pt x="324" y="360"/>
                          <a:pt x="339" y="360"/>
                        </a:cubicBezTo>
                        <a:cubicBezTo>
                          <a:pt x="353" y="360"/>
                          <a:pt x="365" y="348"/>
                          <a:pt x="365" y="334"/>
                        </a:cubicBezTo>
                        <a:cubicBezTo>
                          <a:pt x="365" y="326"/>
                          <a:pt x="365" y="317"/>
                          <a:pt x="365" y="308"/>
                        </a:cubicBezTo>
                        <a:cubicBezTo>
                          <a:pt x="365" y="252"/>
                          <a:pt x="364" y="179"/>
                          <a:pt x="341" y="117"/>
                        </a:cubicBezTo>
                        <a:cubicBezTo>
                          <a:pt x="331" y="87"/>
                          <a:pt x="315" y="59"/>
                          <a:pt x="290" y="37"/>
                        </a:cubicBezTo>
                        <a:cubicBezTo>
                          <a:pt x="285" y="32"/>
                          <a:pt x="270" y="18"/>
                          <a:pt x="242" y="9"/>
                        </a:cubicBezTo>
                        <a:cubicBezTo>
                          <a:pt x="224" y="3"/>
                          <a:pt x="204" y="0"/>
                          <a:pt x="182" y="0"/>
                        </a:cubicBezTo>
                        <a:cubicBezTo>
                          <a:pt x="161" y="0"/>
                          <a:pt x="141" y="3"/>
                          <a:pt x="123" y="9"/>
                        </a:cubicBezTo>
                        <a:cubicBezTo>
                          <a:pt x="95" y="18"/>
                          <a:pt x="80" y="31"/>
                          <a:pt x="75" y="37"/>
                        </a:cubicBezTo>
                        <a:cubicBezTo>
                          <a:pt x="37" y="70"/>
                          <a:pt x="20" y="117"/>
                          <a:pt x="10" y="165"/>
                        </a:cubicBezTo>
                        <a:cubicBezTo>
                          <a:pt x="1" y="215"/>
                          <a:pt x="0" y="266"/>
                          <a:pt x="0" y="308"/>
                        </a:cubicBezTo>
                        <a:cubicBezTo>
                          <a:pt x="0" y="317"/>
                          <a:pt x="0" y="326"/>
                          <a:pt x="0" y="334"/>
                        </a:cubicBezTo>
                        <a:cubicBezTo>
                          <a:pt x="0" y="348"/>
                          <a:pt x="12" y="360"/>
                          <a:pt x="26" y="360"/>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nvGrpSpPr>
                <p:cNvPr id="36" name="组合 35"/>
                <p:cNvGrpSpPr/>
                <p:nvPr/>
              </p:nvGrpSpPr>
              <p:grpSpPr>
                <a:xfrm>
                  <a:off x="8512393" y="3035194"/>
                  <a:ext cx="301640" cy="580884"/>
                  <a:chOff x="8229895" y="3665390"/>
                  <a:chExt cx="236537" cy="590551"/>
                </a:xfrm>
              </p:grpSpPr>
              <p:sp>
                <p:nvSpPr>
                  <p:cNvPr id="37" name="Freeform 250"/>
                  <p:cNvSpPr/>
                  <p:nvPr/>
                </p:nvSpPr>
                <p:spPr bwMode="auto">
                  <a:xfrm>
                    <a:off x="8288632" y="3665390"/>
                    <a:ext cx="119062" cy="119063"/>
                  </a:xfrm>
                  <a:custGeom>
                    <a:avLst/>
                    <a:gdLst>
                      <a:gd name="T0" fmla="*/ 73 w 185"/>
                      <a:gd name="T1" fmla="*/ 174 h 185"/>
                      <a:gd name="T2" fmla="*/ 174 w 185"/>
                      <a:gd name="T3" fmla="*/ 112 h 185"/>
                      <a:gd name="T4" fmla="*/ 111 w 185"/>
                      <a:gd name="T5" fmla="*/ 11 h 185"/>
                      <a:gd name="T6" fmla="*/ 11 w 185"/>
                      <a:gd name="T7" fmla="*/ 74 h 185"/>
                      <a:gd name="T8" fmla="*/ 73 w 185"/>
                      <a:gd name="T9" fmla="*/ 174 h 185"/>
                    </a:gdLst>
                    <a:ahLst/>
                    <a:cxnLst>
                      <a:cxn ang="0">
                        <a:pos x="T0" y="T1"/>
                      </a:cxn>
                      <a:cxn ang="0">
                        <a:pos x="T2" y="T3"/>
                      </a:cxn>
                      <a:cxn ang="0">
                        <a:pos x="T4" y="T5"/>
                      </a:cxn>
                      <a:cxn ang="0">
                        <a:pos x="T6" y="T7"/>
                      </a:cxn>
                      <a:cxn ang="0">
                        <a:pos x="T8" y="T9"/>
                      </a:cxn>
                    </a:cxnLst>
                    <a:rect l="0" t="0" r="r" b="b"/>
                    <a:pathLst>
                      <a:path w="185" h="185">
                        <a:moveTo>
                          <a:pt x="73" y="174"/>
                        </a:moveTo>
                        <a:cubicBezTo>
                          <a:pt x="118" y="185"/>
                          <a:pt x="164" y="157"/>
                          <a:pt x="174" y="112"/>
                        </a:cubicBezTo>
                        <a:cubicBezTo>
                          <a:pt x="185" y="67"/>
                          <a:pt x="157" y="21"/>
                          <a:pt x="111" y="11"/>
                        </a:cubicBezTo>
                        <a:cubicBezTo>
                          <a:pt x="66" y="0"/>
                          <a:pt x="21" y="28"/>
                          <a:pt x="11" y="74"/>
                        </a:cubicBezTo>
                        <a:cubicBezTo>
                          <a:pt x="0" y="119"/>
                          <a:pt x="28" y="164"/>
                          <a:pt x="73" y="174"/>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38" name="Freeform 251"/>
                  <p:cNvSpPr/>
                  <p:nvPr/>
                </p:nvSpPr>
                <p:spPr bwMode="auto">
                  <a:xfrm>
                    <a:off x="8229895" y="3793978"/>
                    <a:ext cx="236537" cy="461963"/>
                  </a:xfrm>
                  <a:custGeom>
                    <a:avLst/>
                    <a:gdLst>
                      <a:gd name="T0" fmla="*/ 26 w 365"/>
                      <a:gd name="T1" fmla="*/ 360 h 716"/>
                      <a:gd name="T2" fmla="*/ 52 w 365"/>
                      <a:gd name="T3" fmla="*/ 334 h 716"/>
                      <a:gd name="T4" fmla="*/ 52 w 365"/>
                      <a:gd name="T5" fmla="*/ 308 h 716"/>
                      <a:gd name="T6" fmla="*/ 72 w 365"/>
                      <a:gd name="T7" fmla="*/ 134 h 716"/>
                      <a:gd name="T8" fmla="*/ 89 w 365"/>
                      <a:gd name="T9" fmla="*/ 99 h 716"/>
                      <a:gd name="T10" fmla="*/ 102 w 365"/>
                      <a:gd name="T11" fmla="*/ 198 h 716"/>
                      <a:gd name="T12" fmla="*/ 79 w 365"/>
                      <a:gd name="T13" fmla="*/ 281 h 716"/>
                      <a:gd name="T14" fmla="*/ 77 w 365"/>
                      <a:gd name="T15" fmla="*/ 305 h 716"/>
                      <a:gd name="T16" fmla="*/ 96 w 365"/>
                      <a:gd name="T17" fmla="*/ 463 h 716"/>
                      <a:gd name="T18" fmla="*/ 96 w 365"/>
                      <a:gd name="T19" fmla="*/ 676 h 716"/>
                      <a:gd name="T20" fmla="*/ 136 w 365"/>
                      <a:gd name="T21" fmla="*/ 716 h 716"/>
                      <a:gd name="T22" fmla="*/ 176 w 365"/>
                      <a:gd name="T23" fmla="*/ 676 h 716"/>
                      <a:gd name="T24" fmla="*/ 176 w 365"/>
                      <a:gd name="T25" fmla="*/ 348 h 716"/>
                      <a:gd name="T26" fmla="*/ 176 w 365"/>
                      <a:gd name="T27" fmla="*/ 346 h 716"/>
                      <a:gd name="T28" fmla="*/ 189 w 365"/>
                      <a:gd name="T29" fmla="*/ 346 h 716"/>
                      <a:gd name="T30" fmla="*/ 189 w 365"/>
                      <a:gd name="T31" fmla="*/ 348 h 716"/>
                      <a:gd name="T32" fmla="*/ 189 w 365"/>
                      <a:gd name="T33" fmla="*/ 676 h 716"/>
                      <a:gd name="T34" fmla="*/ 229 w 365"/>
                      <a:gd name="T35" fmla="*/ 716 h 716"/>
                      <a:gd name="T36" fmla="*/ 269 w 365"/>
                      <a:gd name="T37" fmla="*/ 676 h 716"/>
                      <a:gd name="T38" fmla="*/ 269 w 365"/>
                      <a:gd name="T39" fmla="*/ 463 h 716"/>
                      <a:gd name="T40" fmla="*/ 288 w 365"/>
                      <a:gd name="T41" fmla="*/ 305 h 716"/>
                      <a:gd name="T42" fmla="*/ 285 w 365"/>
                      <a:gd name="T43" fmla="*/ 281 h 716"/>
                      <a:gd name="T44" fmla="*/ 262 w 365"/>
                      <a:gd name="T45" fmla="*/ 198 h 716"/>
                      <a:gd name="T46" fmla="*/ 276 w 365"/>
                      <a:gd name="T47" fmla="*/ 99 h 716"/>
                      <a:gd name="T48" fmla="*/ 303 w 365"/>
                      <a:gd name="T49" fmla="*/ 175 h 716"/>
                      <a:gd name="T50" fmla="*/ 313 w 365"/>
                      <a:gd name="T51" fmla="*/ 308 h 716"/>
                      <a:gd name="T52" fmla="*/ 313 w 365"/>
                      <a:gd name="T53" fmla="*/ 334 h 716"/>
                      <a:gd name="T54" fmla="*/ 339 w 365"/>
                      <a:gd name="T55" fmla="*/ 360 h 716"/>
                      <a:gd name="T56" fmla="*/ 365 w 365"/>
                      <a:gd name="T57" fmla="*/ 334 h 716"/>
                      <a:gd name="T58" fmla="*/ 365 w 365"/>
                      <a:gd name="T59" fmla="*/ 308 h 716"/>
                      <a:gd name="T60" fmla="*/ 341 w 365"/>
                      <a:gd name="T61" fmla="*/ 117 h 716"/>
                      <a:gd name="T62" fmla="*/ 290 w 365"/>
                      <a:gd name="T63" fmla="*/ 37 h 716"/>
                      <a:gd name="T64" fmla="*/ 242 w 365"/>
                      <a:gd name="T65" fmla="*/ 9 h 716"/>
                      <a:gd name="T66" fmla="*/ 182 w 365"/>
                      <a:gd name="T67" fmla="*/ 0 h 716"/>
                      <a:gd name="T68" fmla="*/ 123 w 365"/>
                      <a:gd name="T69" fmla="*/ 9 h 716"/>
                      <a:gd name="T70" fmla="*/ 75 w 365"/>
                      <a:gd name="T71" fmla="*/ 37 h 716"/>
                      <a:gd name="T72" fmla="*/ 10 w 365"/>
                      <a:gd name="T73" fmla="*/ 165 h 716"/>
                      <a:gd name="T74" fmla="*/ 0 w 365"/>
                      <a:gd name="T75" fmla="*/ 308 h 716"/>
                      <a:gd name="T76" fmla="*/ 0 w 365"/>
                      <a:gd name="T77" fmla="*/ 334 h 716"/>
                      <a:gd name="T78" fmla="*/ 26 w 365"/>
                      <a:gd name="T79" fmla="*/ 360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5" h="716">
                        <a:moveTo>
                          <a:pt x="26" y="360"/>
                        </a:moveTo>
                        <a:cubicBezTo>
                          <a:pt x="40" y="360"/>
                          <a:pt x="52" y="348"/>
                          <a:pt x="52" y="334"/>
                        </a:cubicBezTo>
                        <a:cubicBezTo>
                          <a:pt x="52" y="325"/>
                          <a:pt x="52" y="317"/>
                          <a:pt x="52" y="308"/>
                        </a:cubicBezTo>
                        <a:cubicBezTo>
                          <a:pt x="52" y="253"/>
                          <a:pt x="54" y="185"/>
                          <a:pt x="72" y="134"/>
                        </a:cubicBezTo>
                        <a:cubicBezTo>
                          <a:pt x="77" y="121"/>
                          <a:pt x="82" y="109"/>
                          <a:pt x="89" y="99"/>
                        </a:cubicBezTo>
                        <a:cubicBezTo>
                          <a:pt x="97" y="133"/>
                          <a:pt x="105" y="173"/>
                          <a:pt x="102" y="198"/>
                        </a:cubicBezTo>
                        <a:cubicBezTo>
                          <a:pt x="99" y="240"/>
                          <a:pt x="84" y="243"/>
                          <a:pt x="79" y="281"/>
                        </a:cubicBezTo>
                        <a:cubicBezTo>
                          <a:pt x="78" y="286"/>
                          <a:pt x="77" y="294"/>
                          <a:pt x="77" y="305"/>
                        </a:cubicBezTo>
                        <a:cubicBezTo>
                          <a:pt x="77" y="376"/>
                          <a:pt x="95" y="396"/>
                          <a:pt x="96" y="463"/>
                        </a:cubicBezTo>
                        <a:cubicBezTo>
                          <a:pt x="96" y="676"/>
                          <a:pt x="96" y="676"/>
                          <a:pt x="96" y="676"/>
                        </a:cubicBezTo>
                        <a:cubicBezTo>
                          <a:pt x="96" y="698"/>
                          <a:pt x="114" y="716"/>
                          <a:pt x="136" y="716"/>
                        </a:cubicBezTo>
                        <a:cubicBezTo>
                          <a:pt x="158" y="716"/>
                          <a:pt x="176" y="698"/>
                          <a:pt x="176" y="676"/>
                        </a:cubicBezTo>
                        <a:cubicBezTo>
                          <a:pt x="176" y="348"/>
                          <a:pt x="176" y="348"/>
                          <a:pt x="176" y="348"/>
                        </a:cubicBezTo>
                        <a:cubicBezTo>
                          <a:pt x="176" y="348"/>
                          <a:pt x="176" y="347"/>
                          <a:pt x="176" y="346"/>
                        </a:cubicBezTo>
                        <a:cubicBezTo>
                          <a:pt x="189" y="346"/>
                          <a:pt x="189" y="346"/>
                          <a:pt x="189" y="346"/>
                        </a:cubicBezTo>
                        <a:cubicBezTo>
                          <a:pt x="189" y="347"/>
                          <a:pt x="189" y="348"/>
                          <a:pt x="189" y="348"/>
                        </a:cubicBezTo>
                        <a:cubicBezTo>
                          <a:pt x="189" y="676"/>
                          <a:pt x="189" y="676"/>
                          <a:pt x="189" y="676"/>
                        </a:cubicBezTo>
                        <a:cubicBezTo>
                          <a:pt x="189" y="698"/>
                          <a:pt x="207" y="716"/>
                          <a:pt x="229" y="716"/>
                        </a:cubicBezTo>
                        <a:cubicBezTo>
                          <a:pt x="251" y="716"/>
                          <a:pt x="269" y="698"/>
                          <a:pt x="269" y="676"/>
                        </a:cubicBezTo>
                        <a:cubicBezTo>
                          <a:pt x="269" y="463"/>
                          <a:pt x="269" y="463"/>
                          <a:pt x="269" y="463"/>
                        </a:cubicBezTo>
                        <a:cubicBezTo>
                          <a:pt x="270" y="396"/>
                          <a:pt x="288" y="376"/>
                          <a:pt x="288" y="305"/>
                        </a:cubicBezTo>
                        <a:cubicBezTo>
                          <a:pt x="288" y="294"/>
                          <a:pt x="287" y="286"/>
                          <a:pt x="285" y="281"/>
                        </a:cubicBezTo>
                        <a:cubicBezTo>
                          <a:pt x="280" y="243"/>
                          <a:pt x="266" y="240"/>
                          <a:pt x="262" y="198"/>
                        </a:cubicBezTo>
                        <a:cubicBezTo>
                          <a:pt x="260" y="173"/>
                          <a:pt x="268" y="133"/>
                          <a:pt x="276" y="99"/>
                        </a:cubicBezTo>
                        <a:cubicBezTo>
                          <a:pt x="289" y="120"/>
                          <a:pt x="298" y="146"/>
                          <a:pt x="303" y="175"/>
                        </a:cubicBezTo>
                        <a:cubicBezTo>
                          <a:pt x="312" y="218"/>
                          <a:pt x="313" y="267"/>
                          <a:pt x="313" y="308"/>
                        </a:cubicBezTo>
                        <a:cubicBezTo>
                          <a:pt x="313" y="317"/>
                          <a:pt x="313" y="325"/>
                          <a:pt x="313" y="334"/>
                        </a:cubicBezTo>
                        <a:cubicBezTo>
                          <a:pt x="313" y="348"/>
                          <a:pt x="324" y="360"/>
                          <a:pt x="339" y="360"/>
                        </a:cubicBezTo>
                        <a:cubicBezTo>
                          <a:pt x="353" y="360"/>
                          <a:pt x="365" y="348"/>
                          <a:pt x="365" y="334"/>
                        </a:cubicBezTo>
                        <a:cubicBezTo>
                          <a:pt x="365" y="326"/>
                          <a:pt x="365" y="317"/>
                          <a:pt x="365" y="308"/>
                        </a:cubicBezTo>
                        <a:cubicBezTo>
                          <a:pt x="365" y="252"/>
                          <a:pt x="364" y="179"/>
                          <a:pt x="341" y="117"/>
                        </a:cubicBezTo>
                        <a:cubicBezTo>
                          <a:pt x="331" y="87"/>
                          <a:pt x="315" y="59"/>
                          <a:pt x="290" y="37"/>
                        </a:cubicBezTo>
                        <a:cubicBezTo>
                          <a:pt x="285" y="32"/>
                          <a:pt x="270" y="18"/>
                          <a:pt x="242" y="9"/>
                        </a:cubicBezTo>
                        <a:cubicBezTo>
                          <a:pt x="224" y="3"/>
                          <a:pt x="204" y="0"/>
                          <a:pt x="182" y="0"/>
                        </a:cubicBezTo>
                        <a:cubicBezTo>
                          <a:pt x="161" y="0"/>
                          <a:pt x="141" y="3"/>
                          <a:pt x="123" y="9"/>
                        </a:cubicBezTo>
                        <a:cubicBezTo>
                          <a:pt x="95" y="18"/>
                          <a:pt x="80" y="31"/>
                          <a:pt x="75" y="37"/>
                        </a:cubicBezTo>
                        <a:cubicBezTo>
                          <a:pt x="37" y="70"/>
                          <a:pt x="20" y="117"/>
                          <a:pt x="10" y="165"/>
                        </a:cubicBezTo>
                        <a:cubicBezTo>
                          <a:pt x="1" y="215"/>
                          <a:pt x="0" y="266"/>
                          <a:pt x="0" y="308"/>
                        </a:cubicBezTo>
                        <a:cubicBezTo>
                          <a:pt x="0" y="317"/>
                          <a:pt x="0" y="326"/>
                          <a:pt x="0" y="334"/>
                        </a:cubicBezTo>
                        <a:cubicBezTo>
                          <a:pt x="0" y="348"/>
                          <a:pt x="12" y="360"/>
                          <a:pt x="26" y="360"/>
                        </a:cubicBezTo>
                        <a:close/>
                      </a:path>
                    </a:pathLst>
                  </a:custGeom>
                  <a:solidFill>
                    <a:srgbClr val="42495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sp>
            <p:nvSpPr>
              <p:cNvPr id="69" name="任意多边形 68"/>
              <p:cNvSpPr/>
              <p:nvPr/>
            </p:nvSpPr>
            <p:spPr bwMode="auto">
              <a:xfrm>
                <a:off x="8299032" y="3018519"/>
                <a:ext cx="651600" cy="649659"/>
              </a:xfrm>
              <a:custGeom>
                <a:avLst/>
                <a:gdLst>
                  <a:gd name="connsiteX0" fmla="*/ 720000 w 1440000"/>
                  <a:gd name="connsiteY0" fmla="*/ 128132 h 1440000"/>
                  <a:gd name="connsiteX1" fmla="*/ 125646 w 1440000"/>
                  <a:gd name="connsiteY1" fmla="*/ 722132 h 1440000"/>
                  <a:gd name="connsiteX2" fmla="*/ 720000 w 1440000"/>
                  <a:gd name="connsiteY2" fmla="*/ 1316132 h 1440000"/>
                  <a:gd name="connsiteX3" fmla="*/ 1314354 w 1440000"/>
                  <a:gd name="connsiteY3" fmla="*/ 722132 h 1440000"/>
                  <a:gd name="connsiteX4" fmla="*/ 720000 w 1440000"/>
                  <a:gd name="connsiteY4" fmla="*/ 128132 h 1440000"/>
                  <a:gd name="connsiteX5" fmla="*/ 720000 w 1440000"/>
                  <a:gd name="connsiteY5" fmla="*/ 0 h 1440000"/>
                  <a:gd name="connsiteX6" fmla="*/ 1440000 w 1440000"/>
                  <a:gd name="connsiteY6" fmla="*/ 720000 h 1440000"/>
                  <a:gd name="connsiteX7" fmla="*/ 720000 w 1440000"/>
                  <a:gd name="connsiteY7" fmla="*/ 1440000 h 1440000"/>
                  <a:gd name="connsiteX8" fmla="*/ 0 w 1440000"/>
                  <a:gd name="connsiteY8" fmla="*/ 720000 h 1440000"/>
                  <a:gd name="connsiteX9" fmla="*/ 720000 w 1440000"/>
                  <a:gd name="connsiteY9" fmla="*/ 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000" h="1440000">
                    <a:moveTo>
                      <a:pt x="720000" y="128132"/>
                    </a:moveTo>
                    <a:cubicBezTo>
                      <a:pt x="391747" y="128132"/>
                      <a:pt x="125646" y="394075"/>
                      <a:pt x="125646" y="722132"/>
                    </a:cubicBezTo>
                    <a:cubicBezTo>
                      <a:pt x="125646" y="1050189"/>
                      <a:pt x="391747" y="1316132"/>
                      <a:pt x="720000" y="1316132"/>
                    </a:cubicBezTo>
                    <a:cubicBezTo>
                      <a:pt x="1048253" y="1316132"/>
                      <a:pt x="1314354" y="1050189"/>
                      <a:pt x="1314354" y="722132"/>
                    </a:cubicBezTo>
                    <a:cubicBezTo>
                      <a:pt x="1314354" y="394075"/>
                      <a:pt x="1048253" y="128132"/>
                      <a:pt x="720000" y="128132"/>
                    </a:cubicBezTo>
                    <a:close/>
                    <a:moveTo>
                      <a:pt x="720000" y="0"/>
                    </a:moveTo>
                    <a:cubicBezTo>
                      <a:pt x="1117645" y="0"/>
                      <a:pt x="1440000" y="322355"/>
                      <a:pt x="1440000" y="720000"/>
                    </a:cubicBezTo>
                    <a:cubicBezTo>
                      <a:pt x="1440000" y="1117645"/>
                      <a:pt x="1117645" y="1440000"/>
                      <a:pt x="720000" y="1440000"/>
                    </a:cubicBezTo>
                    <a:cubicBezTo>
                      <a:pt x="322355" y="1440000"/>
                      <a:pt x="0" y="1117645"/>
                      <a:pt x="0" y="720000"/>
                    </a:cubicBezTo>
                    <a:cubicBezTo>
                      <a:pt x="0" y="322355"/>
                      <a:pt x="322355" y="0"/>
                      <a:pt x="720000" y="0"/>
                    </a:cubicBezTo>
                    <a:close/>
                  </a:path>
                </a:pathLst>
              </a:custGeom>
              <a:solidFill>
                <a:srgbClr val="424953"/>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solidFill>
                    <a:srgbClr val="424953"/>
                  </a:solidFill>
                  <a:cs typeface="+mn-ea"/>
                  <a:sym typeface="+mn-lt"/>
                </a:endParaRPr>
              </a:p>
            </p:txBody>
          </p:sp>
        </p:grpSp>
      </p:grpSp>
      <p:pic>
        <p:nvPicPr>
          <p:cNvPr id="72" name="图片 7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93674" y="2888224"/>
            <a:ext cx="374288" cy="374288"/>
          </a:xfrm>
          <a:prstGeom prst="rect">
            <a:avLst/>
          </a:prstGeom>
        </p:spPr>
      </p:pic>
      <p:pic>
        <p:nvPicPr>
          <p:cNvPr id="73" name="图片 7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74250" y="2872145"/>
            <a:ext cx="374288" cy="374288"/>
          </a:xfrm>
          <a:prstGeom prst="rect">
            <a:avLst/>
          </a:prstGeom>
        </p:spPr>
      </p:pic>
      <p:cxnSp>
        <p:nvCxnSpPr>
          <p:cNvPr id="43" name="直接连接符 42"/>
          <p:cNvCxnSpPr/>
          <p:nvPr/>
        </p:nvCxnSpPr>
        <p:spPr>
          <a:xfrm>
            <a:off x="6401115" y="2417355"/>
            <a:ext cx="0" cy="3412576"/>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4" name="图片 43"/>
          <p:cNvPicPr>
            <a:picLocks noChangeAspect="1"/>
          </p:cNvPicPr>
          <p:nvPr/>
        </p:nvPicPr>
        <p:blipFill>
          <a:blip r:embed="rId7"/>
          <a:stretch>
            <a:fillRect/>
          </a:stretch>
        </p:blipFill>
        <p:spPr>
          <a:xfrm>
            <a:off x="1193744" y="2417355"/>
            <a:ext cx="4025850" cy="3140769"/>
          </a:xfrm>
          <a:prstGeom prst="rect">
            <a:avLst/>
          </a:prstGeom>
          <a:ln>
            <a:noFill/>
          </a:ln>
          <a:effectLst>
            <a:outerShdw blurRad="292100" dist="139700" dir="2700000" algn="tl" rotWithShape="0">
              <a:srgbClr val="333333">
                <a:alpha val="65000"/>
              </a:srgbClr>
            </a:outerShdw>
          </a:effectLst>
        </p:spPr>
      </p:pic>
    </p:spTree>
    <p:custDataLst>
      <p:tags r:id="rId1"/>
    </p:custData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cs typeface="+mn-ea"/>
                <a:sym typeface="+mn-lt"/>
              </a:rPr>
              <a:t>Entrepôt</a:t>
            </a:r>
            <a:endParaRPr lang="zh-CN" altLang="en-US" dirty="0">
              <a:latin typeface="+mn-lt"/>
              <a:cs typeface="+mn-ea"/>
              <a:sym typeface="+mn-lt"/>
            </a:endParaRPr>
          </a:p>
        </p:txBody>
      </p:sp>
      <p:pic>
        <p:nvPicPr>
          <p:cNvPr id="7170" name="Picture 2" descr="F:\PPT retail\截图.png"/>
          <p:cNvPicPr>
            <a:picLocks noChangeAspect="1" noChangeArrowheads="1"/>
          </p:cNvPicPr>
          <p:nvPr/>
        </p:nvPicPr>
        <p:blipFill rotWithShape="1">
          <a:blip r:embed="rId2" cstate="print"/>
          <a:srcRect/>
          <a:stretch>
            <a:fillRect/>
          </a:stretch>
        </p:blipFill>
        <p:spPr bwMode="auto">
          <a:xfrm>
            <a:off x="-91054" y="1028409"/>
            <a:ext cx="12527529" cy="4717232"/>
          </a:xfrm>
          <a:prstGeom prst="rect">
            <a:avLst/>
          </a:prstGeom>
          <a:noFill/>
          <a:extLst>
            <a:ext uri="{909E8E84-426E-40DD-AFC4-6F175D3DCCD1}">
              <a14:hiddenFill xmlns:a14="http://schemas.microsoft.com/office/drawing/2010/main">
                <a:solidFill>
                  <a:srgbClr val="FFFFFF"/>
                </a:solidFill>
              </a14:hiddenFill>
            </a:ext>
          </a:extLst>
        </p:spPr>
      </p:pic>
      <p:sp>
        <p:nvSpPr>
          <p:cNvPr id="7" name="平行四边形 6"/>
          <p:cNvSpPr/>
          <p:nvPr/>
        </p:nvSpPr>
        <p:spPr>
          <a:xfrm>
            <a:off x="-347573" y="6036666"/>
            <a:ext cx="8229895" cy="410452"/>
          </a:xfrm>
          <a:prstGeom prst="parallelogram">
            <a:avLst>
              <a:gd name="adj" fmla="val 3815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cs typeface="+mn-ea"/>
              <a:sym typeface="+mn-lt"/>
            </a:endParaRPr>
          </a:p>
        </p:txBody>
      </p:sp>
      <p:sp>
        <p:nvSpPr>
          <p:cNvPr id="9" name="平行四边形 8"/>
          <p:cNvSpPr/>
          <p:nvPr/>
        </p:nvSpPr>
        <p:spPr>
          <a:xfrm>
            <a:off x="3749384" y="5364384"/>
            <a:ext cx="10634283" cy="506475"/>
          </a:xfrm>
          <a:prstGeom prst="parallelogram">
            <a:avLst>
              <a:gd name="adj" fmla="val 38158"/>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cs typeface="+mn-ea"/>
              <a:sym typeface="+mn-lt"/>
            </a:endParaRPr>
          </a:p>
        </p:txBody>
      </p:sp>
      <p:sp>
        <p:nvSpPr>
          <p:cNvPr id="10" name="文本框 9"/>
          <p:cNvSpPr txBox="1"/>
          <p:nvPr/>
        </p:nvSpPr>
        <p:spPr>
          <a:xfrm>
            <a:off x="-91054" y="5971048"/>
            <a:ext cx="9240751" cy="541687"/>
          </a:xfrm>
          <a:prstGeom prst="rect">
            <a:avLst/>
          </a:prstGeom>
          <a:noFill/>
        </p:spPr>
        <p:txBody>
          <a:bodyPr wrap="square" lIns="182880" tIns="146304" rIns="182880" bIns="146304" rtlCol="0">
            <a:spAutoFit/>
          </a:bodyPr>
          <a:lstStyle/>
          <a:p>
            <a:r>
              <a:rPr lang="en-US" altLang="zh-CN" sz="1600" dirty="0">
                <a:solidFill>
                  <a:schemeClr val="bg1"/>
                </a:solidFill>
                <a:cs typeface="+mn-ea"/>
                <a:sym typeface="+mn-lt"/>
              </a:rPr>
              <a:t> </a:t>
            </a:r>
            <a:r>
              <a:rPr lang="fr-FR" altLang="zh-CN" sz="1600" dirty="0">
                <a:solidFill>
                  <a:schemeClr val="bg1"/>
                </a:solidFill>
                <a:cs typeface="+mn-ea"/>
                <a:sym typeface="+mn-lt"/>
              </a:rPr>
              <a:t>Les caméras </a:t>
            </a:r>
            <a:r>
              <a:rPr lang="fr-FR" altLang="zh-CN" sz="1600" dirty="0" err="1">
                <a:solidFill>
                  <a:schemeClr val="bg1"/>
                </a:solidFill>
                <a:cs typeface="+mn-ea"/>
                <a:sym typeface="+mn-lt"/>
              </a:rPr>
              <a:t>Starlight</a:t>
            </a:r>
            <a:r>
              <a:rPr lang="fr-FR" altLang="zh-CN" sz="1600" dirty="0">
                <a:solidFill>
                  <a:schemeClr val="bg1"/>
                </a:solidFill>
                <a:cs typeface="+mn-ea"/>
                <a:sym typeface="+mn-lt"/>
              </a:rPr>
              <a:t> fournissent une vidéo de haute qualité même la nuit.</a:t>
            </a:r>
            <a:endParaRPr lang="zh-CN" altLang="zh-CN" sz="1600" dirty="0">
              <a:solidFill>
                <a:schemeClr val="bg1"/>
              </a:solidFill>
              <a:cs typeface="+mn-ea"/>
              <a:sym typeface="+mn-lt"/>
            </a:endParaRPr>
          </a:p>
        </p:txBody>
      </p:sp>
      <p:sp>
        <p:nvSpPr>
          <p:cNvPr id="3" name="矩形 2"/>
          <p:cNvSpPr/>
          <p:nvPr/>
        </p:nvSpPr>
        <p:spPr>
          <a:xfrm>
            <a:off x="4023701" y="5443036"/>
            <a:ext cx="8911909" cy="338554"/>
          </a:xfrm>
          <a:prstGeom prst="rect">
            <a:avLst/>
          </a:prstGeom>
        </p:spPr>
        <p:txBody>
          <a:bodyPr wrap="square">
            <a:spAutoFit/>
          </a:bodyPr>
          <a:lstStyle/>
          <a:p>
            <a:r>
              <a:rPr lang="fr-FR" altLang="zh-CN" sz="1600" dirty="0">
                <a:cs typeface="+mn-ea"/>
                <a:sym typeface="+mn-lt"/>
              </a:rPr>
              <a:t>Contrôle d'accès pour autoriser la bonne personne à entrer dans la </a:t>
            </a:r>
            <a:r>
              <a:rPr lang="fr-FR" altLang="zh-CN" sz="1600" dirty="0" smtClean="0">
                <a:cs typeface="+mn-ea"/>
                <a:sym typeface="+mn-lt"/>
              </a:rPr>
              <a:t>pièce ou zone</a:t>
            </a:r>
            <a:r>
              <a:rPr lang="en-US" altLang="zh-CN" sz="1600" dirty="0" smtClean="0">
                <a:cs typeface="+mn-ea"/>
                <a:sym typeface="+mn-lt"/>
              </a:rPr>
              <a:t>.</a:t>
            </a:r>
            <a:endParaRPr lang="zh-CN" altLang="en-US" sz="1600" dirty="0">
              <a:cs typeface="+mn-ea"/>
              <a:sym typeface="+mn-lt"/>
            </a:endParaRPr>
          </a:p>
        </p:txBody>
      </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cs typeface="+mn-ea"/>
                <a:sym typeface="+mn-lt"/>
              </a:rPr>
              <a:t>Entrepôt</a:t>
            </a:r>
            <a:r>
              <a:rPr lang="en-US" altLang="zh-CN" dirty="0">
                <a:latin typeface="+mn-lt"/>
                <a:cs typeface="+mn-ea"/>
                <a:sym typeface="+mn-lt"/>
              </a:rPr>
              <a:t>| </a:t>
            </a:r>
            <a:r>
              <a:rPr lang="fr-FR" altLang="zh-CN" sz="3600" dirty="0">
                <a:latin typeface="+mn-lt"/>
                <a:cs typeface="+mn-ea"/>
                <a:sym typeface="+mn-lt"/>
              </a:rPr>
              <a:t>Le contrôle d'accès et </a:t>
            </a:r>
            <a:r>
              <a:rPr lang="fr-FR" altLang="zh-CN" sz="3600" dirty="0" err="1">
                <a:latin typeface="+mn-lt"/>
                <a:cs typeface="+mn-ea"/>
                <a:sym typeface="+mn-lt"/>
              </a:rPr>
              <a:t>Starlight</a:t>
            </a:r>
            <a:r>
              <a:rPr lang="fr-FR" altLang="zh-CN" sz="3600" dirty="0">
                <a:latin typeface="+mn-lt"/>
                <a:cs typeface="+mn-ea"/>
                <a:sym typeface="+mn-lt"/>
              </a:rPr>
              <a:t> protègent votre propriété</a:t>
            </a:r>
            <a:endParaRPr lang="zh-CN" altLang="en-US" sz="3600" dirty="0">
              <a:latin typeface="+mn-lt"/>
              <a:cs typeface="+mn-ea"/>
              <a:sym typeface="+mn-lt"/>
            </a:endParaRPr>
          </a:p>
        </p:txBody>
      </p:sp>
      <p:sp>
        <p:nvSpPr>
          <p:cNvPr id="4" name="矩形 3"/>
          <p:cNvSpPr/>
          <p:nvPr/>
        </p:nvSpPr>
        <p:spPr>
          <a:xfrm>
            <a:off x="6245765" y="4408238"/>
            <a:ext cx="6148814" cy="1200329"/>
          </a:xfrm>
          <a:prstGeom prst="rect">
            <a:avLst/>
          </a:prstGeom>
        </p:spPr>
        <p:txBody>
          <a:bodyPr wrap="square">
            <a:spAutoFit/>
          </a:bodyPr>
          <a:lstStyle/>
          <a:p>
            <a:r>
              <a:rPr lang="en-US" altLang="zh-CN" b="1" dirty="0" err="1">
                <a:cs typeface="+mn-ea"/>
                <a:sym typeface="+mn-lt"/>
              </a:rPr>
              <a:t>Caméra</a:t>
            </a:r>
            <a:r>
              <a:rPr lang="en-US" altLang="zh-CN" b="1" dirty="0">
                <a:cs typeface="+mn-ea"/>
                <a:sym typeface="+mn-lt"/>
              </a:rPr>
              <a:t> Starlight</a:t>
            </a:r>
          </a:p>
          <a:p>
            <a:r>
              <a:rPr lang="fr-FR" altLang="zh-CN" dirty="0">
                <a:cs typeface="+mn-ea"/>
                <a:sym typeface="+mn-lt"/>
              </a:rPr>
              <a:t>Fournissez une vidéo de haute qualité, peu </a:t>
            </a:r>
            <a:r>
              <a:rPr lang="fr-FR" altLang="zh-CN" dirty="0" smtClean="0">
                <a:cs typeface="+mn-ea"/>
                <a:sym typeface="+mn-lt"/>
              </a:rPr>
              <a:t>importe les conditions d’éclairage.</a:t>
            </a:r>
          </a:p>
          <a:p>
            <a:r>
              <a:rPr lang="fr-FR" altLang="zh-CN" dirty="0" smtClean="0">
                <a:cs typeface="+mn-ea"/>
                <a:sym typeface="+mn-lt"/>
              </a:rPr>
              <a:t>De nuit de jour ou conditions très difficiles</a:t>
            </a:r>
            <a:endParaRPr lang="en-US" altLang="zh-CN" dirty="0">
              <a:cs typeface="+mn-ea"/>
              <a:sym typeface="+mn-lt"/>
            </a:endParaRPr>
          </a:p>
        </p:txBody>
      </p:sp>
      <p:grpSp>
        <p:nvGrpSpPr>
          <p:cNvPr id="6" name="组合 5"/>
          <p:cNvGrpSpPr/>
          <p:nvPr/>
        </p:nvGrpSpPr>
        <p:grpSpPr>
          <a:xfrm>
            <a:off x="6646601" y="6207130"/>
            <a:ext cx="4544734" cy="750672"/>
            <a:chOff x="2652116" y="5660892"/>
            <a:chExt cx="5196655" cy="1261015"/>
          </a:xfrm>
        </p:grpSpPr>
        <p:sp>
          <p:nvSpPr>
            <p:cNvPr id="10" name="圆角矩形 9"/>
            <p:cNvSpPr/>
            <p:nvPr/>
          </p:nvSpPr>
          <p:spPr bwMode="auto">
            <a:xfrm>
              <a:off x="2652116" y="5798419"/>
              <a:ext cx="5029145"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3" name="TextBox 11"/>
            <p:cNvSpPr txBox="1"/>
            <p:nvPr/>
          </p:nvSpPr>
          <p:spPr>
            <a:xfrm>
              <a:off x="3787943" y="5867191"/>
              <a:ext cx="3301870" cy="1054716"/>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2400" dirty="0" err="1">
                  <a:gradFill>
                    <a:gsLst>
                      <a:gs pos="2917">
                        <a:schemeClr val="tx1"/>
                      </a:gs>
                      <a:gs pos="30000">
                        <a:schemeClr val="tx1"/>
                      </a:gs>
                    </a:gsLst>
                    <a:lin ang="5400000" scaled="0"/>
                  </a:gradFill>
                  <a:cs typeface="+mn-ea"/>
                  <a:sym typeface="+mn-lt"/>
                </a:rPr>
                <a:t>Caméra</a:t>
              </a:r>
              <a:r>
                <a:rPr lang="en-US" altLang="zh-CN" sz="2400" dirty="0">
                  <a:gradFill>
                    <a:gsLst>
                      <a:gs pos="2917">
                        <a:schemeClr val="tx1"/>
                      </a:gs>
                      <a:gs pos="30000">
                        <a:schemeClr val="tx1"/>
                      </a:gs>
                    </a:gsLst>
                    <a:lin ang="5400000" scaled="0"/>
                  </a:gradFill>
                  <a:cs typeface="+mn-ea"/>
                  <a:sym typeface="+mn-lt"/>
                </a:rPr>
                <a:t> Starlight</a:t>
              </a:r>
              <a:endParaRPr lang="zh-CN" altLang="en-US" sz="2400" dirty="0" err="1">
                <a:gradFill>
                  <a:gsLst>
                    <a:gs pos="2917">
                      <a:schemeClr val="tx1"/>
                    </a:gs>
                    <a:gs pos="30000">
                      <a:schemeClr val="tx1"/>
                    </a:gs>
                  </a:gsLst>
                  <a:lin ang="5400000" scaled="0"/>
                </a:gradFill>
                <a:cs typeface="+mn-ea"/>
                <a:sym typeface="+mn-lt"/>
              </a:endParaRPr>
            </a:p>
          </p:txBody>
        </p:sp>
        <p:sp>
          <p:nvSpPr>
            <p:cNvPr id="14" name="TextBox 4"/>
            <p:cNvSpPr txBox="1"/>
            <p:nvPr/>
          </p:nvSpPr>
          <p:spPr>
            <a:xfrm>
              <a:off x="5166437" y="5660892"/>
              <a:ext cx="2682334" cy="775527"/>
            </a:xfrm>
            <a:prstGeom prst="rect">
              <a:avLst/>
            </a:prstGeom>
            <a:noFill/>
          </p:spPr>
          <p:txBody>
            <a:bodyPr wrap="non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DH-IPC-HDBW4431E-AS-S4</a:t>
              </a:r>
              <a:endParaRPr lang="zh-CN" altLang="en-US" sz="1200" dirty="0" err="1">
                <a:gradFill>
                  <a:gsLst>
                    <a:gs pos="2917">
                      <a:schemeClr val="tx1"/>
                    </a:gs>
                    <a:gs pos="30000">
                      <a:schemeClr val="tx1"/>
                    </a:gs>
                  </a:gsLst>
                  <a:lin ang="5400000" scaled="0"/>
                </a:gradFill>
                <a:cs typeface="+mn-ea"/>
                <a:sym typeface="+mn-lt"/>
              </a:endParaRPr>
            </a:p>
          </p:txBody>
        </p:sp>
      </p:grpSp>
      <p:sp>
        <p:nvSpPr>
          <p:cNvPr id="15" name="矩形 14"/>
          <p:cNvSpPr/>
          <p:nvPr/>
        </p:nvSpPr>
        <p:spPr>
          <a:xfrm>
            <a:off x="441647" y="4348382"/>
            <a:ext cx="5685151" cy="1754326"/>
          </a:xfrm>
          <a:prstGeom prst="rect">
            <a:avLst/>
          </a:prstGeom>
        </p:spPr>
        <p:txBody>
          <a:bodyPr wrap="square">
            <a:spAutoFit/>
          </a:bodyPr>
          <a:lstStyle/>
          <a:p>
            <a:r>
              <a:rPr lang="en-US" altLang="zh-CN" b="1" dirty="0">
                <a:cs typeface="+mn-ea"/>
                <a:sym typeface="+mn-lt"/>
              </a:rPr>
              <a:t>Access Control</a:t>
            </a:r>
          </a:p>
          <a:p>
            <a:r>
              <a:rPr lang="en-US" altLang="zh-CN" kern="0" dirty="0">
                <a:solidFill>
                  <a:srgbClr val="505050"/>
                </a:solidFill>
                <a:cs typeface="+mn-ea"/>
                <a:sym typeface="+mn-lt"/>
              </a:rPr>
              <a:t>☆ </a:t>
            </a:r>
            <a:r>
              <a:rPr lang="en-US" altLang="zh-CN" dirty="0">
                <a:cs typeface="+mn-ea"/>
                <a:sym typeface="+mn-lt"/>
              </a:rPr>
              <a:t> </a:t>
            </a:r>
            <a:r>
              <a:rPr lang="fr-FR" altLang="zh-CN" dirty="0" smtClean="0">
                <a:cs typeface="+mn-ea"/>
                <a:sym typeface="+mn-lt"/>
              </a:rPr>
              <a:t>Captation de visage , </a:t>
            </a:r>
            <a:r>
              <a:rPr lang="fr-FR" altLang="zh-CN" dirty="0">
                <a:cs typeface="+mn-ea"/>
                <a:sym typeface="+mn-lt"/>
              </a:rPr>
              <a:t>des empreintes digitales, des cartes et des mots de passe peuvent être enregistrés</a:t>
            </a:r>
            <a:endParaRPr lang="en-US" altLang="zh-CN" dirty="0">
              <a:cs typeface="+mn-ea"/>
              <a:sym typeface="+mn-lt"/>
            </a:endParaRPr>
          </a:p>
          <a:p>
            <a:r>
              <a:rPr lang="fr-FR" altLang="zh-CN" dirty="0">
                <a:gradFill>
                  <a:gsLst>
                    <a:gs pos="2917">
                      <a:schemeClr val="tx1"/>
                    </a:gs>
                    <a:gs pos="30000">
                      <a:schemeClr val="tx1"/>
                    </a:gs>
                  </a:gsLst>
                  <a:lin ang="5400000" scaled="0"/>
                </a:gradFill>
                <a:cs typeface="+mn-ea"/>
                <a:sym typeface="+mn-lt"/>
              </a:rPr>
              <a:t>Utiliser le contrôle d'accès pour autoriser la bonne personne </a:t>
            </a:r>
            <a:r>
              <a:rPr lang="fr-FR" altLang="zh-CN" dirty="0" smtClean="0">
                <a:gradFill>
                  <a:gsLst>
                    <a:gs pos="2917">
                      <a:schemeClr val="tx1"/>
                    </a:gs>
                    <a:gs pos="30000">
                      <a:schemeClr val="tx1"/>
                    </a:gs>
                  </a:gsLst>
                  <a:lin ang="5400000" scaled="0"/>
                </a:gradFill>
                <a:cs typeface="+mn-ea"/>
                <a:sym typeface="+mn-lt"/>
              </a:rPr>
              <a:t>d’entrée </a:t>
            </a:r>
            <a:endParaRPr lang="en-US" altLang="zh-CN" dirty="0">
              <a:cs typeface="+mn-ea"/>
              <a:sym typeface="+mn-lt"/>
            </a:endParaRPr>
          </a:p>
        </p:txBody>
      </p:sp>
      <p:grpSp>
        <p:nvGrpSpPr>
          <p:cNvPr id="16" name="组合 15"/>
          <p:cNvGrpSpPr/>
          <p:nvPr/>
        </p:nvGrpSpPr>
        <p:grpSpPr>
          <a:xfrm>
            <a:off x="747081" y="6306239"/>
            <a:ext cx="4389466" cy="643689"/>
            <a:chOff x="431876" y="5559108"/>
            <a:chExt cx="4389466" cy="1081299"/>
          </a:xfrm>
        </p:grpSpPr>
        <p:sp>
          <p:nvSpPr>
            <p:cNvPr id="17" name="圆角矩形 16"/>
            <p:cNvSpPr/>
            <p:nvPr/>
          </p:nvSpPr>
          <p:spPr bwMode="auto">
            <a:xfrm>
              <a:off x="431876" y="5559108"/>
              <a:ext cx="4389466" cy="928039"/>
            </a:xfrm>
            <a:prstGeom prst="roundRect">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8" name="TextBox 17"/>
            <p:cNvSpPr txBox="1"/>
            <p:nvPr/>
          </p:nvSpPr>
          <p:spPr>
            <a:xfrm>
              <a:off x="1252103" y="5585692"/>
              <a:ext cx="3107261" cy="1054715"/>
            </a:xfrm>
            <a:prstGeom prst="rect">
              <a:avLst/>
            </a:prstGeom>
            <a:noFill/>
          </p:spPr>
          <p:txBody>
            <a:bodyPr wrap="none" lIns="182880" tIns="146304" rIns="182880" bIns="146304" rtlCol="0">
              <a:spAutoFit/>
            </a:bodyPr>
            <a:lstStyle/>
            <a:p>
              <a:pPr>
                <a:lnSpc>
                  <a:spcPct val="90000"/>
                </a:lnSpc>
                <a:spcAft>
                  <a:spcPts val="600"/>
                </a:spcAft>
              </a:pPr>
              <a:r>
                <a:rPr lang="en-US" altLang="zh-CN" sz="2400" dirty="0">
                  <a:gradFill>
                    <a:gsLst>
                      <a:gs pos="2917">
                        <a:schemeClr val="tx1"/>
                      </a:gs>
                      <a:gs pos="30000">
                        <a:schemeClr val="tx1"/>
                      </a:gs>
                    </a:gsLst>
                    <a:lin ang="5400000" scaled="0"/>
                  </a:gradFill>
                  <a:cs typeface="+mn-ea"/>
                  <a:sym typeface="+mn-lt"/>
                </a:rPr>
                <a:t>Face access control</a:t>
              </a:r>
              <a:endParaRPr lang="zh-CN" altLang="en-US" sz="2400" dirty="0" err="1">
                <a:gradFill>
                  <a:gsLst>
                    <a:gs pos="2917">
                      <a:schemeClr val="tx1"/>
                    </a:gs>
                    <a:gs pos="30000">
                      <a:schemeClr val="tx1"/>
                    </a:gs>
                  </a:gsLst>
                  <a:lin ang="5400000" scaled="0"/>
                </a:gradFill>
                <a:cs typeface="+mn-ea"/>
                <a:sym typeface="+mn-lt"/>
              </a:endParaRPr>
            </a:p>
          </p:txBody>
        </p:sp>
      </p:grpSp>
      <p:sp>
        <p:nvSpPr>
          <p:cNvPr id="5" name="矩形 4"/>
          <p:cNvSpPr/>
          <p:nvPr/>
        </p:nvSpPr>
        <p:spPr>
          <a:xfrm>
            <a:off x="4046694" y="6279722"/>
            <a:ext cx="992579" cy="307777"/>
          </a:xfrm>
          <a:prstGeom prst="rect">
            <a:avLst/>
          </a:prstGeom>
        </p:spPr>
        <p:txBody>
          <a:bodyPr wrap="none">
            <a:spAutoFit/>
          </a:bodyPr>
          <a:lstStyle/>
          <a:p>
            <a:r>
              <a:rPr lang="en-US" altLang="zh-CN" sz="1400" dirty="0">
                <a:cs typeface="+mn-ea"/>
                <a:sym typeface="+mn-lt"/>
              </a:rPr>
              <a:t>ASI7214Y</a:t>
            </a:r>
            <a:endParaRPr lang="zh-CN" altLang="en-US" sz="1400" dirty="0">
              <a:cs typeface="+mn-ea"/>
              <a:sym typeface="+mn-lt"/>
            </a:endParaRPr>
          </a:p>
        </p:txBody>
      </p:sp>
      <p:pic>
        <p:nvPicPr>
          <p:cNvPr id="3" name="图片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9985" y="6212879"/>
            <a:ext cx="744923" cy="744923"/>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6982" y="6097831"/>
            <a:ext cx="826460" cy="826460"/>
          </a:xfrm>
          <a:prstGeom prst="rect">
            <a:avLst/>
          </a:prstGeom>
        </p:spPr>
      </p:pic>
      <p:grpSp>
        <p:nvGrpSpPr>
          <p:cNvPr id="11" name="组合 10"/>
          <p:cNvGrpSpPr/>
          <p:nvPr/>
        </p:nvGrpSpPr>
        <p:grpSpPr>
          <a:xfrm>
            <a:off x="6586075" y="2015189"/>
            <a:ext cx="4216483" cy="2219850"/>
            <a:chOff x="6390826" y="1695861"/>
            <a:chExt cx="5330620" cy="2852163"/>
          </a:xfrm>
        </p:grpSpPr>
        <p:pic>
          <p:nvPicPr>
            <p:cNvPr id="20" name="图片 19"/>
            <p:cNvPicPr>
              <a:picLocks noChangeAspect="1"/>
            </p:cNvPicPr>
            <p:nvPr/>
          </p:nvPicPr>
          <p:blipFill rotWithShape="1">
            <a:blip r:embed="rId5"/>
            <a:srcRect l="16178" t="3978" r="2036" b="18189"/>
            <a:stretch>
              <a:fillRect/>
            </a:stretch>
          </p:blipFill>
          <p:spPr>
            <a:xfrm>
              <a:off x="6390826" y="1695861"/>
              <a:ext cx="5330620" cy="2852163"/>
            </a:xfrm>
            <a:prstGeom prst="rect">
              <a:avLst/>
            </a:prstGeom>
          </p:spPr>
        </p:pic>
        <p:pic>
          <p:nvPicPr>
            <p:cNvPr id="9" name="图片 8"/>
            <p:cNvPicPr>
              <a:picLocks noChangeAspect="1"/>
            </p:cNvPicPr>
            <p:nvPr/>
          </p:nvPicPr>
          <p:blipFill>
            <a:blip r:embed="rId6"/>
            <a:stretch>
              <a:fillRect/>
            </a:stretch>
          </p:blipFill>
          <p:spPr>
            <a:xfrm>
              <a:off x="10577777" y="2582872"/>
              <a:ext cx="631758" cy="584648"/>
            </a:xfrm>
            <a:prstGeom prst="rect">
              <a:avLst/>
            </a:prstGeom>
          </p:spPr>
        </p:pic>
      </p:grpSp>
      <p:grpSp>
        <p:nvGrpSpPr>
          <p:cNvPr id="21" name="组合 20"/>
          <p:cNvGrpSpPr/>
          <p:nvPr/>
        </p:nvGrpSpPr>
        <p:grpSpPr>
          <a:xfrm>
            <a:off x="313994" y="1851360"/>
            <a:ext cx="4538186" cy="2320888"/>
            <a:chOff x="-104934" y="1485604"/>
            <a:chExt cx="5639228" cy="3062419"/>
          </a:xfrm>
        </p:grpSpPr>
        <p:pic>
          <p:nvPicPr>
            <p:cNvPr id="22" name="图片 21"/>
            <p:cNvPicPr>
              <a:picLocks noChangeAspect="1"/>
            </p:cNvPicPr>
            <p:nvPr/>
          </p:nvPicPr>
          <p:blipFill>
            <a:blip r:embed="rId7"/>
            <a:stretch>
              <a:fillRect/>
            </a:stretch>
          </p:blipFill>
          <p:spPr>
            <a:xfrm>
              <a:off x="356110" y="1695860"/>
              <a:ext cx="5178184" cy="2852163"/>
            </a:xfrm>
            <a:prstGeom prst="rect">
              <a:avLst/>
            </a:prstGeom>
          </p:spPr>
        </p:pic>
        <p:pic>
          <p:nvPicPr>
            <p:cNvPr id="23" name="图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934" y="1485604"/>
              <a:ext cx="1487365" cy="1554463"/>
            </a:xfrm>
            <a:prstGeom prst="rect">
              <a:avLst/>
            </a:prstGeom>
          </p:spPr>
        </p:pic>
        <p:sp>
          <p:nvSpPr>
            <p:cNvPr id="24" name="Freeform 204"/>
            <p:cNvSpPr/>
            <p:nvPr/>
          </p:nvSpPr>
          <p:spPr bwMode="auto">
            <a:xfrm>
              <a:off x="750469" y="2262835"/>
              <a:ext cx="481013" cy="376238"/>
            </a:xfrm>
            <a:custGeom>
              <a:avLst/>
              <a:gdLst>
                <a:gd name="T0" fmla="*/ 253 w 303"/>
                <a:gd name="T1" fmla="*/ 0 h 237"/>
                <a:gd name="T2" fmla="*/ 116 w 303"/>
                <a:gd name="T3" fmla="*/ 138 h 237"/>
                <a:gd name="T4" fmla="*/ 50 w 303"/>
                <a:gd name="T5" fmla="*/ 71 h 237"/>
                <a:gd name="T6" fmla="*/ 0 w 303"/>
                <a:gd name="T7" fmla="*/ 121 h 237"/>
                <a:gd name="T8" fmla="*/ 116 w 303"/>
                <a:gd name="T9" fmla="*/ 237 h 237"/>
                <a:gd name="T10" fmla="*/ 303 w 303"/>
                <a:gd name="T11" fmla="*/ 50 h 237"/>
                <a:gd name="T12" fmla="*/ 253 w 303"/>
                <a:gd name="T13" fmla="*/ 0 h 237"/>
              </a:gdLst>
              <a:ahLst/>
              <a:cxnLst>
                <a:cxn ang="0">
                  <a:pos x="T0" y="T1"/>
                </a:cxn>
                <a:cxn ang="0">
                  <a:pos x="T2" y="T3"/>
                </a:cxn>
                <a:cxn ang="0">
                  <a:pos x="T4" y="T5"/>
                </a:cxn>
                <a:cxn ang="0">
                  <a:pos x="T6" y="T7"/>
                </a:cxn>
                <a:cxn ang="0">
                  <a:pos x="T8" y="T9"/>
                </a:cxn>
                <a:cxn ang="0">
                  <a:pos x="T10" y="T11"/>
                </a:cxn>
                <a:cxn ang="0">
                  <a:pos x="T12" y="T13"/>
                </a:cxn>
              </a:cxnLst>
              <a:rect l="0" t="0" r="r" b="b"/>
              <a:pathLst>
                <a:path w="303" h="237">
                  <a:moveTo>
                    <a:pt x="253" y="0"/>
                  </a:moveTo>
                  <a:lnTo>
                    <a:pt x="116" y="138"/>
                  </a:lnTo>
                  <a:lnTo>
                    <a:pt x="50" y="71"/>
                  </a:lnTo>
                  <a:lnTo>
                    <a:pt x="0" y="121"/>
                  </a:lnTo>
                  <a:lnTo>
                    <a:pt x="116" y="237"/>
                  </a:lnTo>
                  <a:lnTo>
                    <a:pt x="303" y="50"/>
                  </a:lnTo>
                  <a:lnTo>
                    <a:pt x="253" y="0"/>
                  </a:lnTo>
                  <a:close/>
                </a:path>
              </a:pathLst>
            </a:custGeom>
            <a:solidFill>
              <a:srgbClr val="92D050"/>
            </a:solidFill>
            <a:ln>
              <a:noFill/>
            </a:ln>
          </p:spPr>
          <p:txBody>
            <a:bodyPr vert="horz" wrap="square" lIns="91440" tIns="45720" rIns="91440" bIns="45720" numCol="1" anchor="t" anchorCtr="0" compatLnSpc="1"/>
            <a:lstStyle/>
            <a:p>
              <a:endParaRPr lang="zh-CN" altLang="en-US">
                <a:cs typeface="+mn-ea"/>
                <a:sym typeface="+mn-lt"/>
              </a:endParaRPr>
            </a:p>
          </p:txBody>
        </p:sp>
      </p:grpSp>
      <p:pic>
        <p:nvPicPr>
          <p:cNvPr id="25" name="图片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8237" y="1474862"/>
            <a:ext cx="1165005" cy="1165005"/>
          </a:xfrm>
          <a:prstGeom prst="rect">
            <a:avLst/>
          </a:prstGeom>
        </p:spPr>
      </p:pic>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latin typeface="+mn-lt"/>
                <a:cs typeface="+mn-ea"/>
                <a:sym typeface="+mn-lt"/>
              </a:rPr>
              <a:t>Bureau</a:t>
            </a:r>
            <a:endParaRPr lang="zh-CN" altLang="en-US" dirty="0">
              <a:latin typeface="+mn-lt"/>
              <a:cs typeface="+mn-ea"/>
              <a:sym typeface="+mn-lt"/>
            </a:endParaRPr>
          </a:p>
        </p:txBody>
      </p:sp>
      <p:pic>
        <p:nvPicPr>
          <p:cNvPr id="50" name="Picture 4"/>
          <p:cNvPicPr>
            <a:picLocks noChangeAspect="1"/>
          </p:cNvPicPr>
          <p:nvPr/>
        </p:nvPicPr>
        <p:blipFill rotWithShape="1">
          <a:blip r:embed="rId3" cstate="print"/>
          <a:srcRect/>
          <a:stretch>
            <a:fillRect/>
          </a:stretch>
        </p:blipFill>
        <p:spPr>
          <a:xfrm>
            <a:off x="-14645" y="1119848"/>
            <a:ext cx="12450734" cy="4347904"/>
          </a:xfrm>
          <a:prstGeom prst="rect">
            <a:avLst/>
          </a:prstGeom>
        </p:spPr>
      </p:pic>
      <p:sp>
        <p:nvSpPr>
          <p:cNvPr id="52" name="平行四边形 51"/>
          <p:cNvSpPr/>
          <p:nvPr/>
        </p:nvSpPr>
        <p:spPr>
          <a:xfrm>
            <a:off x="-365371" y="5966115"/>
            <a:ext cx="6766486" cy="358144"/>
          </a:xfrm>
          <a:prstGeom prst="parallelogram">
            <a:avLst>
              <a:gd name="adj" fmla="val 38158"/>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dirty="0">
              <a:cs typeface="+mn-ea"/>
              <a:sym typeface="+mn-lt"/>
            </a:endParaRPr>
          </a:p>
        </p:txBody>
      </p:sp>
      <p:sp>
        <p:nvSpPr>
          <p:cNvPr id="7" name="平行四边形 6"/>
          <p:cNvSpPr/>
          <p:nvPr/>
        </p:nvSpPr>
        <p:spPr>
          <a:xfrm>
            <a:off x="731897" y="5332177"/>
            <a:ext cx="11871636" cy="354661"/>
          </a:xfrm>
          <a:prstGeom prst="parallelogram">
            <a:avLst>
              <a:gd name="adj" fmla="val 38158"/>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cs typeface="+mn-ea"/>
              <a:sym typeface="+mn-lt"/>
            </a:endParaRPr>
          </a:p>
        </p:txBody>
      </p:sp>
      <p:sp>
        <p:nvSpPr>
          <p:cNvPr id="8" name="文本框 7"/>
          <p:cNvSpPr txBox="1"/>
          <p:nvPr/>
        </p:nvSpPr>
        <p:spPr>
          <a:xfrm>
            <a:off x="640458" y="5223275"/>
            <a:ext cx="15064998" cy="572464"/>
          </a:xfrm>
          <a:prstGeom prst="rect">
            <a:avLst/>
          </a:prstGeom>
          <a:noFill/>
        </p:spPr>
        <p:txBody>
          <a:bodyPr wrap="square" lIns="182880" tIns="146304" rIns="182880" bIns="146304" rtlCol="0">
            <a:spAutoFit/>
          </a:bodyPr>
          <a:lstStyle/>
          <a:p>
            <a:r>
              <a:rPr lang="fr-FR" altLang="zh-CN" sz="1700" dirty="0">
                <a:solidFill>
                  <a:schemeClr val="tx1">
                    <a:lumMod val="50000"/>
                  </a:schemeClr>
                </a:solidFill>
                <a:cs typeface="+mn-ea"/>
                <a:sym typeface="+mn-lt"/>
              </a:rPr>
              <a:t>L'analyse du DSS aide les </a:t>
            </a:r>
            <a:r>
              <a:rPr lang="fr-FR" altLang="zh-CN" dirty="0" smtClean="0">
                <a:solidFill>
                  <a:srgbClr val="222222"/>
                </a:solidFill>
                <a:latin typeface="Century Gothic" panose="020B0502020202020204" pitchFamily="34" charset="0"/>
              </a:rPr>
              <a:t>commerçants</a:t>
            </a:r>
            <a:r>
              <a:rPr lang="fr-FR" altLang="zh-CN" sz="1700" dirty="0" smtClean="0">
                <a:solidFill>
                  <a:schemeClr val="tx1">
                    <a:lumMod val="50000"/>
                  </a:schemeClr>
                </a:solidFill>
                <a:cs typeface="+mn-ea"/>
                <a:sym typeface="+mn-lt"/>
              </a:rPr>
              <a:t> </a:t>
            </a:r>
            <a:r>
              <a:rPr lang="fr-FR" altLang="zh-CN" sz="1700" dirty="0">
                <a:solidFill>
                  <a:schemeClr val="tx1">
                    <a:lumMod val="50000"/>
                  </a:schemeClr>
                </a:solidFill>
                <a:cs typeface="+mn-ea"/>
                <a:sym typeface="+mn-lt"/>
              </a:rPr>
              <a:t>à gérer </a:t>
            </a:r>
            <a:r>
              <a:rPr lang="fr-FR" altLang="zh-CN" sz="1700" dirty="0" smtClean="0">
                <a:solidFill>
                  <a:schemeClr val="tx1">
                    <a:lumMod val="50000"/>
                  </a:schemeClr>
                </a:solidFill>
                <a:cs typeface="+mn-ea"/>
                <a:sym typeface="+mn-lt"/>
              </a:rPr>
              <a:t>le point de vente, extraire des statistiques</a:t>
            </a:r>
            <a:endParaRPr lang="en-US" altLang="zh-CN" sz="1700" dirty="0">
              <a:solidFill>
                <a:schemeClr val="bg1"/>
              </a:solidFill>
              <a:cs typeface="+mn-ea"/>
              <a:sym typeface="+mn-lt"/>
            </a:endParaRPr>
          </a:p>
        </p:txBody>
      </p:sp>
      <p:sp>
        <p:nvSpPr>
          <p:cNvPr id="9" name="平行四边形 8"/>
          <p:cNvSpPr/>
          <p:nvPr/>
        </p:nvSpPr>
        <p:spPr>
          <a:xfrm>
            <a:off x="-501939" y="5966115"/>
            <a:ext cx="7451687" cy="358144"/>
          </a:xfrm>
          <a:prstGeom prst="parallelogram">
            <a:avLst>
              <a:gd name="adj" fmla="val 381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ltLang="zh-CN" dirty="0">
                <a:cs typeface="+mn-ea"/>
                <a:sym typeface="+mn-lt"/>
              </a:rPr>
              <a:t>Gérez les magasins avec la visualisation des données</a:t>
            </a:r>
            <a:endParaRPr lang="en-US" altLang="zh-CN" dirty="0">
              <a:cs typeface="+mn-ea"/>
              <a:sym typeface="+mn-lt"/>
            </a:endParaRPr>
          </a:p>
        </p:txBody>
      </p:sp>
    </p:spTree>
    <p:custDataLst>
      <p:tags r:id="rId1"/>
    </p:custData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a:t>Rapports sur APP</a:t>
            </a:r>
            <a:endParaRPr lang="zh-CN" altLang="en-US" dirty="0"/>
          </a:p>
        </p:txBody>
      </p:sp>
      <p:pic>
        <p:nvPicPr>
          <p:cNvPr id="3" name="图片 2"/>
          <p:cNvPicPr>
            <a:picLocks noChangeAspect="1"/>
          </p:cNvPicPr>
          <p:nvPr/>
        </p:nvPicPr>
        <p:blipFill>
          <a:blip r:embed="rId2"/>
          <a:stretch>
            <a:fillRect/>
          </a:stretch>
        </p:blipFill>
        <p:spPr>
          <a:xfrm>
            <a:off x="667426" y="2002120"/>
            <a:ext cx="4543122" cy="4075282"/>
          </a:xfrm>
          <a:prstGeom prst="rect">
            <a:avLst/>
          </a:prstGeom>
        </p:spPr>
      </p:pic>
      <p:pic>
        <p:nvPicPr>
          <p:cNvPr id="5" name="Picture 2"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0261" y="2096832"/>
            <a:ext cx="2584077" cy="2953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3654" y="2096832"/>
            <a:ext cx="2945020" cy="2953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5"/>
          <p:cNvSpPr txBox="1"/>
          <p:nvPr/>
        </p:nvSpPr>
        <p:spPr>
          <a:xfrm>
            <a:off x="667426" y="1305313"/>
            <a:ext cx="11410545" cy="369332"/>
          </a:xfrm>
          <a:prstGeom prst="rect">
            <a:avLst/>
          </a:prstGeom>
          <a:noFill/>
        </p:spPr>
        <p:txBody>
          <a:bodyPr wrap="square" rtlCol="0">
            <a:spAutoFit/>
          </a:bodyPr>
          <a:lstStyle/>
          <a:p>
            <a:r>
              <a:rPr lang="fr-FR" altLang="zh-CN" dirty="0"/>
              <a:t> Surveiller les performances de votre boutique partout et à tout moment.</a:t>
            </a:r>
            <a:endParaRPr lang="zh-CN" altLang="zh-CN" dirty="0"/>
          </a:p>
        </p:txBody>
      </p:sp>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标题 1"/>
          <p:cNvSpPr>
            <a:spLocks noGrp="1"/>
          </p:cNvSpPr>
          <p:nvPr>
            <p:ph type="title"/>
          </p:nvPr>
        </p:nvSpPr>
        <p:spPr>
          <a:xfrm>
            <a:off x="253140" y="306045"/>
            <a:ext cx="11192828" cy="946413"/>
          </a:xfrm>
        </p:spPr>
        <p:txBody>
          <a:bodyPr/>
          <a:lstStyle/>
          <a:p>
            <a:r>
              <a:rPr lang="en-US" altLang="zh-CN" dirty="0">
                <a:cs typeface="+mn-ea"/>
                <a:sym typeface="+mn-lt"/>
              </a:rPr>
              <a:t>Bureau</a:t>
            </a:r>
            <a:r>
              <a:rPr lang="en-US" altLang="zh-CN" dirty="0">
                <a:latin typeface="+mn-lt"/>
                <a:cs typeface="+mn-ea"/>
                <a:sym typeface="+mn-lt"/>
              </a:rPr>
              <a:t> | Gestion du </a:t>
            </a:r>
            <a:r>
              <a:rPr lang="en-US" altLang="zh-CN" dirty="0" err="1">
                <a:latin typeface="+mn-lt"/>
                <a:cs typeface="+mn-ea"/>
                <a:sym typeface="+mn-lt"/>
              </a:rPr>
              <a:t>magasin</a:t>
            </a:r>
            <a:endParaRPr lang="zh-CN" altLang="en-US" sz="3600" dirty="0">
              <a:latin typeface="+mn-lt"/>
              <a:cs typeface="+mn-ea"/>
              <a:sym typeface="+mn-lt"/>
            </a:endParaRPr>
          </a:p>
        </p:txBody>
      </p:sp>
      <p:pic>
        <p:nvPicPr>
          <p:cNvPr id="24" name="图片 23"/>
          <p:cNvPicPr>
            <a:picLocks noChangeAspect="1"/>
          </p:cNvPicPr>
          <p:nvPr/>
        </p:nvPicPr>
        <p:blipFill rotWithShape="1">
          <a:blip r:embed="rId4" cstate="print"/>
          <a:srcRect/>
          <a:stretch>
            <a:fillRect/>
          </a:stretch>
        </p:blipFill>
        <p:spPr>
          <a:xfrm>
            <a:off x="392415" y="2662379"/>
            <a:ext cx="2651731" cy="2269038"/>
          </a:xfrm>
          <a:prstGeom prst="ellipse">
            <a:avLst/>
          </a:prstGeom>
        </p:spPr>
      </p:pic>
      <p:cxnSp>
        <p:nvCxnSpPr>
          <p:cNvPr id="30" name="直接箭头连接符 29"/>
          <p:cNvCxnSpPr/>
          <p:nvPr/>
        </p:nvCxnSpPr>
        <p:spPr>
          <a:xfrm>
            <a:off x="3449605" y="3894368"/>
            <a:ext cx="5577779"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31" name="组合 30"/>
          <p:cNvGrpSpPr/>
          <p:nvPr/>
        </p:nvGrpSpPr>
        <p:grpSpPr>
          <a:xfrm>
            <a:off x="8033837" y="1931437"/>
            <a:ext cx="4186150" cy="4322243"/>
            <a:chOff x="8703681" y="2070692"/>
            <a:chExt cx="4186150" cy="4322243"/>
          </a:xfrm>
        </p:grpSpPr>
        <p:pic>
          <p:nvPicPr>
            <p:cNvPr id="32" name="图片 31"/>
            <p:cNvPicPr>
              <a:picLocks noChangeAspect="1"/>
            </p:cNvPicPr>
            <p:nvPr/>
          </p:nvPicPr>
          <p:blipFill>
            <a:blip r:embed="rId5" cstate="print">
              <a:clrChange>
                <a:clrFrom>
                  <a:srgbClr val="F8F8FA"/>
                </a:clrFrom>
                <a:clrTo>
                  <a:srgbClr val="F8F8FA">
                    <a:alpha val="0"/>
                  </a:srgbClr>
                </a:clrTo>
              </a:clrChange>
            </a:blip>
            <a:stretch>
              <a:fillRect/>
            </a:stretch>
          </p:blipFill>
          <p:spPr>
            <a:xfrm>
              <a:off x="9510041" y="2070692"/>
              <a:ext cx="2303773" cy="3245526"/>
            </a:xfrm>
            <a:prstGeom prst="rect">
              <a:avLst/>
            </a:prstGeom>
          </p:spPr>
        </p:pic>
        <p:sp>
          <p:nvSpPr>
            <p:cNvPr id="33" name="TextBox 11"/>
            <p:cNvSpPr txBox="1"/>
            <p:nvPr/>
          </p:nvSpPr>
          <p:spPr>
            <a:xfrm>
              <a:off x="8703681" y="4946385"/>
              <a:ext cx="4186150" cy="1446550"/>
            </a:xfrm>
            <a:prstGeom prst="rect">
              <a:avLst/>
            </a:prstGeom>
            <a:noFill/>
          </p:spPr>
          <p:txBody>
            <a:bodyPr wrap="squar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nSpc>
                  <a:spcPct val="90000"/>
                </a:lnSpc>
                <a:spcAft>
                  <a:spcPts val="600"/>
                </a:spcAft>
              </a:pPr>
              <a:r>
                <a:rPr lang="fr-FR" altLang="zh-CN" dirty="0">
                  <a:gradFill>
                    <a:gsLst>
                      <a:gs pos="2917">
                        <a:schemeClr val="tx1"/>
                      </a:gs>
                      <a:gs pos="30000">
                        <a:schemeClr val="tx1"/>
                      </a:gs>
                    </a:gsLst>
                    <a:lin ang="5400000" scaled="0"/>
                  </a:gradFill>
                  <a:cs typeface="+mn-ea"/>
                  <a:sym typeface="+mn-lt"/>
                </a:rPr>
                <a:t>Gérez depuis </a:t>
              </a:r>
              <a:r>
                <a:rPr lang="fr-FR" altLang="zh-CN" dirty="0" smtClean="0">
                  <a:gradFill>
                    <a:gsLst>
                      <a:gs pos="2917">
                        <a:schemeClr val="tx1"/>
                      </a:gs>
                      <a:gs pos="30000">
                        <a:schemeClr val="tx1"/>
                      </a:gs>
                    </a:gsLst>
                    <a:lin ang="5400000" scaled="0"/>
                  </a:gradFill>
                  <a:cs typeface="+mn-ea"/>
                  <a:sym typeface="+mn-lt"/>
                </a:rPr>
                <a:t>votre smartphone ou tablette</a:t>
              </a:r>
            </a:p>
            <a:p>
              <a:pPr>
                <a:lnSpc>
                  <a:spcPct val="90000"/>
                </a:lnSpc>
                <a:spcAft>
                  <a:spcPts val="600"/>
                </a:spcAft>
              </a:pPr>
              <a:r>
                <a:rPr lang="fr-FR" altLang="zh-CN" dirty="0" smtClean="0">
                  <a:gradFill>
                    <a:gsLst>
                      <a:gs pos="2917">
                        <a:schemeClr val="tx1"/>
                      </a:gs>
                      <a:gs pos="30000">
                        <a:schemeClr val="tx1"/>
                      </a:gs>
                    </a:gsLst>
                    <a:lin ang="5400000" scaled="0"/>
                  </a:gradFill>
                  <a:cs typeface="+mn-ea"/>
                  <a:sym typeface="+mn-lt"/>
                </a:rPr>
                <a:t>L’information en temps réel</a:t>
              </a:r>
              <a:endParaRPr lang="fr-FR" altLang="zh-CN" dirty="0">
                <a:gradFill>
                  <a:gsLst>
                    <a:gs pos="2917">
                      <a:schemeClr val="tx1"/>
                    </a:gs>
                    <a:gs pos="30000">
                      <a:schemeClr val="tx1"/>
                    </a:gs>
                  </a:gsLst>
                  <a:lin ang="5400000" scaled="0"/>
                </a:gradFill>
                <a:cs typeface="+mn-ea"/>
                <a:sym typeface="+mn-lt"/>
              </a:endParaRPr>
            </a:p>
            <a:p>
              <a:pPr>
                <a:lnSpc>
                  <a:spcPct val="90000"/>
                </a:lnSpc>
                <a:spcAft>
                  <a:spcPts val="600"/>
                </a:spcAft>
              </a:pPr>
              <a:endParaRPr lang="fr-FR" altLang="zh-CN" dirty="0">
                <a:gradFill>
                  <a:gsLst>
                    <a:gs pos="2917">
                      <a:schemeClr val="tx1"/>
                    </a:gs>
                    <a:gs pos="30000">
                      <a:schemeClr val="tx1"/>
                    </a:gs>
                  </a:gsLst>
                  <a:lin ang="5400000" scaled="0"/>
                </a:gradFill>
                <a:cs typeface="+mn-ea"/>
                <a:sym typeface="+mn-lt"/>
              </a:endParaRPr>
            </a:p>
          </p:txBody>
        </p:sp>
      </p:grpSp>
      <p:grpSp>
        <p:nvGrpSpPr>
          <p:cNvPr id="34" name="组合 33"/>
          <p:cNvGrpSpPr/>
          <p:nvPr/>
        </p:nvGrpSpPr>
        <p:grpSpPr>
          <a:xfrm>
            <a:off x="4479105" y="1668482"/>
            <a:ext cx="3296197" cy="2176504"/>
            <a:chOff x="5960392" y="1581562"/>
            <a:chExt cx="3296197" cy="2176504"/>
          </a:xfrm>
        </p:grpSpPr>
        <p:grpSp>
          <p:nvGrpSpPr>
            <p:cNvPr id="35" name="组合 34"/>
            <p:cNvGrpSpPr/>
            <p:nvPr/>
          </p:nvGrpSpPr>
          <p:grpSpPr>
            <a:xfrm>
              <a:off x="5960392" y="1581562"/>
              <a:ext cx="3296197" cy="2176504"/>
              <a:chOff x="4757210" y="1809334"/>
              <a:chExt cx="3296197" cy="2176504"/>
            </a:xfrm>
          </p:grpSpPr>
          <p:grpSp>
            <p:nvGrpSpPr>
              <p:cNvPr id="37" name="Group 5"/>
              <p:cNvGrpSpPr/>
              <p:nvPr/>
            </p:nvGrpSpPr>
            <p:grpSpPr>
              <a:xfrm>
                <a:off x="4757210" y="1809334"/>
                <a:ext cx="3296197" cy="2176504"/>
                <a:chOff x="3002517" y="1966743"/>
                <a:chExt cx="6348265" cy="4378543"/>
              </a:xfrm>
            </p:grpSpPr>
            <p:grpSp>
              <p:nvGrpSpPr>
                <p:cNvPr id="53" name="Group 205"/>
                <p:cNvGrpSpPr/>
                <p:nvPr/>
              </p:nvGrpSpPr>
              <p:grpSpPr bwMode="auto">
                <a:xfrm>
                  <a:off x="3002517" y="2044313"/>
                  <a:ext cx="6348265" cy="4300973"/>
                  <a:chOff x="-412" y="1723"/>
                  <a:chExt cx="4583" cy="3105"/>
                </a:xfrm>
              </p:grpSpPr>
              <p:sp>
                <p:nvSpPr>
                  <p:cNvPr id="168" name="Freeform 5"/>
                  <p:cNvSpPr>
                    <a:spLocks noEditPoints="1"/>
                  </p:cNvSpPr>
                  <p:nvPr/>
                </p:nvSpPr>
                <p:spPr bwMode="auto">
                  <a:xfrm>
                    <a:off x="-412" y="1839"/>
                    <a:ext cx="4557" cy="2989"/>
                  </a:xfrm>
                  <a:custGeom>
                    <a:avLst/>
                    <a:gdLst>
                      <a:gd name="T0" fmla="*/ 4503 w 4557"/>
                      <a:gd name="T1" fmla="*/ 2811 h 2989"/>
                      <a:gd name="T2" fmla="*/ 50 w 4557"/>
                      <a:gd name="T3" fmla="*/ 2819 h 2989"/>
                      <a:gd name="T4" fmla="*/ 0 w 4557"/>
                      <a:gd name="T5" fmla="*/ 2903 h 2989"/>
                      <a:gd name="T6" fmla="*/ 6 w 4557"/>
                      <a:gd name="T7" fmla="*/ 2903 h 2989"/>
                      <a:gd name="T8" fmla="*/ 6 w 4557"/>
                      <a:gd name="T9" fmla="*/ 2903 h 2989"/>
                      <a:gd name="T10" fmla="*/ 10 w 4557"/>
                      <a:gd name="T11" fmla="*/ 2919 h 2989"/>
                      <a:gd name="T12" fmla="*/ 16 w 4557"/>
                      <a:gd name="T13" fmla="*/ 2935 h 2989"/>
                      <a:gd name="T14" fmla="*/ 28 w 4557"/>
                      <a:gd name="T15" fmla="*/ 2951 h 2989"/>
                      <a:gd name="T16" fmla="*/ 42 w 4557"/>
                      <a:gd name="T17" fmla="*/ 2963 h 2989"/>
                      <a:gd name="T18" fmla="*/ 58 w 4557"/>
                      <a:gd name="T19" fmla="*/ 2973 h 2989"/>
                      <a:gd name="T20" fmla="*/ 78 w 4557"/>
                      <a:gd name="T21" fmla="*/ 2981 h 2989"/>
                      <a:gd name="T22" fmla="*/ 98 w 4557"/>
                      <a:gd name="T23" fmla="*/ 2987 h 2989"/>
                      <a:gd name="T24" fmla="*/ 122 w 4557"/>
                      <a:gd name="T25" fmla="*/ 2989 h 2989"/>
                      <a:gd name="T26" fmla="*/ 4443 w 4557"/>
                      <a:gd name="T27" fmla="*/ 2989 h 2989"/>
                      <a:gd name="T28" fmla="*/ 4443 w 4557"/>
                      <a:gd name="T29" fmla="*/ 2989 h 2989"/>
                      <a:gd name="T30" fmla="*/ 4465 w 4557"/>
                      <a:gd name="T31" fmla="*/ 2987 h 2989"/>
                      <a:gd name="T32" fmla="*/ 4487 w 4557"/>
                      <a:gd name="T33" fmla="*/ 2981 h 2989"/>
                      <a:gd name="T34" fmla="*/ 4507 w 4557"/>
                      <a:gd name="T35" fmla="*/ 2973 h 2989"/>
                      <a:gd name="T36" fmla="*/ 4523 w 4557"/>
                      <a:gd name="T37" fmla="*/ 2961 h 2989"/>
                      <a:gd name="T38" fmla="*/ 4537 w 4557"/>
                      <a:gd name="T39" fmla="*/ 2949 h 2989"/>
                      <a:gd name="T40" fmla="*/ 4549 w 4557"/>
                      <a:gd name="T41" fmla="*/ 2933 h 2989"/>
                      <a:gd name="T42" fmla="*/ 4555 w 4557"/>
                      <a:gd name="T43" fmla="*/ 2917 h 2989"/>
                      <a:gd name="T44" fmla="*/ 4557 w 4557"/>
                      <a:gd name="T45" fmla="*/ 2899 h 2989"/>
                      <a:gd name="T46" fmla="*/ 2120 w 4557"/>
                      <a:gd name="T47" fmla="*/ 2899 h 2989"/>
                      <a:gd name="T48" fmla="*/ 4553 w 4557"/>
                      <a:gd name="T49" fmla="*/ 2895 h 2989"/>
                      <a:gd name="T50" fmla="*/ 4503 w 4557"/>
                      <a:gd name="T51" fmla="*/ 2811 h 2989"/>
                      <a:gd name="T52" fmla="*/ 566 w 4557"/>
                      <a:gd name="T53" fmla="*/ 0 h 2989"/>
                      <a:gd name="T54" fmla="*/ 566 w 4557"/>
                      <a:gd name="T55" fmla="*/ 0 h 2989"/>
                      <a:gd name="T56" fmla="*/ 558 w 4557"/>
                      <a:gd name="T57" fmla="*/ 16 h 2989"/>
                      <a:gd name="T58" fmla="*/ 552 w 4557"/>
                      <a:gd name="T59" fmla="*/ 34 h 2989"/>
                      <a:gd name="T60" fmla="*/ 548 w 4557"/>
                      <a:gd name="T61" fmla="*/ 52 h 2989"/>
                      <a:gd name="T62" fmla="*/ 546 w 4557"/>
                      <a:gd name="T63" fmla="*/ 72 h 2989"/>
                      <a:gd name="T64" fmla="*/ 546 w 4557"/>
                      <a:gd name="T65" fmla="*/ 1977 h 2989"/>
                      <a:gd name="T66" fmla="*/ 564 w 4557"/>
                      <a:gd name="T67" fmla="*/ 1950 h 2989"/>
                      <a:gd name="T68" fmla="*/ 566 w 4557"/>
                      <a:gd name="T69" fmla="*/ 1950 h 2989"/>
                      <a:gd name="T70" fmla="*/ 566 w 4557"/>
                      <a:gd name="T71" fmla="*/ 1950 h 2989"/>
                      <a:gd name="T72" fmla="*/ 564 w 4557"/>
                      <a:gd name="T73" fmla="*/ 1928 h 2989"/>
                      <a:gd name="T74" fmla="*/ 564 w 4557"/>
                      <a:gd name="T75" fmla="*/ 20 h 2989"/>
                      <a:gd name="T76" fmla="*/ 564 w 4557"/>
                      <a:gd name="T77" fmla="*/ 20 h 2989"/>
                      <a:gd name="T78" fmla="*/ 566 w 4557"/>
                      <a:gd name="T79" fmla="*/ 0 h 2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57" h="2989">
                        <a:moveTo>
                          <a:pt x="4503" y="2811"/>
                        </a:moveTo>
                        <a:lnTo>
                          <a:pt x="50" y="2819"/>
                        </a:lnTo>
                        <a:lnTo>
                          <a:pt x="0" y="2903"/>
                        </a:lnTo>
                        <a:lnTo>
                          <a:pt x="6" y="2903"/>
                        </a:lnTo>
                        <a:lnTo>
                          <a:pt x="6" y="2903"/>
                        </a:lnTo>
                        <a:lnTo>
                          <a:pt x="10" y="2919"/>
                        </a:lnTo>
                        <a:lnTo>
                          <a:pt x="16" y="2935"/>
                        </a:lnTo>
                        <a:lnTo>
                          <a:pt x="28" y="2951"/>
                        </a:lnTo>
                        <a:lnTo>
                          <a:pt x="42" y="2963"/>
                        </a:lnTo>
                        <a:lnTo>
                          <a:pt x="58" y="2973"/>
                        </a:lnTo>
                        <a:lnTo>
                          <a:pt x="78" y="2981"/>
                        </a:lnTo>
                        <a:lnTo>
                          <a:pt x="98" y="2987"/>
                        </a:lnTo>
                        <a:lnTo>
                          <a:pt x="122" y="2989"/>
                        </a:lnTo>
                        <a:lnTo>
                          <a:pt x="4443" y="2989"/>
                        </a:lnTo>
                        <a:lnTo>
                          <a:pt x="4443" y="2989"/>
                        </a:lnTo>
                        <a:lnTo>
                          <a:pt x="4465" y="2987"/>
                        </a:lnTo>
                        <a:lnTo>
                          <a:pt x="4487" y="2981"/>
                        </a:lnTo>
                        <a:lnTo>
                          <a:pt x="4507" y="2973"/>
                        </a:lnTo>
                        <a:lnTo>
                          <a:pt x="4523" y="2961"/>
                        </a:lnTo>
                        <a:lnTo>
                          <a:pt x="4537" y="2949"/>
                        </a:lnTo>
                        <a:lnTo>
                          <a:pt x="4549" y="2933"/>
                        </a:lnTo>
                        <a:lnTo>
                          <a:pt x="4555" y="2917"/>
                        </a:lnTo>
                        <a:lnTo>
                          <a:pt x="4557" y="2899"/>
                        </a:lnTo>
                        <a:lnTo>
                          <a:pt x="2120" y="2899"/>
                        </a:lnTo>
                        <a:lnTo>
                          <a:pt x="4553" y="2895"/>
                        </a:lnTo>
                        <a:lnTo>
                          <a:pt x="4503" y="2811"/>
                        </a:lnTo>
                        <a:close/>
                        <a:moveTo>
                          <a:pt x="566" y="0"/>
                        </a:moveTo>
                        <a:lnTo>
                          <a:pt x="566" y="0"/>
                        </a:lnTo>
                        <a:lnTo>
                          <a:pt x="558" y="16"/>
                        </a:lnTo>
                        <a:lnTo>
                          <a:pt x="552" y="34"/>
                        </a:lnTo>
                        <a:lnTo>
                          <a:pt x="548" y="52"/>
                        </a:lnTo>
                        <a:lnTo>
                          <a:pt x="546" y="72"/>
                        </a:lnTo>
                        <a:lnTo>
                          <a:pt x="546" y="1977"/>
                        </a:lnTo>
                        <a:lnTo>
                          <a:pt x="564" y="1950"/>
                        </a:lnTo>
                        <a:lnTo>
                          <a:pt x="566" y="1950"/>
                        </a:lnTo>
                        <a:lnTo>
                          <a:pt x="566" y="1950"/>
                        </a:lnTo>
                        <a:lnTo>
                          <a:pt x="564" y="1928"/>
                        </a:lnTo>
                        <a:lnTo>
                          <a:pt x="564" y="20"/>
                        </a:lnTo>
                        <a:lnTo>
                          <a:pt x="564" y="20"/>
                        </a:lnTo>
                        <a:lnTo>
                          <a:pt x="566" y="0"/>
                        </a:ln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9" name="Freeform 6"/>
                  <p:cNvSpPr/>
                  <p:nvPr/>
                </p:nvSpPr>
                <p:spPr bwMode="auto">
                  <a:xfrm>
                    <a:off x="-412" y="4650"/>
                    <a:ext cx="4557" cy="178"/>
                  </a:xfrm>
                  <a:custGeom>
                    <a:avLst/>
                    <a:gdLst>
                      <a:gd name="T0" fmla="*/ 4503 w 4557"/>
                      <a:gd name="T1" fmla="*/ 0 h 178"/>
                      <a:gd name="T2" fmla="*/ 50 w 4557"/>
                      <a:gd name="T3" fmla="*/ 8 h 178"/>
                      <a:gd name="T4" fmla="*/ 0 w 4557"/>
                      <a:gd name="T5" fmla="*/ 92 h 178"/>
                      <a:gd name="T6" fmla="*/ 6 w 4557"/>
                      <a:gd name="T7" fmla="*/ 92 h 178"/>
                      <a:gd name="T8" fmla="*/ 6 w 4557"/>
                      <a:gd name="T9" fmla="*/ 92 h 178"/>
                      <a:gd name="T10" fmla="*/ 10 w 4557"/>
                      <a:gd name="T11" fmla="*/ 108 h 178"/>
                      <a:gd name="T12" fmla="*/ 16 w 4557"/>
                      <a:gd name="T13" fmla="*/ 124 h 178"/>
                      <a:gd name="T14" fmla="*/ 28 w 4557"/>
                      <a:gd name="T15" fmla="*/ 140 h 178"/>
                      <a:gd name="T16" fmla="*/ 42 w 4557"/>
                      <a:gd name="T17" fmla="*/ 152 h 178"/>
                      <a:gd name="T18" fmla="*/ 58 w 4557"/>
                      <a:gd name="T19" fmla="*/ 162 h 178"/>
                      <a:gd name="T20" fmla="*/ 78 w 4557"/>
                      <a:gd name="T21" fmla="*/ 170 h 178"/>
                      <a:gd name="T22" fmla="*/ 98 w 4557"/>
                      <a:gd name="T23" fmla="*/ 176 h 178"/>
                      <a:gd name="T24" fmla="*/ 122 w 4557"/>
                      <a:gd name="T25" fmla="*/ 178 h 178"/>
                      <a:gd name="T26" fmla="*/ 4443 w 4557"/>
                      <a:gd name="T27" fmla="*/ 178 h 178"/>
                      <a:gd name="T28" fmla="*/ 4443 w 4557"/>
                      <a:gd name="T29" fmla="*/ 178 h 178"/>
                      <a:gd name="T30" fmla="*/ 4465 w 4557"/>
                      <a:gd name="T31" fmla="*/ 176 h 178"/>
                      <a:gd name="T32" fmla="*/ 4487 w 4557"/>
                      <a:gd name="T33" fmla="*/ 170 h 178"/>
                      <a:gd name="T34" fmla="*/ 4507 w 4557"/>
                      <a:gd name="T35" fmla="*/ 162 h 178"/>
                      <a:gd name="T36" fmla="*/ 4523 w 4557"/>
                      <a:gd name="T37" fmla="*/ 150 h 178"/>
                      <a:gd name="T38" fmla="*/ 4537 w 4557"/>
                      <a:gd name="T39" fmla="*/ 138 h 178"/>
                      <a:gd name="T40" fmla="*/ 4549 w 4557"/>
                      <a:gd name="T41" fmla="*/ 122 h 178"/>
                      <a:gd name="T42" fmla="*/ 4555 w 4557"/>
                      <a:gd name="T43" fmla="*/ 106 h 178"/>
                      <a:gd name="T44" fmla="*/ 4557 w 4557"/>
                      <a:gd name="T45" fmla="*/ 88 h 178"/>
                      <a:gd name="T46" fmla="*/ 2120 w 4557"/>
                      <a:gd name="T47" fmla="*/ 88 h 178"/>
                      <a:gd name="T48" fmla="*/ 4553 w 4557"/>
                      <a:gd name="T49" fmla="*/ 84 h 178"/>
                      <a:gd name="T50" fmla="*/ 4503 w 4557"/>
                      <a:gd name="T51"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57" h="178">
                        <a:moveTo>
                          <a:pt x="4503" y="0"/>
                        </a:moveTo>
                        <a:lnTo>
                          <a:pt x="50" y="8"/>
                        </a:lnTo>
                        <a:lnTo>
                          <a:pt x="0" y="92"/>
                        </a:lnTo>
                        <a:lnTo>
                          <a:pt x="6" y="92"/>
                        </a:lnTo>
                        <a:lnTo>
                          <a:pt x="6" y="92"/>
                        </a:lnTo>
                        <a:lnTo>
                          <a:pt x="10" y="108"/>
                        </a:lnTo>
                        <a:lnTo>
                          <a:pt x="16" y="124"/>
                        </a:lnTo>
                        <a:lnTo>
                          <a:pt x="28" y="140"/>
                        </a:lnTo>
                        <a:lnTo>
                          <a:pt x="42" y="152"/>
                        </a:lnTo>
                        <a:lnTo>
                          <a:pt x="58" y="162"/>
                        </a:lnTo>
                        <a:lnTo>
                          <a:pt x="78" y="170"/>
                        </a:lnTo>
                        <a:lnTo>
                          <a:pt x="98" y="176"/>
                        </a:lnTo>
                        <a:lnTo>
                          <a:pt x="122" y="178"/>
                        </a:lnTo>
                        <a:lnTo>
                          <a:pt x="4443" y="178"/>
                        </a:lnTo>
                        <a:lnTo>
                          <a:pt x="4443" y="178"/>
                        </a:lnTo>
                        <a:lnTo>
                          <a:pt x="4465" y="176"/>
                        </a:lnTo>
                        <a:lnTo>
                          <a:pt x="4487" y="170"/>
                        </a:lnTo>
                        <a:lnTo>
                          <a:pt x="4507" y="162"/>
                        </a:lnTo>
                        <a:lnTo>
                          <a:pt x="4523" y="150"/>
                        </a:lnTo>
                        <a:lnTo>
                          <a:pt x="4537" y="138"/>
                        </a:lnTo>
                        <a:lnTo>
                          <a:pt x="4549" y="122"/>
                        </a:lnTo>
                        <a:lnTo>
                          <a:pt x="4555" y="106"/>
                        </a:lnTo>
                        <a:lnTo>
                          <a:pt x="4557" y="88"/>
                        </a:lnTo>
                        <a:lnTo>
                          <a:pt x="2120" y="88"/>
                        </a:lnTo>
                        <a:lnTo>
                          <a:pt x="4553" y="84"/>
                        </a:lnTo>
                        <a:lnTo>
                          <a:pt x="45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0" name="Freeform 7"/>
                  <p:cNvSpPr/>
                  <p:nvPr/>
                </p:nvSpPr>
                <p:spPr bwMode="auto">
                  <a:xfrm>
                    <a:off x="134" y="1839"/>
                    <a:ext cx="20" cy="1977"/>
                  </a:xfrm>
                  <a:custGeom>
                    <a:avLst/>
                    <a:gdLst>
                      <a:gd name="T0" fmla="*/ 20 w 20"/>
                      <a:gd name="T1" fmla="*/ 0 h 1977"/>
                      <a:gd name="T2" fmla="*/ 20 w 20"/>
                      <a:gd name="T3" fmla="*/ 0 h 1977"/>
                      <a:gd name="T4" fmla="*/ 12 w 20"/>
                      <a:gd name="T5" fmla="*/ 16 h 1977"/>
                      <a:gd name="T6" fmla="*/ 6 w 20"/>
                      <a:gd name="T7" fmla="*/ 34 h 1977"/>
                      <a:gd name="T8" fmla="*/ 2 w 20"/>
                      <a:gd name="T9" fmla="*/ 52 h 1977"/>
                      <a:gd name="T10" fmla="*/ 0 w 20"/>
                      <a:gd name="T11" fmla="*/ 72 h 1977"/>
                      <a:gd name="T12" fmla="*/ 0 w 20"/>
                      <a:gd name="T13" fmla="*/ 1977 h 1977"/>
                      <a:gd name="T14" fmla="*/ 18 w 20"/>
                      <a:gd name="T15" fmla="*/ 1950 h 1977"/>
                      <a:gd name="T16" fmla="*/ 20 w 20"/>
                      <a:gd name="T17" fmla="*/ 1950 h 1977"/>
                      <a:gd name="T18" fmla="*/ 20 w 20"/>
                      <a:gd name="T19" fmla="*/ 1950 h 1977"/>
                      <a:gd name="T20" fmla="*/ 18 w 20"/>
                      <a:gd name="T21" fmla="*/ 1928 h 1977"/>
                      <a:gd name="T22" fmla="*/ 18 w 20"/>
                      <a:gd name="T23" fmla="*/ 20 h 1977"/>
                      <a:gd name="T24" fmla="*/ 18 w 20"/>
                      <a:gd name="T25" fmla="*/ 20 h 1977"/>
                      <a:gd name="T26" fmla="*/ 20 w 20"/>
                      <a:gd name="T27" fmla="*/ 0 h 1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977">
                        <a:moveTo>
                          <a:pt x="20" y="0"/>
                        </a:moveTo>
                        <a:lnTo>
                          <a:pt x="20" y="0"/>
                        </a:lnTo>
                        <a:lnTo>
                          <a:pt x="12" y="16"/>
                        </a:lnTo>
                        <a:lnTo>
                          <a:pt x="6" y="34"/>
                        </a:lnTo>
                        <a:lnTo>
                          <a:pt x="2" y="52"/>
                        </a:lnTo>
                        <a:lnTo>
                          <a:pt x="0" y="72"/>
                        </a:lnTo>
                        <a:lnTo>
                          <a:pt x="0" y="1977"/>
                        </a:lnTo>
                        <a:lnTo>
                          <a:pt x="18" y="1950"/>
                        </a:lnTo>
                        <a:lnTo>
                          <a:pt x="20" y="1950"/>
                        </a:lnTo>
                        <a:lnTo>
                          <a:pt x="20" y="1950"/>
                        </a:lnTo>
                        <a:lnTo>
                          <a:pt x="18" y="1928"/>
                        </a:lnTo>
                        <a:lnTo>
                          <a:pt x="18" y="20"/>
                        </a:lnTo>
                        <a:lnTo>
                          <a:pt x="18" y="2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1" name="Freeform 8"/>
                  <p:cNvSpPr/>
                  <p:nvPr/>
                </p:nvSpPr>
                <p:spPr bwMode="auto">
                  <a:xfrm>
                    <a:off x="152" y="1723"/>
                    <a:ext cx="3487" cy="2179"/>
                  </a:xfrm>
                  <a:custGeom>
                    <a:avLst/>
                    <a:gdLst>
                      <a:gd name="T0" fmla="*/ 3487 w 3487"/>
                      <a:gd name="T1" fmla="*/ 2044 h 2179"/>
                      <a:gd name="T2" fmla="*/ 3485 w 3487"/>
                      <a:gd name="T3" fmla="*/ 2070 h 2179"/>
                      <a:gd name="T4" fmla="*/ 3477 w 3487"/>
                      <a:gd name="T5" fmla="*/ 2097 h 2179"/>
                      <a:gd name="T6" fmla="*/ 3465 w 3487"/>
                      <a:gd name="T7" fmla="*/ 2119 h 2179"/>
                      <a:gd name="T8" fmla="*/ 3449 w 3487"/>
                      <a:gd name="T9" fmla="*/ 2139 h 2179"/>
                      <a:gd name="T10" fmla="*/ 3429 w 3487"/>
                      <a:gd name="T11" fmla="*/ 2155 h 2179"/>
                      <a:gd name="T12" fmla="*/ 3405 w 3487"/>
                      <a:gd name="T13" fmla="*/ 2167 h 2179"/>
                      <a:gd name="T14" fmla="*/ 3381 w 3487"/>
                      <a:gd name="T15" fmla="*/ 2175 h 2179"/>
                      <a:gd name="T16" fmla="*/ 3353 w 3487"/>
                      <a:gd name="T17" fmla="*/ 2179 h 2179"/>
                      <a:gd name="T18" fmla="*/ 134 w 3487"/>
                      <a:gd name="T19" fmla="*/ 2179 h 2179"/>
                      <a:gd name="T20" fmla="*/ 108 w 3487"/>
                      <a:gd name="T21" fmla="*/ 2175 h 2179"/>
                      <a:gd name="T22" fmla="*/ 82 w 3487"/>
                      <a:gd name="T23" fmla="*/ 2167 h 2179"/>
                      <a:gd name="T24" fmla="*/ 60 w 3487"/>
                      <a:gd name="T25" fmla="*/ 2155 h 2179"/>
                      <a:gd name="T26" fmla="*/ 40 w 3487"/>
                      <a:gd name="T27" fmla="*/ 2139 h 2179"/>
                      <a:gd name="T28" fmla="*/ 24 w 3487"/>
                      <a:gd name="T29" fmla="*/ 2119 h 2179"/>
                      <a:gd name="T30" fmla="*/ 10 w 3487"/>
                      <a:gd name="T31" fmla="*/ 2097 h 2179"/>
                      <a:gd name="T32" fmla="*/ 4 w 3487"/>
                      <a:gd name="T33" fmla="*/ 2070 h 2179"/>
                      <a:gd name="T34" fmla="*/ 0 w 3487"/>
                      <a:gd name="T35" fmla="*/ 2044 h 2179"/>
                      <a:gd name="T36" fmla="*/ 0 w 3487"/>
                      <a:gd name="T37" fmla="*/ 136 h 2179"/>
                      <a:gd name="T38" fmla="*/ 4 w 3487"/>
                      <a:gd name="T39" fmla="*/ 108 h 2179"/>
                      <a:gd name="T40" fmla="*/ 10 w 3487"/>
                      <a:gd name="T41" fmla="*/ 82 h 2179"/>
                      <a:gd name="T42" fmla="*/ 24 w 3487"/>
                      <a:gd name="T43" fmla="*/ 60 h 2179"/>
                      <a:gd name="T44" fmla="*/ 40 w 3487"/>
                      <a:gd name="T45" fmla="*/ 40 h 2179"/>
                      <a:gd name="T46" fmla="*/ 60 w 3487"/>
                      <a:gd name="T47" fmla="*/ 24 h 2179"/>
                      <a:gd name="T48" fmla="*/ 82 w 3487"/>
                      <a:gd name="T49" fmla="*/ 12 h 2179"/>
                      <a:gd name="T50" fmla="*/ 108 w 3487"/>
                      <a:gd name="T51" fmla="*/ 4 h 2179"/>
                      <a:gd name="T52" fmla="*/ 134 w 3487"/>
                      <a:gd name="T53" fmla="*/ 0 h 2179"/>
                      <a:gd name="T54" fmla="*/ 3353 w 3487"/>
                      <a:gd name="T55" fmla="*/ 0 h 2179"/>
                      <a:gd name="T56" fmla="*/ 3381 w 3487"/>
                      <a:gd name="T57" fmla="*/ 4 h 2179"/>
                      <a:gd name="T58" fmla="*/ 3405 w 3487"/>
                      <a:gd name="T59" fmla="*/ 12 h 2179"/>
                      <a:gd name="T60" fmla="*/ 3429 w 3487"/>
                      <a:gd name="T61" fmla="*/ 24 h 2179"/>
                      <a:gd name="T62" fmla="*/ 3449 w 3487"/>
                      <a:gd name="T63" fmla="*/ 40 h 2179"/>
                      <a:gd name="T64" fmla="*/ 3465 w 3487"/>
                      <a:gd name="T65" fmla="*/ 60 h 2179"/>
                      <a:gd name="T66" fmla="*/ 3477 w 3487"/>
                      <a:gd name="T67" fmla="*/ 82 h 2179"/>
                      <a:gd name="T68" fmla="*/ 3485 w 3487"/>
                      <a:gd name="T69" fmla="*/ 108 h 2179"/>
                      <a:gd name="T70" fmla="*/ 3487 w 3487"/>
                      <a:gd name="T71" fmla="*/ 136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87" h="2179">
                        <a:moveTo>
                          <a:pt x="3487" y="2044"/>
                        </a:moveTo>
                        <a:lnTo>
                          <a:pt x="3487" y="2044"/>
                        </a:lnTo>
                        <a:lnTo>
                          <a:pt x="3487" y="2056"/>
                        </a:lnTo>
                        <a:lnTo>
                          <a:pt x="3485" y="2070"/>
                        </a:lnTo>
                        <a:lnTo>
                          <a:pt x="3481" y="2085"/>
                        </a:lnTo>
                        <a:lnTo>
                          <a:pt x="3477" y="2097"/>
                        </a:lnTo>
                        <a:lnTo>
                          <a:pt x="3471" y="2109"/>
                        </a:lnTo>
                        <a:lnTo>
                          <a:pt x="3465" y="2119"/>
                        </a:lnTo>
                        <a:lnTo>
                          <a:pt x="3457" y="2129"/>
                        </a:lnTo>
                        <a:lnTo>
                          <a:pt x="3449" y="2139"/>
                        </a:lnTo>
                        <a:lnTo>
                          <a:pt x="3439" y="2147"/>
                        </a:lnTo>
                        <a:lnTo>
                          <a:pt x="3429" y="2155"/>
                        </a:lnTo>
                        <a:lnTo>
                          <a:pt x="3417" y="2163"/>
                        </a:lnTo>
                        <a:lnTo>
                          <a:pt x="3405" y="2167"/>
                        </a:lnTo>
                        <a:lnTo>
                          <a:pt x="3393" y="2173"/>
                        </a:lnTo>
                        <a:lnTo>
                          <a:pt x="3381" y="2175"/>
                        </a:lnTo>
                        <a:lnTo>
                          <a:pt x="3367" y="2177"/>
                        </a:lnTo>
                        <a:lnTo>
                          <a:pt x="3353" y="2179"/>
                        </a:lnTo>
                        <a:lnTo>
                          <a:pt x="134" y="2179"/>
                        </a:lnTo>
                        <a:lnTo>
                          <a:pt x="134" y="2179"/>
                        </a:lnTo>
                        <a:lnTo>
                          <a:pt x="120" y="2177"/>
                        </a:lnTo>
                        <a:lnTo>
                          <a:pt x="108" y="2175"/>
                        </a:lnTo>
                        <a:lnTo>
                          <a:pt x="94" y="2173"/>
                        </a:lnTo>
                        <a:lnTo>
                          <a:pt x="82" y="2167"/>
                        </a:lnTo>
                        <a:lnTo>
                          <a:pt x="70" y="2163"/>
                        </a:lnTo>
                        <a:lnTo>
                          <a:pt x="60" y="2155"/>
                        </a:lnTo>
                        <a:lnTo>
                          <a:pt x="50" y="2147"/>
                        </a:lnTo>
                        <a:lnTo>
                          <a:pt x="40" y="2139"/>
                        </a:lnTo>
                        <a:lnTo>
                          <a:pt x="32" y="2129"/>
                        </a:lnTo>
                        <a:lnTo>
                          <a:pt x="24" y="2119"/>
                        </a:lnTo>
                        <a:lnTo>
                          <a:pt x="16" y="2109"/>
                        </a:lnTo>
                        <a:lnTo>
                          <a:pt x="10" y="2097"/>
                        </a:lnTo>
                        <a:lnTo>
                          <a:pt x="6" y="2085"/>
                        </a:lnTo>
                        <a:lnTo>
                          <a:pt x="4" y="2070"/>
                        </a:lnTo>
                        <a:lnTo>
                          <a:pt x="2" y="2056"/>
                        </a:lnTo>
                        <a:lnTo>
                          <a:pt x="0" y="2044"/>
                        </a:lnTo>
                        <a:lnTo>
                          <a:pt x="0" y="136"/>
                        </a:lnTo>
                        <a:lnTo>
                          <a:pt x="0" y="136"/>
                        </a:lnTo>
                        <a:lnTo>
                          <a:pt x="2" y="122"/>
                        </a:lnTo>
                        <a:lnTo>
                          <a:pt x="4" y="108"/>
                        </a:lnTo>
                        <a:lnTo>
                          <a:pt x="6" y="96"/>
                        </a:lnTo>
                        <a:lnTo>
                          <a:pt x="10" y="82"/>
                        </a:lnTo>
                        <a:lnTo>
                          <a:pt x="16" y="72"/>
                        </a:lnTo>
                        <a:lnTo>
                          <a:pt x="24" y="60"/>
                        </a:lnTo>
                        <a:lnTo>
                          <a:pt x="32" y="50"/>
                        </a:lnTo>
                        <a:lnTo>
                          <a:pt x="40" y="40"/>
                        </a:lnTo>
                        <a:lnTo>
                          <a:pt x="50" y="32"/>
                        </a:lnTo>
                        <a:lnTo>
                          <a:pt x="60" y="24"/>
                        </a:lnTo>
                        <a:lnTo>
                          <a:pt x="70" y="18"/>
                        </a:lnTo>
                        <a:lnTo>
                          <a:pt x="82" y="12"/>
                        </a:lnTo>
                        <a:lnTo>
                          <a:pt x="94" y="6"/>
                        </a:lnTo>
                        <a:lnTo>
                          <a:pt x="108" y="4"/>
                        </a:lnTo>
                        <a:lnTo>
                          <a:pt x="120" y="2"/>
                        </a:lnTo>
                        <a:lnTo>
                          <a:pt x="134" y="0"/>
                        </a:lnTo>
                        <a:lnTo>
                          <a:pt x="3353" y="0"/>
                        </a:lnTo>
                        <a:lnTo>
                          <a:pt x="3353" y="0"/>
                        </a:lnTo>
                        <a:lnTo>
                          <a:pt x="3367" y="2"/>
                        </a:lnTo>
                        <a:lnTo>
                          <a:pt x="3381" y="4"/>
                        </a:lnTo>
                        <a:lnTo>
                          <a:pt x="3393" y="6"/>
                        </a:lnTo>
                        <a:lnTo>
                          <a:pt x="3405" y="12"/>
                        </a:lnTo>
                        <a:lnTo>
                          <a:pt x="3417" y="18"/>
                        </a:lnTo>
                        <a:lnTo>
                          <a:pt x="3429" y="24"/>
                        </a:lnTo>
                        <a:lnTo>
                          <a:pt x="3439" y="32"/>
                        </a:lnTo>
                        <a:lnTo>
                          <a:pt x="3449" y="40"/>
                        </a:lnTo>
                        <a:lnTo>
                          <a:pt x="3457" y="50"/>
                        </a:lnTo>
                        <a:lnTo>
                          <a:pt x="3465" y="60"/>
                        </a:lnTo>
                        <a:lnTo>
                          <a:pt x="3471" y="72"/>
                        </a:lnTo>
                        <a:lnTo>
                          <a:pt x="3477" y="82"/>
                        </a:lnTo>
                        <a:lnTo>
                          <a:pt x="3481" y="96"/>
                        </a:lnTo>
                        <a:lnTo>
                          <a:pt x="3485" y="108"/>
                        </a:lnTo>
                        <a:lnTo>
                          <a:pt x="3487" y="122"/>
                        </a:lnTo>
                        <a:lnTo>
                          <a:pt x="3487" y="136"/>
                        </a:lnTo>
                        <a:lnTo>
                          <a:pt x="3487" y="2044"/>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2" name="Freeform 9"/>
                  <p:cNvSpPr/>
                  <p:nvPr/>
                </p:nvSpPr>
                <p:spPr bwMode="auto">
                  <a:xfrm>
                    <a:off x="152" y="1723"/>
                    <a:ext cx="3487" cy="2179"/>
                  </a:xfrm>
                  <a:custGeom>
                    <a:avLst/>
                    <a:gdLst>
                      <a:gd name="T0" fmla="*/ 3487 w 3487"/>
                      <a:gd name="T1" fmla="*/ 2044 h 2179"/>
                      <a:gd name="T2" fmla="*/ 3485 w 3487"/>
                      <a:gd name="T3" fmla="*/ 2070 h 2179"/>
                      <a:gd name="T4" fmla="*/ 3477 w 3487"/>
                      <a:gd name="T5" fmla="*/ 2097 h 2179"/>
                      <a:gd name="T6" fmla="*/ 3465 w 3487"/>
                      <a:gd name="T7" fmla="*/ 2119 h 2179"/>
                      <a:gd name="T8" fmla="*/ 3449 w 3487"/>
                      <a:gd name="T9" fmla="*/ 2139 h 2179"/>
                      <a:gd name="T10" fmla="*/ 3429 w 3487"/>
                      <a:gd name="T11" fmla="*/ 2155 h 2179"/>
                      <a:gd name="T12" fmla="*/ 3405 w 3487"/>
                      <a:gd name="T13" fmla="*/ 2167 h 2179"/>
                      <a:gd name="T14" fmla="*/ 3381 w 3487"/>
                      <a:gd name="T15" fmla="*/ 2175 h 2179"/>
                      <a:gd name="T16" fmla="*/ 3353 w 3487"/>
                      <a:gd name="T17" fmla="*/ 2179 h 2179"/>
                      <a:gd name="T18" fmla="*/ 134 w 3487"/>
                      <a:gd name="T19" fmla="*/ 2179 h 2179"/>
                      <a:gd name="T20" fmla="*/ 108 w 3487"/>
                      <a:gd name="T21" fmla="*/ 2175 h 2179"/>
                      <a:gd name="T22" fmla="*/ 82 w 3487"/>
                      <a:gd name="T23" fmla="*/ 2167 h 2179"/>
                      <a:gd name="T24" fmla="*/ 60 w 3487"/>
                      <a:gd name="T25" fmla="*/ 2155 h 2179"/>
                      <a:gd name="T26" fmla="*/ 40 w 3487"/>
                      <a:gd name="T27" fmla="*/ 2139 h 2179"/>
                      <a:gd name="T28" fmla="*/ 24 w 3487"/>
                      <a:gd name="T29" fmla="*/ 2119 h 2179"/>
                      <a:gd name="T30" fmla="*/ 10 w 3487"/>
                      <a:gd name="T31" fmla="*/ 2097 h 2179"/>
                      <a:gd name="T32" fmla="*/ 4 w 3487"/>
                      <a:gd name="T33" fmla="*/ 2070 h 2179"/>
                      <a:gd name="T34" fmla="*/ 0 w 3487"/>
                      <a:gd name="T35" fmla="*/ 2044 h 2179"/>
                      <a:gd name="T36" fmla="*/ 0 w 3487"/>
                      <a:gd name="T37" fmla="*/ 136 h 2179"/>
                      <a:gd name="T38" fmla="*/ 4 w 3487"/>
                      <a:gd name="T39" fmla="*/ 108 h 2179"/>
                      <a:gd name="T40" fmla="*/ 10 w 3487"/>
                      <a:gd name="T41" fmla="*/ 82 h 2179"/>
                      <a:gd name="T42" fmla="*/ 24 w 3487"/>
                      <a:gd name="T43" fmla="*/ 60 h 2179"/>
                      <a:gd name="T44" fmla="*/ 40 w 3487"/>
                      <a:gd name="T45" fmla="*/ 40 h 2179"/>
                      <a:gd name="T46" fmla="*/ 60 w 3487"/>
                      <a:gd name="T47" fmla="*/ 24 h 2179"/>
                      <a:gd name="T48" fmla="*/ 82 w 3487"/>
                      <a:gd name="T49" fmla="*/ 12 h 2179"/>
                      <a:gd name="T50" fmla="*/ 108 w 3487"/>
                      <a:gd name="T51" fmla="*/ 4 h 2179"/>
                      <a:gd name="T52" fmla="*/ 134 w 3487"/>
                      <a:gd name="T53" fmla="*/ 0 h 2179"/>
                      <a:gd name="T54" fmla="*/ 3353 w 3487"/>
                      <a:gd name="T55" fmla="*/ 0 h 2179"/>
                      <a:gd name="T56" fmla="*/ 3381 w 3487"/>
                      <a:gd name="T57" fmla="*/ 4 h 2179"/>
                      <a:gd name="T58" fmla="*/ 3405 w 3487"/>
                      <a:gd name="T59" fmla="*/ 12 h 2179"/>
                      <a:gd name="T60" fmla="*/ 3429 w 3487"/>
                      <a:gd name="T61" fmla="*/ 24 h 2179"/>
                      <a:gd name="T62" fmla="*/ 3449 w 3487"/>
                      <a:gd name="T63" fmla="*/ 40 h 2179"/>
                      <a:gd name="T64" fmla="*/ 3465 w 3487"/>
                      <a:gd name="T65" fmla="*/ 60 h 2179"/>
                      <a:gd name="T66" fmla="*/ 3477 w 3487"/>
                      <a:gd name="T67" fmla="*/ 82 h 2179"/>
                      <a:gd name="T68" fmla="*/ 3485 w 3487"/>
                      <a:gd name="T69" fmla="*/ 108 h 2179"/>
                      <a:gd name="T70" fmla="*/ 3487 w 3487"/>
                      <a:gd name="T71" fmla="*/ 136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87" h="2179">
                        <a:moveTo>
                          <a:pt x="3487" y="2044"/>
                        </a:moveTo>
                        <a:lnTo>
                          <a:pt x="3487" y="2044"/>
                        </a:lnTo>
                        <a:lnTo>
                          <a:pt x="3487" y="2056"/>
                        </a:lnTo>
                        <a:lnTo>
                          <a:pt x="3485" y="2070"/>
                        </a:lnTo>
                        <a:lnTo>
                          <a:pt x="3481" y="2085"/>
                        </a:lnTo>
                        <a:lnTo>
                          <a:pt x="3477" y="2097"/>
                        </a:lnTo>
                        <a:lnTo>
                          <a:pt x="3471" y="2109"/>
                        </a:lnTo>
                        <a:lnTo>
                          <a:pt x="3465" y="2119"/>
                        </a:lnTo>
                        <a:lnTo>
                          <a:pt x="3457" y="2129"/>
                        </a:lnTo>
                        <a:lnTo>
                          <a:pt x="3449" y="2139"/>
                        </a:lnTo>
                        <a:lnTo>
                          <a:pt x="3439" y="2147"/>
                        </a:lnTo>
                        <a:lnTo>
                          <a:pt x="3429" y="2155"/>
                        </a:lnTo>
                        <a:lnTo>
                          <a:pt x="3417" y="2163"/>
                        </a:lnTo>
                        <a:lnTo>
                          <a:pt x="3405" y="2167"/>
                        </a:lnTo>
                        <a:lnTo>
                          <a:pt x="3393" y="2173"/>
                        </a:lnTo>
                        <a:lnTo>
                          <a:pt x="3381" y="2175"/>
                        </a:lnTo>
                        <a:lnTo>
                          <a:pt x="3367" y="2177"/>
                        </a:lnTo>
                        <a:lnTo>
                          <a:pt x="3353" y="2179"/>
                        </a:lnTo>
                        <a:lnTo>
                          <a:pt x="134" y="2179"/>
                        </a:lnTo>
                        <a:lnTo>
                          <a:pt x="134" y="2179"/>
                        </a:lnTo>
                        <a:lnTo>
                          <a:pt x="120" y="2177"/>
                        </a:lnTo>
                        <a:lnTo>
                          <a:pt x="108" y="2175"/>
                        </a:lnTo>
                        <a:lnTo>
                          <a:pt x="94" y="2173"/>
                        </a:lnTo>
                        <a:lnTo>
                          <a:pt x="82" y="2167"/>
                        </a:lnTo>
                        <a:lnTo>
                          <a:pt x="70" y="2163"/>
                        </a:lnTo>
                        <a:lnTo>
                          <a:pt x="60" y="2155"/>
                        </a:lnTo>
                        <a:lnTo>
                          <a:pt x="50" y="2147"/>
                        </a:lnTo>
                        <a:lnTo>
                          <a:pt x="40" y="2139"/>
                        </a:lnTo>
                        <a:lnTo>
                          <a:pt x="32" y="2129"/>
                        </a:lnTo>
                        <a:lnTo>
                          <a:pt x="24" y="2119"/>
                        </a:lnTo>
                        <a:lnTo>
                          <a:pt x="16" y="2109"/>
                        </a:lnTo>
                        <a:lnTo>
                          <a:pt x="10" y="2097"/>
                        </a:lnTo>
                        <a:lnTo>
                          <a:pt x="6" y="2085"/>
                        </a:lnTo>
                        <a:lnTo>
                          <a:pt x="4" y="2070"/>
                        </a:lnTo>
                        <a:lnTo>
                          <a:pt x="2" y="2056"/>
                        </a:lnTo>
                        <a:lnTo>
                          <a:pt x="0" y="2044"/>
                        </a:lnTo>
                        <a:lnTo>
                          <a:pt x="0" y="136"/>
                        </a:lnTo>
                        <a:lnTo>
                          <a:pt x="0" y="136"/>
                        </a:lnTo>
                        <a:lnTo>
                          <a:pt x="2" y="122"/>
                        </a:lnTo>
                        <a:lnTo>
                          <a:pt x="4" y="108"/>
                        </a:lnTo>
                        <a:lnTo>
                          <a:pt x="6" y="96"/>
                        </a:lnTo>
                        <a:lnTo>
                          <a:pt x="10" y="82"/>
                        </a:lnTo>
                        <a:lnTo>
                          <a:pt x="16" y="72"/>
                        </a:lnTo>
                        <a:lnTo>
                          <a:pt x="24" y="60"/>
                        </a:lnTo>
                        <a:lnTo>
                          <a:pt x="32" y="50"/>
                        </a:lnTo>
                        <a:lnTo>
                          <a:pt x="40" y="40"/>
                        </a:lnTo>
                        <a:lnTo>
                          <a:pt x="50" y="32"/>
                        </a:lnTo>
                        <a:lnTo>
                          <a:pt x="60" y="24"/>
                        </a:lnTo>
                        <a:lnTo>
                          <a:pt x="70" y="18"/>
                        </a:lnTo>
                        <a:lnTo>
                          <a:pt x="82" y="12"/>
                        </a:lnTo>
                        <a:lnTo>
                          <a:pt x="94" y="6"/>
                        </a:lnTo>
                        <a:lnTo>
                          <a:pt x="108" y="4"/>
                        </a:lnTo>
                        <a:lnTo>
                          <a:pt x="120" y="2"/>
                        </a:lnTo>
                        <a:lnTo>
                          <a:pt x="134" y="0"/>
                        </a:lnTo>
                        <a:lnTo>
                          <a:pt x="3353" y="0"/>
                        </a:lnTo>
                        <a:lnTo>
                          <a:pt x="3353" y="0"/>
                        </a:lnTo>
                        <a:lnTo>
                          <a:pt x="3367" y="2"/>
                        </a:lnTo>
                        <a:lnTo>
                          <a:pt x="3381" y="4"/>
                        </a:lnTo>
                        <a:lnTo>
                          <a:pt x="3393" y="6"/>
                        </a:lnTo>
                        <a:lnTo>
                          <a:pt x="3405" y="12"/>
                        </a:lnTo>
                        <a:lnTo>
                          <a:pt x="3417" y="18"/>
                        </a:lnTo>
                        <a:lnTo>
                          <a:pt x="3429" y="24"/>
                        </a:lnTo>
                        <a:lnTo>
                          <a:pt x="3439" y="32"/>
                        </a:lnTo>
                        <a:lnTo>
                          <a:pt x="3449" y="40"/>
                        </a:lnTo>
                        <a:lnTo>
                          <a:pt x="3457" y="50"/>
                        </a:lnTo>
                        <a:lnTo>
                          <a:pt x="3465" y="60"/>
                        </a:lnTo>
                        <a:lnTo>
                          <a:pt x="3471" y="72"/>
                        </a:lnTo>
                        <a:lnTo>
                          <a:pt x="3477" y="82"/>
                        </a:lnTo>
                        <a:lnTo>
                          <a:pt x="3481" y="96"/>
                        </a:lnTo>
                        <a:lnTo>
                          <a:pt x="3485" y="108"/>
                        </a:lnTo>
                        <a:lnTo>
                          <a:pt x="3487" y="122"/>
                        </a:lnTo>
                        <a:lnTo>
                          <a:pt x="3487" y="136"/>
                        </a:lnTo>
                        <a:lnTo>
                          <a:pt x="3487" y="20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3" name="Freeform 10"/>
                  <p:cNvSpPr/>
                  <p:nvPr/>
                </p:nvSpPr>
                <p:spPr bwMode="auto">
                  <a:xfrm>
                    <a:off x="-394" y="3783"/>
                    <a:ext cx="4559" cy="875"/>
                  </a:xfrm>
                  <a:custGeom>
                    <a:avLst/>
                    <a:gdLst>
                      <a:gd name="T0" fmla="*/ 546 w 4559"/>
                      <a:gd name="T1" fmla="*/ 6 h 875"/>
                      <a:gd name="T2" fmla="*/ 0 w 4559"/>
                      <a:gd name="T3" fmla="*/ 875 h 875"/>
                      <a:gd name="T4" fmla="*/ 4559 w 4559"/>
                      <a:gd name="T5" fmla="*/ 867 h 875"/>
                      <a:gd name="T6" fmla="*/ 4035 w 4559"/>
                      <a:gd name="T7" fmla="*/ 0 h 875"/>
                      <a:gd name="T8" fmla="*/ 546 w 4559"/>
                      <a:gd name="T9" fmla="*/ 6 h 875"/>
                    </a:gdLst>
                    <a:ahLst/>
                    <a:cxnLst>
                      <a:cxn ang="0">
                        <a:pos x="T0" y="T1"/>
                      </a:cxn>
                      <a:cxn ang="0">
                        <a:pos x="T2" y="T3"/>
                      </a:cxn>
                      <a:cxn ang="0">
                        <a:pos x="T4" y="T5"/>
                      </a:cxn>
                      <a:cxn ang="0">
                        <a:pos x="T6" y="T7"/>
                      </a:cxn>
                      <a:cxn ang="0">
                        <a:pos x="T8" y="T9"/>
                      </a:cxn>
                    </a:cxnLst>
                    <a:rect l="0" t="0" r="r" b="b"/>
                    <a:pathLst>
                      <a:path w="4559" h="875">
                        <a:moveTo>
                          <a:pt x="546" y="6"/>
                        </a:moveTo>
                        <a:lnTo>
                          <a:pt x="0" y="875"/>
                        </a:lnTo>
                        <a:lnTo>
                          <a:pt x="4559" y="867"/>
                        </a:lnTo>
                        <a:lnTo>
                          <a:pt x="4035" y="0"/>
                        </a:lnTo>
                        <a:lnTo>
                          <a:pt x="546" y="6"/>
                        </a:lnTo>
                        <a:close/>
                      </a:path>
                    </a:pathLst>
                  </a:custGeom>
                  <a:solidFill>
                    <a:srgbClr val="C1C1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4" name="Freeform 11"/>
                  <p:cNvSpPr/>
                  <p:nvPr/>
                </p:nvSpPr>
                <p:spPr bwMode="auto">
                  <a:xfrm>
                    <a:off x="-394" y="3783"/>
                    <a:ext cx="4559" cy="875"/>
                  </a:xfrm>
                  <a:custGeom>
                    <a:avLst/>
                    <a:gdLst>
                      <a:gd name="T0" fmla="*/ 546 w 4559"/>
                      <a:gd name="T1" fmla="*/ 6 h 875"/>
                      <a:gd name="T2" fmla="*/ 0 w 4559"/>
                      <a:gd name="T3" fmla="*/ 875 h 875"/>
                      <a:gd name="T4" fmla="*/ 4559 w 4559"/>
                      <a:gd name="T5" fmla="*/ 867 h 875"/>
                      <a:gd name="T6" fmla="*/ 4035 w 4559"/>
                      <a:gd name="T7" fmla="*/ 0 h 875"/>
                      <a:gd name="T8" fmla="*/ 546 w 4559"/>
                      <a:gd name="T9" fmla="*/ 6 h 875"/>
                    </a:gdLst>
                    <a:ahLst/>
                    <a:cxnLst>
                      <a:cxn ang="0">
                        <a:pos x="T0" y="T1"/>
                      </a:cxn>
                      <a:cxn ang="0">
                        <a:pos x="T2" y="T3"/>
                      </a:cxn>
                      <a:cxn ang="0">
                        <a:pos x="T4" y="T5"/>
                      </a:cxn>
                      <a:cxn ang="0">
                        <a:pos x="T6" y="T7"/>
                      </a:cxn>
                      <a:cxn ang="0">
                        <a:pos x="T8" y="T9"/>
                      </a:cxn>
                    </a:cxnLst>
                    <a:rect l="0" t="0" r="r" b="b"/>
                    <a:pathLst>
                      <a:path w="4559" h="875">
                        <a:moveTo>
                          <a:pt x="546" y="6"/>
                        </a:moveTo>
                        <a:lnTo>
                          <a:pt x="0" y="875"/>
                        </a:lnTo>
                        <a:lnTo>
                          <a:pt x="4559" y="867"/>
                        </a:lnTo>
                        <a:lnTo>
                          <a:pt x="4035" y="0"/>
                        </a:lnTo>
                        <a:lnTo>
                          <a:pt x="546"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5" name="Freeform 12"/>
                  <p:cNvSpPr/>
                  <p:nvPr/>
                </p:nvSpPr>
                <p:spPr bwMode="auto">
                  <a:xfrm>
                    <a:off x="-388" y="4654"/>
                    <a:ext cx="4559" cy="90"/>
                  </a:xfrm>
                  <a:custGeom>
                    <a:avLst/>
                    <a:gdLst>
                      <a:gd name="T0" fmla="*/ 4559 w 4559"/>
                      <a:gd name="T1" fmla="*/ 0 h 90"/>
                      <a:gd name="T2" fmla="*/ 4559 w 4559"/>
                      <a:gd name="T3" fmla="*/ 0 h 90"/>
                      <a:gd name="T4" fmla="*/ 4559 w 4559"/>
                      <a:gd name="T5" fmla="*/ 0 h 90"/>
                      <a:gd name="T6" fmla="*/ 4557 w 4559"/>
                      <a:gd name="T7" fmla="*/ 18 h 90"/>
                      <a:gd name="T8" fmla="*/ 4549 w 4559"/>
                      <a:gd name="T9" fmla="*/ 36 h 90"/>
                      <a:gd name="T10" fmla="*/ 4539 w 4559"/>
                      <a:gd name="T11" fmla="*/ 50 h 90"/>
                      <a:gd name="T12" fmla="*/ 4525 w 4559"/>
                      <a:gd name="T13" fmla="*/ 64 h 90"/>
                      <a:gd name="T14" fmla="*/ 4507 w 4559"/>
                      <a:gd name="T15" fmla="*/ 74 h 90"/>
                      <a:gd name="T16" fmla="*/ 4489 w 4559"/>
                      <a:gd name="T17" fmla="*/ 82 h 90"/>
                      <a:gd name="T18" fmla="*/ 4467 w 4559"/>
                      <a:gd name="T19" fmla="*/ 88 h 90"/>
                      <a:gd name="T20" fmla="*/ 4443 w 4559"/>
                      <a:gd name="T21" fmla="*/ 90 h 90"/>
                      <a:gd name="T22" fmla="*/ 114 w 4559"/>
                      <a:gd name="T23" fmla="*/ 90 h 90"/>
                      <a:gd name="T24" fmla="*/ 114 w 4559"/>
                      <a:gd name="T25" fmla="*/ 90 h 90"/>
                      <a:gd name="T26" fmla="*/ 92 w 4559"/>
                      <a:gd name="T27" fmla="*/ 88 h 90"/>
                      <a:gd name="T28" fmla="*/ 70 w 4559"/>
                      <a:gd name="T29" fmla="*/ 82 h 90"/>
                      <a:gd name="T30" fmla="*/ 50 w 4559"/>
                      <a:gd name="T31" fmla="*/ 74 h 90"/>
                      <a:gd name="T32" fmla="*/ 32 w 4559"/>
                      <a:gd name="T33" fmla="*/ 64 h 90"/>
                      <a:gd name="T34" fmla="*/ 18 w 4559"/>
                      <a:gd name="T35" fmla="*/ 50 h 90"/>
                      <a:gd name="T36" fmla="*/ 8 w 4559"/>
                      <a:gd name="T37" fmla="*/ 36 h 90"/>
                      <a:gd name="T38" fmla="*/ 2 w 4559"/>
                      <a:gd name="T39" fmla="*/ 18 h 90"/>
                      <a:gd name="T40" fmla="*/ 0 w 4559"/>
                      <a:gd name="T41" fmla="*/ 0 h 90"/>
                      <a:gd name="T42" fmla="*/ 4559 w 4559"/>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59" h="90">
                        <a:moveTo>
                          <a:pt x="4559" y="0"/>
                        </a:moveTo>
                        <a:lnTo>
                          <a:pt x="4559" y="0"/>
                        </a:lnTo>
                        <a:lnTo>
                          <a:pt x="4559" y="0"/>
                        </a:lnTo>
                        <a:lnTo>
                          <a:pt x="4557" y="18"/>
                        </a:lnTo>
                        <a:lnTo>
                          <a:pt x="4549" y="36"/>
                        </a:lnTo>
                        <a:lnTo>
                          <a:pt x="4539" y="50"/>
                        </a:lnTo>
                        <a:lnTo>
                          <a:pt x="4525" y="64"/>
                        </a:lnTo>
                        <a:lnTo>
                          <a:pt x="4507" y="74"/>
                        </a:lnTo>
                        <a:lnTo>
                          <a:pt x="4489" y="82"/>
                        </a:lnTo>
                        <a:lnTo>
                          <a:pt x="4467" y="88"/>
                        </a:lnTo>
                        <a:lnTo>
                          <a:pt x="4443" y="90"/>
                        </a:lnTo>
                        <a:lnTo>
                          <a:pt x="114" y="90"/>
                        </a:lnTo>
                        <a:lnTo>
                          <a:pt x="114" y="90"/>
                        </a:lnTo>
                        <a:lnTo>
                          <a:pt x="92" y="88"/>
                        </a:lnTo>
                        <a:lnTo>
                          <a:pt x="70" y="82"/>
                        </a:lnTo>
                        <a:lnTo>
                          <a:pt x="50" y="74"/>
                        </a:lnTo>
                        <a:lnTo>
                          <a:pt x="32" y="64"/>
                        </a:lnTo>
                        <a:lnTo>
                          <a:pt x="18" y="50"/>
                        </a:lnTo>
                        <a:lnTo>
                          <a:pt x="8" y="36"/>
                        </a:lnTo>
                        <a:lnTo>
                          <a:pt x="2" y="18"/>
                        </a:lnTo>
                        <a:lnTo>
                          <a:pt x="0" y="0"/>
                        </a:lnTo>
                        <a:lnTo>
                          <a:pt x="4559" y="0"/>
                        </a:lnTo>
                        <a:close/>
                      </a:path>
                    </a:pathLst>
                  </a:custGeom>
                  <a:solidFill>
                    <a:srgbClr val="66666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6" name="Freeform 13"/>
                  <p:cNvSpPr/>
                  <p:nvPr/>
                </p:nvSpPr>
                <p:spPr bwMode="auto">
                  <a:xfrm>
                    <a:off x="-388" y="4654"/>
                    <a:ext cx="4559" cy="90"/>
                  </a:xfrm>
                  <a:custGeom>
                    <a:avLst/>
                    <a:gdLst>
                      <a:gd name="T0" fmla="*/ 4559 w 4559"/>
                      <a:gd name="T1" fmla="*/ 0 h 90"/>
                      <a:gd name="T2" fmla="*/ 4559 w 4559"/>
                      <a:gd name="T3" fmla="*/ 0 h 90"/>
                      <a:gd name="T4" fmla="*/ 4559 w 4559"/>
                      <a:gd name="T5" fmla="*/ 0 h 90"/>
                      <a:gd name="T6" fmla="*/ 4557 w 4559"/>
                      <a:gd name="T7" fmla="*/ 18 h 90"/>
                      <a:gd name="T8" fmla="*/ 4549 w 4559"/>
                      <a:gd name="T9" fmla="*/ 36 h 90"/>
                      <a:gd name="T10" fmla="*/ 4539 w 4559"/>
                      <a:gd name="T11" fmla="*/ 50 h 90"/>
                      <a:gd name="T12" fmla="*/ 4525 w 4559"/>
                      <a:gd name="T13" fmla="*/ 64 h 90"/>
                      <a:gd name="T14" fmla="*/ 4507 w 4559"/>
                      <a:gd name="T15" fmla="*/ 74 h 90"/>
                      <a:gd name="T16" fmla="*/ 4489 w 4559"/>
                      <a:gd name="T17" fmla="*/ 82 h 90"/>
                      <a:gd name="T18" fmla="*/ 4467 w 4559"/>
                      <a:gd name="T19" fmla="*/ 88 h 90"/>
                      <a:gd name="T20" fmla="*/ 4443 w 4559"/>
                      <a:gd name="T21" fmla="*/ 90 h 90"/>
                      <a:gd name="T22" fmla="*/ 114 w 4559"/>
                      <a:gd name="T23" fmla="*/ 90 h 90"/>
                      <a:gd name="T24" fmla="*/ 114 w 4559"/>
                      <a:gd name="T25" fmla="*/ 90 h 90"/>
                      <a:gd name="T26" fmla="*/ 92 w 4559"/>
                      <a:gd name="T27" fmla="*/ 88 h 90"/>
                      <a:gd name="T28" fmla="*/ 70 w 4559"/>
                      <a:gd name="T29" fmla="*/ 82 h 90"/>
                      <a:gd name="T30" fmla="*/ 50 w 4559"/>
                      <a:gd name="T31" fmla="*/ 74 h 90"/>
                      <a:gd name="T32" fmla="*/ 32 w 4559"/>
                      <a:gd name="T33" fmla="*/ 64 h 90"/>
                      <a:gd name="T34" fmla="*/ 18 w 4559"/>
                      <a:gd name="T35" fmla="*/ 50 h 90"/>
                      <a:gd name="T36" fmla="*/ 8 w 4559"/>
                      <a:gd name="T37" fmla="*/ 36 h 90"/>
                      <a:gd name="T38" fmla="*/ 2 w 4559"/>
                      <a:gd name="T39" fmla="*/ 18 h 90"/>
                      <a:gd name="T40" fmla="*/ 0 w 4559"/>
                      <a:gd name="T4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59" h="90">
                        <a:moveTo>
                          <a:pt x="4559" y="0"/>
                        </a:moveTo>
                        <a:lnTo>
                          <a:pt x="4559" y="0"/>
                        </a:lnTo>
                        <a:lnTo>
                          <a:pt x="4559" y="0"/>
                        </a:lnTo>
                        <a:lnTo>
                          <a:pt x="4557" y="18"/>
                        </a:lnTo>
                        <a:lnTo>
                          <a:pt x="4549" y="36"/>
                        </a:lnTo>
                        <a:lnTo>
                          <a:pt x="4539" y="50"/>
                        </a:lnTo>
                        <a:lnTo>
                          <a:pt x="4525" y="64"/>
                        </a:lnTo>
                        <a:lnTo>
                          <a:pt x="4507" y="74"/>
                        </a:lnTo>
                        <a:lnTo>
                          <a:pt x="4489" y="82"/>
                        </a:lnTo>
                        <a:lnTo>
                          <a:pt x="4467" y="88"/>
                        </a:lnTo>
                        <a:lnTo>
                          <a:pt x="4443" y="90"/>
                        </a:lnTo>
                        <a:lnTo>
                          <a:pt x="114" y="90"/>
                        </a:lnTo>
                        <a:lnTo>
                          <a:pt x="114" y="90"/>
                        </a:lnTo>
                        <a:lnTo>
                          <a:pt x="92" y="88"/>
                        </a:lnTo>
                        <a:lnTo>
                          <a:pt x="70" y="82"/>
                        </a:lnTo>
                        <a:lnTo>
                          <a:pt x="50" y="74"/>
                        </a:lnTo>
                        <a:lnTo>
                          <a:pt x="32" y="64"/>
                        </a:lnTo>
                        <a:lnTo>
                          <a:pt x="18" y="50"/>
                        </a:lnTo>
                        <a:lnTo>
                          <a:pt x="8" y="36"/>
                        </a:lnTo>
                        <a:lnTo>
                          <a:pt x="2"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7" name="Rectangle 14"/>
                  <p:cNvSpPr>
                    <a:spLocks noChangeArrowheads="1"/>
                  </p:cNvSpPr>
                  <p:nvPr/>
                </p:nvSpPr>
                <p:spPr bwMode="auto">
                  <a:xfrm>
                    <a:off x="346" y="1899"/>
                    <a:ext cx="3101" cy="1726"/>
                  </a:xfrm>
                  <a:prstGeom prst="rect">
                    <a:avLst/>
                  </a:prstGeom>
                  <a:solidFill>
                    <a:srgbClr val="47B2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8" name="Rectangle 15"/>
                  <p:cNvSpPr>
                    <a:spLocks noChangeArrowheads="1"/>
                  </p:cNvSpPr>
                  <p:nvPr/>
                </p:nvSpPr>
                <p:spPr bwMode="auto">
                  <a:xfrm>
                    <a:off x="346" y="1899"/>
                    <a:ext cx="3101" cy="1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79" name="Freeform 16"/>
                  <p:cNvSpPr/>
                  <p:nvPr/>
                </p:nvSpPr>
                <p:spPr bwMode="auto">
                  <a:xfrm>
                    <a:off x="272" y="3936"/>
                    <a:ext cx="152" cy="108"/>
                  </a:xfrm>
                  <a:custGeom>
                    <a:avLst/>
                    <a:gdLst>
                      <a:gd name="T0" fmla="*/ 152 w 152"/>
                      <a:gd name="T1" fmla="*/ 0 h 108"/>
                      <a:gd name="T2" fmla="*/ 48 w 152"/>
                      <a:gd name="T3" fmla="*/ 0 h 108"/>
                      <a:gd name="T4" fmla="*/ 0 w 152"/>
                      <a:gd name="T5" fmla="*/ 108 h 108"/>
                      <a:gd name="T6" fmla="*/ 108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48" y="0"/>
                        </a:lnTo>
                        <a:lnTo>
                          <a:pt x="0" y="108"/>
                        </a:lnTo>
                        <a:lnTo>
                          <a:pt x="108" y="108"/>
                        </a:lnTo>
                        <a:lnTo>
                          <a:pt x="15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0" name="Freeform 17"/>
                  <p:cNvSpPr/>
                  <p:nvPr/>
                </p:nvSpPr>
                <p:spPr bwMode="auto">
                  <a:xfrm>
                    <a:off x="272" y="3936"/>
                    <a:ext cx="152" cy="108"/>
                  </a:xfrm>
                  <a:custGeom>
                    <a:avLst/>
                    <a:gdLst>
                      <a:gd name="T0" fmla="*/ 152 w 152"/>
                      <a:gd name="T1" fmla="*/ 0 h 108"/>
                      <a:gd name="T2" fmla="*/ 48 w 152"/>
                      <a:gd name="T3" fmla="*/ 0 h 108"/>
                      <a:gd name="T4" fmla="*/ 0 w 152"/>
                      <a:gd name="T5" fmla="*/ 108 h 108"/>
                      <a:gd name="T6" fmla="*/ 108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48" y="0"/>
                        </a:lnTo>
                        <a:lnTo>
                          <a:pt x="0" y="108"/>
                        </a:lnTo>
                        <a:lnTo>
                          <a:pt x="108" y="10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1" name="Freeform 18"/>
                  <p:cNvSpPr/>
                  <p:nvPr/>
                </p:nvSpPr>
                <p:spPr bwMode="auto">
                  <a:xfrm>
                    <a:off x="212" y="4072"/>
                    <a:ext cx="290" cy="108"/>
                  </a:xfrm>
                  <a:custGeom>
                    <a:avLst/>
                    <a:gdLst>
                      <a:gd name="T0" fmla="*/ 290 w 290"/>
                      <a:gd name="T1" fmla="*/ 0 h 108"/>
                      <a:gd name="T2" fmla="*/ 48 w 290"/>
                      <a:gd name="T3" fmla="*/ 0 h 108"/>
                      <a:gd name="T4" fmla="*/ 0 w 290"/>
                      <a:gd name="T5" fmla="*/ 108 h 108"/>
                      <a:gd name="T6" fmla="*/ 250 w 290"/>
                      <a:gd name="T7" fmla="*/ 108 h 108"/>
                      <a:gd name="T8" fmla="*/ 290 w 290"/>
                      <a:gd name="T9" fmla="*/ 0 h 108"/>
                    </a:gdLst>
                    <a:ahLst/>
                    <a:cxnLst>
                      <a:cxn ang="0">
                        <a:pos x="T0" y="T1"/>
                      </a:cxn>
                      <a:cxn ang="0">
                        <a:pos x="T2" y="T3"/>
                      </a:cxn>
                      <a:cxn ang="0">
                        <a:pos x="T4" y="T5"/>
                      </a:cxn>
                      <a:cxn ang="0">
                        <a:pos x="T6" y="T7"/>
                      </a:cxn>
                      <a:cxn ang="0">
                        <a:pos x="T8" y="T9"/>
                      </a:cxn>
                    </a:cxnLst>
                    <a:rect l="0" t="0" r="r" b="b"/>
                    <a:pathLst>
                      <a:path w="290" h="108">
                        <a:moveTo>
                          <a:pt x="290" y="0"/>
                        </a:moveTo>
                        <a:lnTo>
                          <a:pt x="48" y="0"/>
                        </a:lnTo>
                        <a:lnTo>
                          <a:pt x="0" y="108"/>
                        </a:lnTo>
                        <a:lnTo>
                          <a:pt x="250" y="108"/>
                        </a:lnTo>
                        <a:lnTo>
                          <a:pt x="29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2" name="Freeform 19"/>
                  <p:cNvSpPr/>
                  <p:nvPr/>
                </p:nvSpPr>
                <p:spPr bwMode="auto">
                  <a:xfrm>
                    <a:off x="212" y="4072"/>
                    <a:ext cx="290" cy="108"/>
                  </a:xfrm>
                  <a:custGeom>
                    <a:avLst/>
                    <a:gdLst>
                      <a:gd name="T0" fmla="*/ 290 w 290"/>
                      <a:gd name="T1" fmla="*/ 0 h 108"/>
                      <a:gd name="T2" fmla="*/ 48 w 290"/>
                      <a:gd name="T3" fmla="*/ 0 h 108"/>
                      <a:gd name="T4" fmla="*/ 0 w 290"/>
                      <a:gd name="T5" fmla="*/ 108 h 108"/>
                      <a:gd name="T6" fmla="*/ 250 w 290"/>
                      <a:gd name="T7" fmla="*/ 108 h 108"/>
                      <a:gd name="T8" fmla="*/ 290 w 290"/>
                      <a:gd name="T9" fmla="*/ 0 h 108"/>
                    </a:gdLst>
                    <a:ahLst/>
                    <a:cxnLst>
                      <a:cxn ang="0">
                        <a:pos x="T0" y="T1"/>
                      </a:cxn>
                      <a:cxn ang="0">
                        <a:pos x="T2" y="T3"/>
                      </a:cxn>
                      <a:cxn ang="0">
                        <a:pos x="T4" y="T5"/>
                      </a:cxn>
                      <a:cxn ang="0">
                        <a:pos x="T6" y="T7"/>
                      </a:cxn>
                      <a:cxn ang="0">
                        <a:pos x="T8" y="T9"/>
                      </a:cxn>
                    </a:cxnLst>
                    <a:rect l="0" t="0" r="r" b="b"/>
                    <a:pathLst>
                      <a:path w="290" h="108">
                        <a:moveTo>
                          <a:pt x="290" y="0"/>
                        </a:moveTo>
                        <a:lnTo>
                          <a:pt x="48" y="0"/>
                        </a:lnTo>
                        <a:lnTo>
                          <a:pt x="0" y="108"/>
                        </a:lnTo>
                        <a:lnTo>
                          <a:pt x="250" y="108"/>
                        </a:lnTo>
                        <a:lnTo>
                          <a:pt x="2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3" name="Freeform 20"/>
                  <p:cNvSpPr/>
                  <p:nvPr/>
                </p:nvSpPr>
                <p:spPr bwMode="auto">
                  <a:xfrm>
                    <a:off x="150" y="4222"/>
                    <a:ext cx="302" cy="108"/>
                  </a:xfrm>
                  <a:custGeom>
                    <a:avLst/>
                    <a:gdLst>
                      <a:gd name="T0" fmla="*/ 302 w 302"/>
                      <a:gd name="T1" fmla="*/ 0 h 108"/>
                      <a:gd name="T2" fmla="*/ 48 w 302"/>
                      <a:gd name="T3" fmla="*/ 0 h 108"/>
                      <a:gd name="T4" fmla="*/ 0 w 302"/>
                      <a:gd name="T5" fmla="*/ 108 h 108"/>
                      <a:gd name="T6" fmla="*/ 262 w 302"/>
                      <a:gd name="T7" fmla="*/ 108 h 108"/>
                      <a:gd name="T8" fmla="*/ 302 w 302"/>
                      <a:gd name="T9" fmla="*/ 0 h 108"/>
                    </a:gdLst>
                    <a:ahLst/>
                    <a:cxnLst>
                      <a:cxn ang="0">
                        <a:pos x="T0" y="T1"/>
                      </a:cxn>
                      <a:cxn ang="0">
                        <a:pos x="T2" y="T3"/>
                      </a:cxn>
                      <a:cxn ang="0">
                        <a:pos x="T4" y="T5"/>
                      </a:cxn>
                      <a:cxn ang="0">
                        <a:pos x="T6" y="T7"/>
                      </a:cxn>
                      <a:cxn ang="0">
                        <a:pos x="T8" y="T9"/>
                      </a:cxn>
                    </a:cxnLst>
                    <a:rect l="0" t="0" r="r" b="b"/>
                    <a:pathLst>
                      <a:path w="302" h="108">
                        <a:moveTo>
                          <a:pt x="302" y="0"/>
                        </a:moveTo>
                        <a:lnTo>
                          <a:pt x="48" y="0"/>
                        </a:lnTo>
                        <a:lnTo>
                          <a:pt x="0" y="108"/>
                        </a:lnTo>
                        <a:lnTo>
                          <a:pt x="262" y="108"/>
                        </a:lnTo>
                        <a:lnTo>
                          <a:pt x="3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4" name="Freeform 21"/>
                  <p:cNvSpPr/>
                  <p:nvPr/>
                </p:nvSpPr>
                <p:spPr bwMode="auto">
                  <a:xfrm>
                    <a:off x="150" y="4222"/>
                    <a:ext cx="302" cy="108"/>
                  </a:xfrm>
                  <a:custGeom>
                    <a:avLst/>
                    <a:gdLst>
                      <a:gd name="T0" fmla="*/ 302 w 302"/>
                      <a:gd name="T1" fmla="*/ 0 h 108"/>
                      <a:gd name="T2" fmla="*/ 48 w 302"/>
                      <a:gd name="T3" fmla="*/ 0 h 108"/>
                      <a:gd name="T4" fmla="*/ 0 w 302"/>
                      <a:gd name="T5" fmla="*/ 108 h 108"/>
                      <a:gd name="T6" fmla="*/ 262 w 302"/>
                      <a:gd name="T7" fmla="*/ 108 h 108"/>
                      <a:gd name="T8" fmla="*/ 302 w 302"/>
                      <a:gd name="T9" fmla="*/ 0 h 108"/>
                    </a:gdLst>
                    <a:ahLst/>
                    <a:cxnLst>
                      <a:cxn ang="0">
                        <a:pos x="T0" y="T1"/>
                      </a:cxn>
                      <a:cxn ang="0">
                        <a:pos x="T2" y="T3"/>
                      </a:cxn>
                      <a:cxn ang="0">
                        <a:pos x="T4" y="T5"/>
                      </a:cxn>
                      <a:cxn ang="0">
                        <a:pos x="T6" y="T7"/>
                      </a:cxn>
                      <a:cxn ang="0">
                        <a:pos x="T8" y="T9"/>
                      </a:cxn>
                    </a:cxnLst>
                    <a:rect l="0" t="0" r="r" b="b"/>
                    <a:pathLst>
                      <a:path w="302" h="108">
                        <a:moveTo>
                          <a:pt x="302" y="0"/>
                        </a:moveTo>
                        <a:lnTo>
                          <a:pt x="48" y="0"/>
                        </a:lnTo>
                        <a:lnTo>
                          <a:pt x="0" y="108"/>
                        </a:lnTo>
                        <a:lnTo>
                          <a:pt x="262" y="108"/>
                        </a:lnTo>
                        <a:lnTo>
                          <a:pt x="3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5" name="Freeform 22"/>
                  <p:cNvSpPr/>
                  <p:nvPr/>
                </p:nvSpPr>
                <p:spPr bwMode="auto">
                  <a:xfrm>
                    <a:off x="400" y="3936"/>
                    <a:ext cx="148" cy="108"/>
                  </a:xfrm>
                  <a:custGeom>
                    <a:avLst/>
                    <a:gdLst>
                      <a:gd name="T0" fmla="*/ 148 w 148"/>
                      <a:gd name="T1" fmla="*/ 0 h 108"/>
                      <a:gd name="T2" fmla="*/ 44 w 148"/>
                      <a:gd name="T3" fmla="*/ 0 h 108"/>
                      <a:gd name="T4" fmla="*/ 0 w 148"/>
                      <a:gd name="T5" fmla="*/ 108 h 108"/>
                      <a:gd name="T6" fmla="*/ 108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44" y="0"/>
                        </a:lnTo>
                        <a:lnTo>
                          <a:pt x="0" y="108"/>
                        </a:lnTo>
                        <a:lnTo>
                          <a:pt x="108" y="108"/>
                        </a:lnTo>
                        <a:lnTo>
                          <a:pt x="14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6" name="Freeform 23"/>
                  <p:cNvSpPr/>
                  <p:nvPr/>
                </p:nvSpPr>
                <p:spPr bwMode="auto">
                  <a:xfrm>
                    <a:off x="400" y="3936"/>
                    <a:ext cx="148" cy="108"/>
                  </a:xfrm>
                  <a:custGeom>
                    <a:avLst/>
                    <a:gdLst>
                      <a:gd name="T0" fmla="*/ 148 w 148"/>
                      <a:gd name="T1" fmla="*/ 0 h 108"/>
                      <a:gd name="T2" fmla="*/ 44 w 148"/>
                      <a:gd name="T3" fmla="*/ 0 h 108"/>
                      <a:gd name="T4" fmla="*/ 0 w 148"/>
                      <a:gd name="T5" fmla="*/ 108 h 108"/>
                      <a:gd name="T6" fmla="*/ 108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44" y="0"/>
                        </a:lnTo>
                        <a:lnTo>
                          <a:pt x="0" y="108"/>
                        </a:lnTo>
                        <a:lnTo>
                          <a:pt x="108" y="108"/>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7" name="Freeform 24"/>
                  <p:cNvSpPr/>
                  <p:nvPr/>
                </p:nvSpPr>
                <p:spPr bwMode="auto">
                  <a:xfrm>
                    <a:off x="528" y="3936"/>
                    <a:ext cx="144" cy="108"/>
                  </a:xfrm>
                  <a:custGeom>
                    <a:avLst/>
                    <a:gdLst>
                      <a:gd name="T0" fmla="*/ 144 w 144"/>
                      <a:gd name="T1" fmla="*/ 0 h 108"/>
                      <a:gd name="T2" fmla="*/ 40 w 144"/>
                      <a:gd name="T3" fmla="*/ 0 h 108"/>
                      <a:gd name="T4" fmla="*/ 0 w 144"/>
                      <a:gd name="T5" fmla="*/ 108 h 108"/>
                      <a:gd name="T6" fmla="*/ 108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40" y="0"/>
                        </a:lnTo>
                        <a:lnTo>
                          <a:pt x="0" y="108"/>
                        </a:lnTo>
                        <a:lnTo>
                          <a:pt x="108" y="108"/>
                        </a:lnTo>
                        <a:lnTo>
                          <a:pt x="14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8" name="Freeform 25"/>
                  <p:cNvSpPr/>
                  <p:nvPr/>
                </p:nvSpPr>
                <p:spPr bwMode="auto">
                  <a:xfrm>
                    <a:off x="528" y="3936"/>
                    <a:ext cx="144" cy="108"/>
                  </a:xfrm>
                  <a:custGeom>
                    <a:avLst/>
                    <a:gdLst>
                      <a:gd name="T0" fmla="*/ 144 w 144"/>
                      <a:gd name="T1" fmla="*/ 0 h 108"/>
                      <a:gd name="T2" fmla="*/ 40 w 144"/>
                      <a:gd name="T3" fmla="*/ 0 h 108"/>
                      <a:gd name="T4" fmla="*/ 0 w 144"/>
                      <a:gd name="T5" fmla="*/ 108 h 108"/>
                      <a:gd name="T6" fmla="*/ 108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40" y="0"/>
                        </a:lnTo>
                        <a:lnTo>
                          <a:pt x="0" y="108"/>
                        </a:lnTo>
                        <a:lnTo>
                          <a:pt x="108" y="108"/>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89" name="Freeform 26"/>
                  <p:cNvSpPr/>
                  <p:nvPr/>
                </p:nvSpPr>
                <p:spPr bwMode="auto">
                  <a:xfrm>
                    <a:off x="656" y="3936"/>
                    <a:ext cx="140" cy="108"/>
                  </a:xfrm>
                  <a:custGeom>
                    <a:avLst/>
                    <a:gdLst>
                      <a:gd name="T0" fmla="*/ 140 w 140"/>
                      <a:gd name="T1" fmla="*/ 0 h 108"/>
                      <a:gd name="T2" fmla="*/ 36 w 140"/>
                      <a:gd name="T3" fmla="*/ 0 h 108"/>
                      <a:gd name="T4" fmla="*/ 0 w 140"/>
                      <a:gd name="T5" fmla="*/ 108 h 108"/>
                      <a:gd name="T6" fmla="*/ 108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36" y="0"/>
                        </a:lnTo>
                        <a:lnTo>
                          <a:pt x="0" y="108"/>
                        </a:lnTo>
                        <a:lnTo>
                          <a:pt x="108" y="108"/>
                        </a:lnTo>
                        <a:lnTo>
                          <a:pt x="14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0" name="Freeform 27"/>
                  <p:cNvSpPr/>
                  <p:nvPr/>
                </p:nvSpPr>
                <p:spPr bwMode="auto">
                  <a:xfrm>
                    <a:off x="656" y="3936"/>
                    <a:ext cx="140" cy="108"/>
                  </a:xfrm>
                  <a:custGeom>
                    <a:avLst/>
                    <a:gdLst>
                      <a:gd name="T0" fmla="*/ 140 w 140"/>
                      <a:gd name="T1" fmla="*/ 0 h 108"/>
                      <a:gd name="T2" fmla="*/ 36 w 140"/>
                      <a:gd name="T3" fmla="*/ 0 h 108"/>
                      <a:gd name="T4" fmla="*/ 0 w 140"/>
                      <a:gd name="T5" fmla="*/ 108 h 108"/>
                      <a:gd name="T6" fmla="*/ 108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36" y="0"/>
                        </a:lnTo>
                        <a:lnTo>
                          <a:pt x="0" y="108"/>
                        </a:lnTo>
                        <a:lnTo>
                          <a:pt x="108" y="10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1" name="Freeform 28"/>
                  <p:cNvSpPr/>
                  <p:nvPr/>
                </p:nvSpPr>
                <p:spPr bwMode="auto">
                  <a:xfrm>
                    <a:off x="784" y="3936"/>
                    <a:ext cx="136" cy="108"/>
                  </a:xfrm>
                  <a:custGeom>
                    <a:avLst/>
                    <a:gdLst>
                      <a:gd name="T0" fmla="*/ 136 w 136"/>
                      <a:gd name="T1" fmla="*/ 0 h 108"/>
                      <a:gd name="T2" fmla="*/ 32 w 136"/>
                      <a:gd name="T3" fmla="*/ 0 h 108"/>
                      <a:gd name="T4" fmla="*/ 0 w 136"/>
                      <a:gd name="T5" fmla="*/ 108 h 108"/>
                      <a:gd name="T6" fmla="*/ 108 w 136"/>
                      <a:gd name="T7" fmla="*/ 108 h 108"/>
                      <a:gd name="T8" fmla="*/ 136 w 136"/>
                      <a:gd name="T9" fmla="*/ 0 h 108"/>
                    </a:gdLst>
                    <a:ahLst/>
                    <a:cxnLst>
                      <a:cxn ang="0">
                        <a:pos x="T0" y="T1"/>
                      </a:cxn>
                      <a:cxn ang="0">
                        <a:pos x="T2" y="T3"/>
                      </a:cxn>
                      <a:cxn ang="0">
                        <a:pos x="T4" y="T5"/>
                      </a:cxn>
                      <a:cxn ang="0">
                        <a:pos x="T6" y="T7"/>
                      </a:cxn>
                      <a:cxn ang="0">
                        <a:pos x="T8" y="T9"/>
                      </a:cxn>
                    </a:cxnLst>
                    <a:rect l="0" t="0" r="r" b="b"/>
                    <a:pathLst>
                      <a:path w="136" h="108">
                        <a:moveTo>
                          <a:pt x="136" y="0"/>
                        </a:moveTo>
                        <a:lnTo>
                          <a:pt x="32" y="0"/>
                        </a:lnTo>
                        <a:lnTo>
                          <a:pt x="0" y="108"/>
                        </a:lnTo>
                        <a:lnTo>
                          <a:pt x="108" y="108"/>
                        </a:lnTo>
                        <a:lnTo>
                          <a:pt x="13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2" name="Freeform 29"/>
                  <p:cNvSpPr/>
                  <p:nvPr/>
                </p:nvSpPr>
                <p:spPr bwMode="auto">
                  <a:xfrm>
                    <a:off x="784" y="3936"/>
                    <a:ext cx="136" cy="108"/>
                  </a:xfrm>
                  <a:custGeom>
                    <a:avLst/>
                    <a:gdLst>
                      <a:gd name="T0" fmla="*/ 136 w 136"/>
                      <a:gd name="T1" fmla="*/ 0 h 108"/>
                      <a:gd name="T2" fmla="*/ 32 w 136"/>
                      <a:gd name="T3" fmla="*/ 0 h 108"/>
                      <a:gd name="T4" fmla="*/ 0 w 136"/>
                      <a:gd name="T5" fmla="*/ 108 h 108"/>
                      <a:gd name="T6" fmla="*/ 108 w 136"/>
                      <a:gd name="T7" fmla="*/ 108 h 108"/>
                      <a:gd name="T8" fmla="*/ 136 w 136"/>
                      <a:gd name="T9" fmla="*/ 0 h 108"/>
                    </a:gdLst>
                    <a:ahLst/>
                    <a:cxnLst>
                      <a:cxn ang="0">
                        <a:pos x="T0" y="T1"/>
                      </a:cxn>
                      <a:cxn ang="0">
                        <a:pos x="T2" y="T3"/>
                      </a:cxn>
                      <a:cxn ang="0">
                        <a:pos x="T4" y="T5"/>
                      </a:cxn>
                      <a:cxn ang="0">
                        <a:pos x="T6" y="T7"/>
                      </a:cxn>
                      <a:cxn ang="0">
                        <a:pos x="T8" y="T9"/>
                      </a:cxn>
                    </a:cxnLst>
                    <a:rect l="0" t="0" r="r" b="b"/>
                    <a:pathLst>
                      <a:path w="136" h="108">
                        <a:moveTo>
                          <a:pt x="136" y="0"/>
                        </a:moveTo>
                        <a:lnTo>
                          <a:pt x="32" y="0"/>
                        </a:lnTo>
                        <a:lnTo>
                          <a:pt x="0" y="108"/>
                        </a:lnTo>
                        <a:lnTo>
                          <a:pt x="108" y="108"/>
                        </a:lnTo>
                        <a:lnTo>
                          <a:pt x="1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3" name="Freeform 30"/>
                  <p:cNvSpPr/>
                  <p:nvPr/>
                </p:nvSpPr>
                <p:spPr bwMode="auto">
                  <a:xfrm>
                    <a:off x="912" y="3936"/>
                    <a:ext cx="130" cy="108"/>
                  </a:xfrm>
                  <a:custGeom>
                    <a:avLst/>
                    <a:gdLst>
                      <a:gd name="T0" fmla="*/ 130 w 130"/>
                      <a:gd name="T1" fmla="*/ 0 h 108"/>
                      <a:gd name="T2" fmla="*/ 28 w 130"/>
                      <a:gd name="T3" fmla="*/ 0 h 108"/>
                      <a:gd name="T4" fmla="*/ 0 w 130"/>
                      <a:gd name="T5" fmla="*/ 108 h 108"/>
                      <a:gd name="T6" fmla="*/ 108 w 130"/>
                      <a:gd name="T7" fmla="*/ 108 h 108"/>
                      <a:gd name="T8" fmla="*/ 130 w 130"/>
                      <a:gd name="T9" fmla="*/ 0 h 108"/>
                    </a:gdLst>
                    <a:ahLst/>
                    <a:cxnLst>
                      <a:cxn ang="0">
                        <a:pos x="T0" y="T1"/>
                      </a:cxn>
                      <a:cxn ang="0">
                        <a:pos x="T2" y="T3"/>
                      </a:cxn>
                      <a:cxn ang="0">
                        <a:pos x="T4" y="T5"/>
                      </a:cxn>
                      <a:cxn ang="0">
                        <a:pos x="T6" y="T7"/>
                      </a:cxn>
                      <a:cxn ang="0">
                        <a:pos x="T8" y="T9"/>
                      </a:cxn>
                    </a:cxnLst>
                    <a:rect l="0" t="0" r="r" b="b"/>
                    <a:pathLst>
                      <a:path w="130" h="108">
                        <a:moveTo>
                          <a:pt x="130" y="0"/>
                        </a:moveTo>
                        <a:lnTo>
                          <a:pt x="28" y="0"/>
                        </a:lnTo>
                        <a:lnTo>
                          <a:pt x="0" y="108"/>
                        </a:lnTo>
                        <a:lnTo>
                          <a:pt x="108" y="108"/>
                        </a:lnTo>
                        <a:lnTo>
                          <a:pt x="13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4" name="Freeform 31"/>
                  <p:cNvSpPr/>
                  <p:nvPr/>
                </p:nvSpPr>
                <p:spPr bwMode="auto">
                  <a:xfrm>
                    <a:off x="912" y="3936"/>
                    <a:ext cx="130" cy="108"/>
                  </a:xfrm>
                  <a:custGeom>
                    <a:avLst/>
                    <a:gdLst>
                      <a:gd name="T0" fmla="*/ 130 w 130"/>
                      <a:gd name="T1" fmla="*/ 0 h 108"/>
                      <a:gd name="T2" fmla="*/ 28 w 130"/>
                      <a:gd name="T3" fmla="*/ 0 h 108"/>
                      <a:gd name="T4" fmla="*/ 0 w 130"/>
                      <a:gd name="T5" fmla="*/ 108 h 108"/>
                      <a:gd name="T6" fmla="*/ 108 w 130"/>
                      <a:gd name="T7" fmla="*/ 108 h 108"/>
                      <a:gd name="T8" fmla="*/ 130 w 130"/>
                      <a:gd name="T9" fmla="*/ 0 h 108"/>
                    </a:gdLst>
                    <a:ahLst/>
                    <a:cxnLst>
                      <a:cxn ang="0">
                        <a:pos x="T0" y="T1"/>
                      </a:cxn>
                      <a:cxn ang="0">
                        <a:pos x="T2" y="T3"/>
                      </a:cxn>
                      <a:cxn ang="0">
                        <a:pos x="T4" y="T5"/>
                      </a:cxn>
                      <a:cxn ang="0">
                        <a:pos x="T6" y="T7"/>
                      </a:cxn>
                      <a:cxn ang="0">
                        <a:pos x="T8" y="T9"/>
                      </a:cxn>
                    </a:cxnLst>
                    <a:rect l="0" t="0" r="r" b="b"/>
                    <a:pathLst>
                      <a:path w="130" h="108">
                        <a:moveTo>
                          <a:pt x="130" y="0"/>
                        </a:moveTo>
                        <a:lnTo>
                          <a:pt x="28" y="0"/>
                        </a:lnTo>
                        <a:lnTo>
                          <a:pt x="0" y="108"/>
                        </a:lnTo>
                        <a:lnTo>
                          <a:pt x="108" y="108"/>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5" name="Freeform 32"/>
                  <p:cNvSpPr/>
                  <p:nvPr/>
                </p:nvSpPr>
                <p:spPr bwMode="auto">
                  <a:xfrm>
                    <a:off x="1040" y="3936"/>
                    <a:ext cx="126" cy="108"/>
                  </a:xfrm>
                  <a:custGeom>
                    <a:avLst/>
                    <a:gdLst>
                      <a:gd name="T0" fmla="*/ 126 w 126"/>
                      <a:gd name="T1" fmla="*/ 0 h 108"/>
                      <a:gd name="T2" fmla="*/ 24 w 126"/>
                      <a:gd name="T3" fmla="*/ 0 h 108"/>
                      <a:gd name="T4" fmla="*/ 0 w 126"/>
                      <a:gd name="T5" fmla="*/ 108 h 108"/>
                      <a:gd name="T6" fmla="*/ 108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24" y="0"/>
                        </a:lnTo>
                        <a:lnTo>
                          <a:pt x="0" y="108"/>
                        </a:lnTo>
                        <a:lnTo>
                          <a:pt x="108" y="108"/>
                        </a:lnTo>
                        <a:lnTo>
                          <a:pt x="12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6" name="Freeform 33"/>
                  <p:cNvSpPr/>
                  <p:nvPr/>
                </p:nvSpPr>
                <p:spPr bwMode="auto">
                  <a:xfrm>
                    <a:off x="1040" y="3936"/>
                    <a:ext cx="126" cy="108"/>
                  </a:xfrm>
                  <a:custGeom>
                    <a:avLst/>
                    <a:gdLst>
                      <a:gd name="T0" fmla="*/ 126 w 126"/>
                      <a:gd name="T1" fmla="*/ 0 h 108"/>
                      <a:gd name="T2" fmla="*/ 24 w 126"/>
                      <a:gd name="T3" fmla="*/ 0 h 108"/>
                      <a:gd name="T4" fmla="*/ 0 w 126"/>
                      <a:gd name="T5" fmla="*/ 108 h 108"/>
                      <a:gd name="T6" fmla="*/ 108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24" y="0"/>
                        </a:lnTo>
                        <a:lnTo>
                          <a:pt x="0" y="108"/>
                        </a:lnTo>
                        <a:lnTo>
                          <a:pt x="108" y="108"/>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7" name="Freeform 34"/>
                  <p:cNvSpPr/>
                  <p:nvPr/>
                </p:nvSpPr>
                <p:spPr bwMode="auto">
                  <a:xfrm>
                    <a:off x="1168" y="3936"/>
                    <a:ext cx="122" cy="108"/>
                  </a:xfrm>
                  <a:custGeom>
                    <a:avLst/>
                    <a:gdLst>
                      <a:gd name="T0" fmla="*/ 122 w 122"/>
                      <a:gd name="T1" fmla="*/ 0 h 108"/>
                      <a:gd name="T2" fmla="*/ 20 w 122"/>
                      <a:gd name="T3" fmla="*/ 0 h 108"/>
                      <a:gd name="T4" fmla="*/ 0 w 122"/>
                      <a:gd name="T5" fmla="*/ 108 h 108"/>
                      <a:gd name="T6" fmla="*/ 106 w 122"/>
                      <a:gd name="T7" fmla="*/ 108 h 108"/>
                      <a:gd name="T8" fmla="*/ 122 w 122"/>
                      <a:gd name="T9" fmla="*/ 0 h 108"/>
                    </a:gdLst>
                    <a:ahLst/>
                    <a:cxnLst>
                      <a:cxn ang="0">
                        <a:pos x="T0" y="T1"/>
                      </a:cxn>
                      <a:cxn ang="0">
                        <a:pos x="T2" y="T3"/>
                      </a:cxn>
                      <a:cxn ang="0">
                        <a:pos x="T4" y="T5"/>
                      </a:cxn>
                      <a:cxn ang="0">
                        <a:pos x="T6" y="T7"/>
                      </a:cxn>
                      <a:cxn ang="0">
                        <a:pos x="T8" y="T9"/>
                      </a:cxn>
                    </a:cxnLst>
                    <a:rect l="0" t="0" r="r" b="b"/>
                    <a:pathLst>
                      <a:path w="122" h="108">
                        <a:moveTo>
                          <a:pt x="122" y="0"/>
                        </a:moveTo>
                        <a:lnTo>
                          <a:pt x="20" y="0"/>
                        </a:lnTo>
                        <a:lnTo>
                          <a:pt x="0" y="108"/>
                        </a:lnTo>
                        <a:lnTo>
                          <a:pt x="106" y="108"/>
                        </a:lnTo>
                        <a:lnTo>
                          <a:pt x="12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8" name="Freeform 35"/>
                  <p:cNvSpPr/>
                  <p:nvPr/>
                </p:nvSpPr>
                <p:spPr bwMode="auto">
                  <a:xfrm>
                    <a:off x="1168" y="3936"/>
                    <a:ext cx="122" cy="108"/>
                  </a:xfrm>
                  <a:custGeom>
                    <a:avLst/>
                    <a:gdLst>
                      <a:gd name="T0" fmla="*/ 122 w 122"/>
                      <a:gd name="T1" fmla="*/ 0 h 108"/>
                      <a:gd name="T2" fmla="*/ 20 w 122"/>
                      <a:gd name="T3" fmla="*/ 0 h 108"/>
                      <a:gd name="T4" fmla="*/ 0 w 122"/>
                      <a:gd name="T5" fmla="*/ 108 h 108"/>
                      <a:gd name="T6" fmla="*/ 106 w 122"/>
                      <a:gd name="T7" fmla="*/ 108 h 108"/>
                      <a:gd name="T8" fmla="*/ 122 w 122"/>
                      <a:gd name="T9" fmla="*/ 0 h 108"/>
                    </a:gdLst>
                    <a:ahLst/>
                    <a:cxnLst>
                      <a:cxn ang="0">
                        <a:pos x="T0" y="T1"/>
                      </a:cxn>
                      <a:cxn ang="0">
                        <a:pos x="T2" y="T3"/>
                      </a:cxn>
                      <a:cxn ang="0">
                        <a:pos x="T4" y="T5"/>
                      </a:cxn>
                      <a:cxn ang="0">
                        <a:pos x="T6" y="T7"/>
                      </a:cxn>
                      <a:cxn ang="0">
                        <a:pos x="T8" y="T9"/>
                      </a:cxn>
                    </a:cxnLst>
                    <a:rect l="0" t="0" r="r" b="b"/>
                    <a:pathLst>
                      <a:path w="122" h="108">
                        <a:moveTo>
                          <a:pt x="122" y="0"/>
                        </a:moveTo>
                        <a:lnTo>
                          <a:pt x="20" y="0"/>
                        </a:lnTo>
                        <a:lnTo>
                          <a:pt x="0" y="108"/>
                        </a:lnTo>
                        <a:lnTo>
                          <a:pt x="106" y="108"/>
                        </a:lnTo>
                        <a:lnTo>
                          <a:pt x="1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99" name="Freeform 36"/>
                  <p:cNvSpPr/>
                  <p:nvPr/>
                </p:nvSpPr>
                <p:spPr bwMode="auto">
                  <a:xfrm>
                    <a:off x="1296" y="3936"/>
                    <a:ext cx="118" cy="108"/>
                  </a:xfrm>
                  <a:custGeom>
                    <a:avLst/>
                    <a:gdLst>
                      <a:gd name="T0" fmla="*/ 118 w 118"/>
                      <a:gd name="T1" fmla="*/ 0 h 108"/>
                      <a:gd name="T2" fmla="*/ 16 w 118"/>
                      <a:gd name="T3" fmla="*/ 0 h 108"/>
                      <a:gd name="T4" fmla="*/ 0 w 118"/>
                      <a:gd name="T5" fmla="*/ 108 h 108"/>
                      <a:gd name="T6" fmla="*/ 106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16" y="0"/>
                        </a:lnTo>
                        <a:lnTo>
                          <a:pt x="0" y="108"/>
                        </a:lnTo>
                        <a:lnTo>
                          <a:pt x="106"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0" name="Freeform 37"/>
                  <p:cNvSpPr/>
                  <p:nvPr/>
                </p:nvSpPr>
                <p:spPr bwMode="auto">
                  <a:xfrm>
                    <a:off x="1296" y="3936"/>
                    <a:ext cx="118" cy="108"/>
                  </a:xfrm>
                  <a:custGeom>
                    <a:avLst/>
                    <a:gdLst>
                      <a:gd name="T0" fmla="*/ 118 w 118"/>
                      <a:gd name="T1" fmla="*/ 0 h 108"/>
                      <a:gd name="T2" fmla="*/ 16 w 118"/>
                      <a:gd name="T3" fmla="*/ 0 h 108"/>
                      <a:gd name="T4" fmla="*/ 0 w 118"/>
                      <a:gd name="T5" fmla="*/ 108 h 108"/>
                      <a:gd name="T6" fmla="*/ 106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16" y="0"/>
                        </a:lnTo>
                        <a:lnTo>
                          <a:pt x="0" y="108"/>
                        </a:lnTo>
                        <a:lnTo>
                          <a:pt x="106"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1" name="Freeform 38"/>
                  <p:cNvSpPr/>
                  <p:nvPr/>
                </p:nvSpPr>
                <p:spPr bwMode="auto">
                  <a:xfrm>
                    <a:off x="1424" y="3936"/>
                    <a:ext cx="114" cy="108"/>
                  </a:xfrm>
                  <a:custGeom>
                    <a:avLst/>
                    <a:gdLst>
                      <a:gd name="T0" fmla="*/ 114 w 114"/>
                      <a:gd name="T1" fmla="*/ 0 h 108"/>
                      <a:gd name="T2" fmla="*/ 10 w 114"/>
                      <a:gd name="T3" fmla="*/ 0 h 108"/>
                      <a:gd name="T4" fmla="*/ 0 w 114"/>
                      <a:gd name="T5" fmla="*/ 108 h 108"/>
                      <a:gd name="T6" fmla="*/ 106 w 114"/>
                      <a:gd name="T7" fmla="*/ 108 h 108"/>
                      <a:gd name="T8" fmla="*/ 114 w 114"/>
                      <a:gd name="T9" fmla="*/ 0 h 108"/>
                    </a:gdLst>
                    <a:ahLst/>
                    <a:cxnLst>
                      <a:cxn ang="0">
                        <a:pos x="T0" y="T1"/>
                      </a:cxn>
                      <a:cxn ang="0">
                        <a:pos x="T2" y="T3"/>
                      </a:cxn>
                      <a:cxn ang="0">
                        <a:pos x="T4" y="T5"/>
                      </a:cxn>
                      <a:cxn ang="0">
                        <a:pos x="T6" y="T7"/>
                      </a:cxn>
                      <a:cxn ang="0">
                        <a:pos x="T8" y="T9"/>
                      </a:cxn>
                    </a:cxnLst>
                    <a:rect l="0" t="0" r="r" b="b"/>
                    <a:pathLst>
                      <a:path w="114" h="108">
                        <a:moveTo>
                          <a:pt x="114" y="0"/>
                        </a:moveTo>
                        <a:lnTo>
                          <a:pt x="10" y="0"/>
                        </a:lnTo>
                        <a:lnTo>
                          <a:pt x="0" y="108"/>
                        </a:lnTo>
                        <a:lnTo>
                          <a:pt x="106" y="108"/>
                        </a:lnTo>
                        <a:lnTo>
                          <a:pt x="11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2" name="Freeform 39"/>
                  <p:cNvSpPr/>
                  <p:nvPr/>
                </p:nvSpPr>
                <p:spPr bwMode="auto">
                  <a:xfrm>
                    <a:off x="1424" y="3936"/>
                    <a:ext cx="114" cy="108"/>
                  </a:xfrm>
                  <a:custGeom>
                    <a:avLst/>
                    <a:gdLst>
                      <a:gd name="T0" fmla="*/ 114 w 114"/>
                      <a:gd name="T1" fmla="*/ 0 h 108"/>
                      <a:gd name="T2" fmla="*/ 10 w 114"/>
                      <a:gd name="T3" fmla="*/ 0 h 108"/>
                      <a:gd name="T4" fmla="*/ 0 w 114"/>
                      <a:gd name="T5" fmla="*/ 108 h 108"/>
                      <a:gd name="T6" fmla="*/ 106 w 114"/>
                      <a:gd name="T7" fmla="*/ 108 h 108"/>
                      <a:gd name="T8" fmla="*/ 114 w 114"/>
                      <a:gd name="T9" fmla="*/ 0 h 108"/>
                    </a:gdLst>
                    <a:ahLst/>
                    <a:cxnLst>
                      <a:cxn ang="0">
                        <a:pos x="T0" y="T1"/>
                      </a:cxn>
                      <a:cxn ang="0">
                        <a:pos x="T2" y="T3"/>
                      </a:cxn>
                      <a:cxn ang="0">
                        <a:pos x="T4" y="T5"/>
                      </a:cxn>
                      <a:cxn ang="0">
                        <a:pos x="T6" y="T7"/>
                      </a:cxn>
                      <a:cxn ang="0">
                        <a:pos x="T8" y="T9"/>
                      </a:cxn>
                    </a:cxnLst>
                    <a:rect l="0" t="0" r="r" b="b"/>
                    <a:pathLst>
                      <a:path w="114" h="108">
                        <a:moveTo>
                          <a:pt x="114" y="0"/>
                        </a:moveTo>
                        <a:lnTo>
                          <a:pt x="10" y="0"/>
                        </a:lnTo>
                        <a:lnTo>
                          <a:pt x="0" y="108"/>
                        </a:lnTo>
                        <a:lnTo>
                          <a:pt x="106" y="108"/>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3" name="Freeform 40"/>
                  <p:cNvSpPr/>
                  <p:nvPr/>
                </p:nvSpPr>
                <p:spPr bwMode="auto">
                  <a:xfrm>
                    <a:off x="1552" y="3936"/>
                    <a:ext cx="110" cy="108"/>
                  </a:xfrm>
                  <a:custGeom>
                    <a:avLst/>
                    <a:gdLst>
                      <a:gd name="T0" fmla="*/ 110 w 110"/>
                      <a:gd name="T1" fmla="*/ 0 h 108"/>
                      <a:gd name="T2" fmla="*/ 6 w 110"/>
                      <a:gd name="T3" fmla="*/ 0 h 108"/>
                      <a:gd name="T4" fmla="*/ 0 w 110"/>
                      <a:gd name="T5" fmla="*/ 108 h 108"/>
                      <a:gd name="T6" fmla="*/ 106 w 110"/>
                      <a:gd name="T7" fmla="*/ 108 h 108"/>
                      <a:gd name="T8" fmla="*/ 110 w 110"/>
                      <a:gd name="T9" fmla="*/ 0 h 108"/>
                    </a:gdLst>
                    <a:ahLst/>
                    <a:cxnLst>
                      <a:cxn ang="0">
                        <a:pos x="T0" y="T1"/>
                      </a:cxn>
                      <a:cxn ang="0">
                        <a:pos x="T2" y="T3"/>
                      </a:cxn>
                      <a:cxn ang="0">
                        <a:pos x="T4" y="T5"/>
                      </a:cxn>
                      <a:cxn ang="0">
                        <a:pos x="T6" y="T7"/>
                      </a:cxn>
                      <a:cxn ang="0">
                        <a:pos x="T8" y="T9"/>
                      </a:cxn>
                    </a:cxnLst>
                    <a:rect l="0" t="0" r="r" b="b"/>
                    <a:pathLst>
                      <a:path w="110" h="108">
                        <a:moveTo>
                          <a:pt x="110" y="0"/>
                        </a:moveTo>
                        <a:lnTo>
                          <a:pt x="6" y="0"/>
                        </a:lnTo>
                        <a:lnTo>
                          <a:pt x="0" y="108"/>
                        </a:lnTo>
                        <a:lnTo>
                          <a:pt x="106" y="108"/>
                        </a:lnTo>
                        <a:lnTo>
                          <a:pt x="11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4" name="Freeform 41"/>
                  <p:cNvSpPr/>
                  <p:nvPr/>
                </p:nvSpPr>
                <p:spPr bwMode="auto">
                  <a:xfrm>
                    <a:off x="1552" y="3936"/>
                    <a:ext cx="110" cy="108"/>
                  </a:xfrm>
                  <a:custGeom>
                    <a:avLst/>
                    <a:gdLst>
                      <a:gd name="T0" fmla="*/ 110 w 110"/>
                      <a:gd name="T1" fmla="*/ 0 h 108"/>
                      <a:gd name="T2" fmla="*/ 6 w 110"/>
                      <a:gd name="T3" fmla="*/ 0 h 108"/>
                      <a:gd name="T4" fmla="*/ 0 w 110"/>
                      <a:gd name="T5" fmla="*/ 108 h 108"/>
                      <a:gd name="T6" fmla="*/ 106 w 110"/>
                      <a:gd name="T7" fmla="*/ 108 h 108"/>
                      <a:gd name="T8" fmla="*/ 110 w 110"/>
                      <a:gd name="T9" fmla="*/ 0 h 108"/>
                    </a:gdLst>
                    <a:ahLst/>
                    <a:cxnLst>
                      <a:cxn ang="0">
                        <a:pos x="T0" y="T1"/>
                      </a:cxn>
                      <a:cxn ang="0">
                        <a:pos x="T2" y="T3"/>
                      </a:cxn>
                      <a:cxn ang="0">
                        <a:pos x="T4" y="T5"/>
                      </a:cxn>
                      <a:cxn ang="0">
                        <a:pos x="T6" y="T7"/>
                      </a:cxn>
                      <a:cxn ang="0">
                        <a:pos x="T8" y="T9"/>
                      </a:cxn>
                    </a:cxnLst>
                    <a:rect l="0" t="0" r="r" b="b"/>
                    <a:pathLst>
                      <a:path w="110" h="108">
                        <a:moveTo>
                          <a:pt x="110" y="0"/>
                        </a:moveTo>
                        <a:lnTo>
                          <a:pt x="6" y="0"/>
                        </a:lnTo>
                        <a:lnTo>
                          <a:pt x="0" y="108"/>
                        </a:lnTo>
                        <a:lnTo>
                          <a:pt x="106" y="108"/>
                        </a:lnTo>
                        <a:lnTo>
                          <a:pt x="1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5" name="Freeform 42"/>
                  <p:cNvSpPr/>
                  <p:nvPr/>
                </p:nvSpPr>
                <p:spPr bwMode="auto">
                  <a:xfrm>
                    <a:off x="1680" y="3936"/>
                    <a:ext cx="106" cy="108"/>
                  </a:xfrm>
                  <a:custGeom>
                    <a:avLst/>
                    <a:gdLst>
                      <a:gd name="T0" fmla="*/ 106 w 106"/>
                      <a:gd name="T1" fmla="*/ 0 h 108"/>
                      <a:gd name="T2" fmla="*/ 2 w 106"/>
                      <a:gd name="T3" fmla="*/ 0 h 108"/>
                      <a:gd name="T4" fmla="*/ 0 w 106"/>
                      <a:gd name="T5" fmla="*/ 108 h 108"/>
                      <a:gd name="T6" fmla="*/ 106 w 106"/>
                      <a:gd name="T7" fmla="*/ 108 h 108"/>
                      <a:gd name="T8" fmla="*/ 106 w 106"/>
                      <a:gd name="T9" fmla="*/ 0 h 108"/>
                    </a:gdLst>
                    <a:ahLst/>
                    <a:cxnLst>
                      <a:cxn ang="0">
                        <a:pos x="T0" y="T1"/>
                      </a:cxn>
                      <a:cxn ang="0">
                        <a:pos x="T2" y="T3"/>
                      </a:cxn>
                      <a:cxn ang="0">
                        <a:pos x="T4" y="T5"/>
                      </a:cxn>
                      <a:cxn ang="0">
                        <a:pos x="T6" y="T7"/>
                      </a:cxn>
                      <a:cxn ang="0">
                        <a:pos x="T8" y="T9"/>
                      </a:cxn>
                    </a:cxnLst>
                    <a:rect l="0" t="0" r="r" b="b"/>
                    <a:pathLst>
                      <a:path w="106" h="108">
                        <a:moveTo>
                          <a:pt x="106" y="0"/>
                        </a:moveTo>
                        <a:lnTo>
                          <a:pt x="2" y="0"/>
                        </a:lnTo>
                        <a:lnTo>
                          <a:pt x="0" y="108"/>
                        </a:lnTo>
                        <a:lnTo>
                          <a:pt x="106" y="108"/>
                        </a:lnTo>
                        <a:lnTo>
                          <a:pt x="10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6" name="Freeform 43"/>
                  <p:cNvSpPr/>
                  <p:nvPr/>
                </p:nvSpPr>
                <p:spPr bwMode="auto">
                  <a:xfrm>
                    <a:off x="1680" y="3936"/>
                    <a:ext cx="106" cy="108"/>
                  </a:xfrm>
                  <a:custGeom>
                    <a:avLst/>
                    <a:gdLst>
                      <a:gd name="T0" fmla="*/ 106 w 106"/>
                      <a:gd name="T1" fmla="*/ 0 h 108"/>
                      <a:gd name="T2" fmla="*/ 2 w 106"/>
                      <a:gd name="T3" fmla="*/ 0 h 108"/>
                      <a:gd name="T4" fmla="*/ 0 w 106"/>
                      <a:gd name="T5" fmla="*/ 108 h 108"/>
                      <a:gd name="T6" fmla="*/ 106 w 106"/>
                      <a:gd name="T7" fmla="*/ 108 h 108"/>
                      <a:gd name="T8" fmla="*/ 106 w 106"/>
                      <a:gd name="T9" fmla="*/ 0 h 108"/>
                    </a:gdLst>
                    <a:ahLst/>
                    <a:cxnLst>
                      <a:cxn ang="0">
                        <a:pos x="T0" y="T1"/>
                      </a:cxn>
                      <a:cxn ang="0">
                        <a:pos x="T2" y="T3"/>
                      </a:cxn>
                      <a:cxn ang="0">
                        <a:pos x="T4" y="T5"/>
                      </a:cxn>
                      <a:cxn ang="0">
                        <a:pos x="T6" y="T7"/>
                      </a:cxn>
                      <a:cxn ang="0">
                        <a:pos x="T8" y="T9"/>
                      </a:cxn>
                    </a:cxnLst>
                    <a:rect l="0" t="0" r="r" b="b"/>
                    <a:pathLst>
                      <a:path w="106" h="108">
                        <a:moveTo>
                          <a:pt x="106" y="0"/>
                        </a:moveTo>
                        <a:lnTo>
                          <a:pt x="2" y="0"/>
                        </a:lnTo>
                        <a:lnTo>
                          <a:pt x="0" y="108"/>
                        </a:lnTo>
                        <a:lnTo>
                          <a:pt x="106" y="108"/>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7" name="Freeform 44"/>
                  <p:cNvSpPr/>
                  <p:nvPr/>
                </p:nvSpPr>
                <p:spPr bwMode="auto">
                  <a:xfrm>
                    <a:off x="1806" y="3936"/>
                    <a:ext cx="109" cy="108"/>
                  </a:xfrm>
                  <a:custGeom>
                    <a:avLst/>
                    <a:gdLst>
                      <a:gd name="T0" fmla="*/ 105 w 109"/>
                      <a:gd name="T1" fmla="*/ 0 h 108"/>
                      <a:gd name="T2" fmla="*/ 0 w 109"/>
                      <a:gd name="T3" fmla="*/ 0 h 108"/>
                      <a:gd name="T4" fmla="*/ 2 w 109"/>
                      <a:gd name="T5" fmla="*/ 108 h 108"/>
                      <a:gd name="T6" fmla="*/ 109 w 109"/>
                      <a:gd name="T7" fmla="*/ 108 h 108"/>
                      <a:gd name="T8" fmla="*/ 105 w 109"/>
                      <a:gd name="T9" fmla="*/ 0 h 108"/>
                    </a:gdLst>
                    <a:ahLst/>
                    <a:cxnLst>
                      <a:cxn ang="0">
                        <a:pos x="T0" y="T1"/>
                      </a:cxn>
                      <a:cxn ang="0">
                        <a:pos x="T2" y="T3"/>
                      </a:cxn>
                      <a:cxn ang="0">
                        <a:pos x="T4" y="T5"/>
                      </a:cxn>
                      <a:cxn ang="0">
                        <a:pos x="T6" y="T7"/>
                      </a:cxn>
                      <a:cxn ang="0">
                        <a:pos x="T8" y="T9"/>
                      </a:cxn>
                    </a:cxnLst>
                    <a:rect l="0" t="0" r="r" b="b"/>
                    <a:pathLst>
                      <a:path w="109" h="108">
                        <a:moveTo>
                          <a:pt x="105" y="0"/>
                        </a:moveTo>
                        <a:lnTo>
                          <a:pt x="0" y="0"/>
                        </a:lnTo>
                        <a:lnTo>
                          <a:pt x="2" y="108"/>
                        </a:lnTo>
                        <a:lnTo>
                          <a:pt x="109" y="108"/>
                        </a:lnTo>
                        <a:lnTo>
                          <a:pt x="105"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8" name="Freeform 45"/>
                  <p:cNvSpPr/>
                  <p:nvPr/>
                </p:nvSpPr>
                <p:spPr bwMode="auto">
                  <a:xfrm>
                    <a:off x="1806" y="3936"/>
                    <a:ext cx="109" cy="108"/>
                  </a:xfrm>
                  <a:custGeom>
                    <a:avLst/>
                    <a:gdLst>
                      <a:gd name="T0" fmla="*/ 105 w 109"/>
                      <a:gd name="T1" fmla="*/ 0 h 108"/>
                      <a:gd name="T2" fmla="*/ 0 w 109"/>
                      <a:gd name="T3" fmla="*/ 0 h 108"/>
                      <a:gd name="T4" fmla="*/ 2 w 109"/>
                      <a:gd name="T5" fmla="*/ 108 h 108"/>
                      <a:gd name="T6" fmla="*/ 109 w 109"/>
                      <a:gd name="T7" fmla="*/ 108 h 108"/>
                      <a:gd name="T8" fmla="*/ 105 w 109"/>
                      <a:gd name="T9" fmla="*/ 0 h 108"/>
                    </a:gdLst>
                    <a:ahLst/>
                    <a:cxnLst>
                      <a:cxn ang="0">
                        <a:pos x="T0" y="T1"/>
                      </a:cxn>
                      <a:cxn ang="0">
                        <a:pos x="T2" y="T3"/>
                      </a:cxn>
                      <a:cxn ang="0">
                        <a:pos x="T4" y="T5"/>
                      </a:cxn>
                      <a:cxn ang="0">
                        <a:pos x="T6" y="T7"/>
                      </a:cxn>
                      <a:cxn ang="0">
                        <a:pos x="T8" y="T9"/>
                      </a:cxn>
                    </a:cxnLst>
                    <a:rect l="0" t="0" r="r" b="b"/>
                    <a:pathLst>
                      <a:path w="109" h="108">
                        <a:moveTo>
                          <a:pt x="105" y="0"/>
                        </a:moveTo>
                        <a:lnTo>
                          <a:pt x="0" y="0"/>
                        </a:lnTo>
                        <a:lnTo>
                          <a:pt x="2" y="108"/>
                        </a:lnTo>
                        <a:lnTo>
                          <a:pt x="109" y="108"/>
                        </a:lnTo>
                        <a:lnTo>
                          <a:pt x="1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09" name="Freeform 46"/>
                  <p:cNvSpPr/>
                  <p:nvPr/>
                </p:nvSpPr>
                <p:spPr bwMode="auto">
                  <a:xfrm>
                    <a:off x="1931" y="3936"/>
                    <a:ext cx="112" cy="108"/>
                  </a:xfrm>
                  <a:custGeom>
                    <a:avLst/>
                    <a:gdLst>
                      <a:gd name="T0" fmla="*/ 104 w 112"/>
                      <a:gd name="T1" fmla="*/ 0 h 108"/>
                      <a:gd name="T2" fmla="*/ 0 w 112"/>
                      <a:gd name="T3" fmla="*/ 0 h 108"/>
                      <a:gd name="T4" fmla="*/ 6 w 112"/>
                      <a:gd name="T5" fmla="*/ 108 h 108"/>
                      <a:gd name="T6" fmla="*/ 112 w 112"/>
                      <a:gd name="T7" fmla="*/ 108 h 108"/>
                      <a:gd name="T8" fmla="*/ 104 w 112"/>
                      <a:gd name="T9" fmla="*/ 0 h 108"/>
                    </a:gdLst>
                    <a:ahLst/>
                    <a:cxnLst>
                      <a:cxn ang="0">
                        <a:pos x="T0" y="T1"/>
                      </a:cxn>
                      <a:cxn ang="0">
                        <a:pos x="T2" y="T3"/>
                      </a:cxn>
                      <a:cxn ang="0">
                        <a:pos x="T4" y="T5"/>
                      </a:cxn>
                      <a:cxn ang="0">
                        <a:pos x="T6" y="T7"/>
                      </a:cxn>
                      <a:cxn ang="0">
                        <a:pos x="T8" y="T9"/>
                      </a:cxn>
                    </a:cxnLst>
                    <a:rect l="0" t="0" r="r" b="b"/>
                    <a:pathLst>
                      <a:path w="112" h="108">
                        <a:moveTo>
                          <a:pt x="104" y="0"/>
                        </a:moveTo>
                        <a:lnTo>
                          <a:pt x="0" y="0"/>
                        </a:lnTo>
                        <a:lnTo>
                          <a:pt x="6" y="108"/>
                        </a:lnTo>
                        <a:lnTo>
                          <a:pt x="112"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0" name="Freeform 47"/>
                  <p:cNvSpPr/>
                  <p:nvPr/>
                </p:nvSpPr>
                <p:spPr bwMode="auto">
                  <a:xfrm>
                    <a:off x="1931" y="3936"/>
                    <a:ext cx="112" cy="108"/>
                  </a:xfrm>
                  <a:custGeom>
                    <a:avLst/>
                    <a:gdLst>
                      <a:gd name="T0" fmla="*/ 104 w 112"/>
                      <a:gd name="T1" fmla="*/ 0 h 108"/>
                      <a:gd name="T2" fmla="*/ 0 w 112"/>
                      <a:gd name="T3" fmla="*/ 0 h 108"/>
                      <a:gd name="T4" fmla="*/ 6 w 112"/>
                      <a:gd name="T5" fmla="*/ 108 h 108"/>
                      <a:gd name="T6" fmla="*/ 112 w 112"/>
                      <a:gd name="T7" fmla="*/ 108 h 108"/>
                      <a:gd name="T8" fmla="*/ 104 w 112"/>
                      <a:gd name="T9" fmla="*/ 0 h 108"/>
                    </a:gdLst>
                    <a:ahLst/>
                    <a:cxnLst>
                      <a:cxn ang="0">
                        <a:pos x="T0" y="T1"/>
                      </a:cxn>
                      <a:cxn ang="0">
                        <a:pos x="T2" y="T3"/>
                      </a:cxn>
                      <a:cxn ang="0">
                        <a:pos x="T4" y="T5"/>
                      </a:cxn>
                      <a:cxn ang="0">
                        <a:pos x="T6" y="T7"/>
                      </a:cxn>
                      <a:cxn ang="0">
                        <a:pos x="T8" y="T9"/>
                      </a:cxn>
                    </a:cxnLst>
                    <a:rect l="0" t="0" r="r" b="b"/>
                    <a:pathLst>
                      <a:path w="112" h="108">
                        <a:moveTo>
                          <a:pt x="104" y="0"/>
                        </a:moveTo>
                        <a:lnTo>
                          <a:pt x="0" y="0"/>
                        </a:lnTo>
                        <a:lnTo>
                          <a:pt x="6" y="108"/>
                        </a:lnTo>
                        <a:lnTo>
                          <a:pt x="112"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1" name="Freeform 48"/>
                  <p:cNvSpPr/>
                  <p:nvPr/>
                </p:nvSpPr>
                <p:spPr bwMode="auto">
                  <a:xfrm>
                    <a:off x="2055" y="3936"/>
                    <a:ext cx="116" cy="108"/>
                  </a:xfrm>
                  <a:custGeom>
                    <a:avLst/>
                    <a:gdLst>
                      <a:gd name="T0" fmla="*/ 102 w 116"/>
                      <a:gd name="T1" fmla="*/ 0 h 108"/>
                      <a:gd name="T2" fmla="*/ 0 w 116"/>
                      <a:gd name="T3" fmla="*/ 0 h 108"/>
                      <a:gd name="T4" fmla="*/ 10 w 116"/>
                      <a:gd name="T5" fmla="*/ 108 h 108"/>
                      <a:gd name="T6" fmla="*/ 116 w 116"/>
                      <a:gd name="T7" fmla="*/ 108 h 108"/>
                      <a:gd name="T8" fmla="*/ 102 w 116"/>
                      <a:gd name="T9" fmla="*/ 0 h 108"/>
                    </a:gdLst>
                    <a:ahLst/>
                    <a:cxnLst>
                      <a:cxn ang="0">
                        <a:pos x="T0" y="T1"/>
                      </a:cxn>
                      <a:cxn ang="0">
                        <a:pos x="T2" y="T3"/>
                      </a:cxn>
                      <a:cxn ang="0">
                        <a:pos x="T4" y="T5"/>
                      </a:cxn>
                      <a:cxn ang="0">
                        <a:pos x="T6" y="T7"/>
                      </a:cxn>
                      <a:cxn ang="0">
                        <a:pos x="T8" y="T9"/>
                      </a:cxn>
                    </a:cxnLst>
                    <a:rect l="0" t="0" r="r" b="b"/>
                    <a:pathLst>
                      <a:path w="116" h="108">
                        <a:moveTo>
                          <a:pt x="102" y="0"/>
                        </a:moveTo>
                        <a:lnTo>
                          <a:pt x="0" y="0"/>
                        </a:lnTo>
                        <a:lnTo>
                          <a:pt x="10" y="108"/>
                        </a:lnTo>
                        <a:lnTo>
                          <a:pt x="116"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2" name="Freeform 49"/>
                  <p:cNvSpPr/>
                  <p:nvPr/>
                </p:nvSpPr>
                <p:spPr bwMode="auto">
                  <a:xfrm>
                    <a:off x="2055" y="3936"/>
                    <a:ext cx="116" cy="108"/>
                  </a:xfrm>
                  <a:custGeom>
                    <a:avLst/>
                    <a:gdLst>
                      <a:gd name="T0" fmla="*/ 102 w 116"/>
                      <a:gd name="T1" fmla="*/ 0 h 108"/>
                      <a:gd name="T2" fmla="*/ 0 w 116"/>
                      <a:gd name="T3" fmla="*/ 0 h 108"/>
                      <a:gd name="T4" fmla="*/ 10 w 116"/>
                      <a:gd name="T5" fmla="*/ 108 h 108"/>
                      <a:gd name="T6" fmla="*/ 116 w 116"/>
                      <a:gd name="T7" fmla="*/ 108 h 108"/>
                      <a:gd name="T8" fmla="*/ 102 w 116"/>
                      <a:gd name="T9" fmla="*/ 0 h 108"/>
                    </a:gdLst>
                    <a:ahLst/>
                    <a:cxnLst>
                      <a:cxn ang="0">
                        <a:pos x="T0" y="T1"/>
                      </a:cxn>
                      <a:cxn ang="0">
                        <a:pos x="T2" y="T3"/>
                      </a:cxn>
                      <a:cxn ang="0">
                        <a:pos x="T4" y="T5"/>
                      </a:cxn>
                      <a:cxn ang="0">
                        <a:pos x="T6" y="T7"/>
                      </a:cxn>
                      <a:cxn ang="0">
                        <a:pos x="T8" y="T9"/>
                      </a:cxn>
                    </a:cxnLst>
                    <a:rect l="0" t="0" r="r" b="b"/>
                    <a:pathLst>
                      <a:path w="116" h="108">
                        <a:moveTo>
                          <a:pt x="102" y="0"/>
                        </a:moveTo>
                        <a:lnTo>
                          <a:pt x="0" y="0"/>
                        </a:lnTo>
                        <a:lnTo>
                          <a:pt x="10" y="108"/>
                        </a:lnTo>
                        <a:lnTo>
                          <a:pt x="116"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3" name="Freeform 50"/>
                  <p:cNvSpPr/>
                  <p:nvPr/>
                </p:nvSpPr>
                <p:spPr bwMode="auto">
                  <a:xfrm>
                    <a:off x="2179" y="3936"/>
                    <a:ext cx="120" cy="108"/>
                  </a:xfrm>
                  <a:custGeom>
                    <a:avLst/>
                    <a:gdLst>
                      <a:gd name="T0" fmla="*/ 102 w 120"/>
                      <a:gd name="T1" fmla="*/ 0 h 108"/>
                      <a:gd name="T2" fmla="*/ 0 w 120"/>
                      <a:gd name="T3" fmla="*/ 0 h 108"/>
                      <a:gd name="T4" fmla="*/ 14 w 120"/>
                      <a:gd name="T5" fmla="*/ 108 h 108"/>
                      <a:gd name="T6" fmla="*/ 120 w 120"/>
                      <a:gd name="T7" fmla="*/ 108 h 108"/>
                      <a:gd name="T8" fmla="*/ 102 w 120"/>
                      <a:gd name="T9" fmla="*/ 0 h 108"/>
                    </a:gdLst>
                    <a:ahLst/>
                    <a:cxnLst>
                      <a:cxn ang="0">
                        <a:pos x="T0" y="T1"/>
                      </a:cxn>
                      <a:cxn ang="0">
                        <a:pos x="T2" y="T3"/>
                      </a:cxn>
                      <a:cxn ang="0">
                        <a:pos x="T4" y="T5"/>
                      </a:cxn>
                      <a:cxn ang="0">
                        <a:pos x="T6" y="T7"/>
                      </a:cxn>
                      <a:cxn ang="0">
                        <a:pos x="T8" y="T9"/>
                      </a:cxn>
                    </a:cxnLst>
                    <a:rect l="0" t="0" r="r" b="b"/>
                    <a:pathLst>
                      <a:path w="120" h="108">
                        <a:moveTo>
                          <a:pt x="102" y="0"/>
                        </a:moveTo>
                        <a:lnTo>
                          <a:pt x="0" y="0"/>
                        </a:lnTo>
                        <a:lnTo>
                          <a:pt x="14" y="108"/>
                        </a:lnTo>
                        <a:lnTo>
                          <a:pt x="120"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4" name="Freeform 51"/>
                  <p:cNvSpPr/>
                  <p:nvPr/>
                </p:nvSpPr>
                <p:spPr bwMode="auto">
                  <a:xfrm>
                    <a:off x="2179" y="3936"/>
                    <a:ext cx="120" cy="108"/>
                  </a:xfrm>
                  <a:custGeom>
                    <a:avLst/>
                    <a:gdLst>
                      <a:gd name="T0" fmla="*/ 102 w 120"/>
                      <a:gd name="T1" fmla="*/ 0 h 108"/>
                      <a:gd name="T2" fmla="*/ 0 w 120"/>
                      <a:gd name="T3" fmla="*/ 0 h 108"/>
                      <a:gd name="T4" fmla="*/ 14 w 120"/>
                      <a:gd name="T5" fmla="*/ 108 h 108"/>
                      <a:gd name="T6" fmla="*/ 120 w 120"/>
                      <a:gd name="T7" fmla="*/ 108 h 108"/>
                      <a:gd name="T8" fmla="*/ 102 w 120"/>
                      <a:gd name="T9" fmla="*/ 0 h 108"/>
                    </a:gdLst>
                    <a:ahLst/>
                    <a:cxnLst>
                      <a:cxn ang="0">
                        <a:pos x="T0" y="T1"/>
                      </a:cxn>
                      <a:cxn ang="0">
                        <a:pos x="T2" y="T3"/>
                      </a:cxn>
                      <a:cxn ang="0">
                        <a:pos x="T4" y="T5"/>
                      </a:cxn>
                      <a:cxn ang="0">
                        <a:pos x="T6" y="T7"/>
                      </a:cxn>
                      <a:cxn ang="0">
                        <a:pos x="T8" y="T9"/>
                      </a:cxn>
                    </a:cxnLst>
                    <a:rect l="0" t="0" r="r" b="b"/>
                    <a:pathLst>
                      <a:path w="120" h="108">
                        <a:moveTo>
                          <a:pt x="102" y="0"/>
                        </a:moveTo>
                        <a:lnTo>
                          <a:pt x="0" y="0"/>
                        </a:lnTo>
                        <a:lnTo>
                          <a:pt x="14" y="108"/>
                        </a:lnTo>
                        <a:lnTo>
                          <a:pt x="120"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5" name="Freeform 52"/>
                  <p:cNvSpPr/>
                  <p:nvPr/>
                </p:nvSpPr>
                <p:spPr bwMode="auto">
                  <a:xfrm>
                    <a:off x="2303" y="3936"/>
                    <a:ext cx="124" cy="108"/>
                  </a:xfrm>
                  <a:custGeom>
                    <a:avLst/>
                    <a:gdLst>
                      <a:gd name="T0" fmla="*/ 102 w 124"/>
                      <a:gd name="T1" fmla="*/ 0 h 108"/>
                      <a:gd name="T2" fmla="*/ 0 w 124"/>
                      <a:gd name="T3" fmla="*/ 0 h 108"/>
                      <a:gd name="T4" fmla="*/ 18 w 124"/>
                      <a:gd name="T5" fmla="*/ 108 h 108"/>
                      <a:gd name="T6" fmla="*/ 124 w 124"/>
                      <a:gd name="T7" fmla="*/ 108 h 108"/>
                      <a:gd name="T8" fmla="*/ 102 w 124"/>
                      <a:gd name="T9" fmla="*/ 0 h 108"/>
                    </a:gdLst>
                    <a:ahLst/>
                    <a:cxnLst>
                      <a:cxn ang="0">
                        <a:pos x="T0" y="T1"/>
                      </a:cxn>
                      <a:cxn ang="0">
                        <a:pos x="T2" y="T3"/>
                      </a:cxn>
                      <a:cxn ang="0">
                        <a:pos x="T4" y="T5"/>
                      </a:cxn>
                      <a:cxn ang="0">
                        <a:pos x="T6" y="T7"/>
                      </a:cxn>
                      <a:cxn ang="0">
                        <a:pos x="T8" y="T9"/>
                      </a:cxn>
                    </a:cxnLst>
                    <a:rect l="0" t="0" r="r" b="b"/>
                    <a:pathLst>
                      <a:path w="124" h="108">
                        <a:moveTo>
                          <a:pt x="102" y="0"/>
                        </a:moveTo>
                        <a:lnTo>
                          <a:pt x="0" y="0"/>
                        </a:lnTo>
                        <a:lnTo>
                          <a:pt x="18" y="108"/>
                        </a:lnTo>
                        <a:lnTo>
                          <a:pt x="124"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6" name="Freeform 53"/>
                  <p:cNvSpPr/>
                  <p:nvPr/>
                </p:nvSpPr>
                <p:spPr bwMode="auto">
                  <a:xfrm>
                    <a:off x="2303" y="3936"/>
                    <a:ext cx="124" cy="108"/>
                  </a:xfrm>
                  <a:custGeom>
                    <a:avLst/>
                    <a:gdLst>
                      <a:gd name="T0" fmla="*/ 102 w 124"/>
                      <a:gd name="T1" fmla="*/ 0 h 108"/>
                      <a:gd name="T2" fmla="*/ 0 w 124"/>
                      <a:gd name="T3" fmla="*/ 0 h 108"/>
                      <a:gd name="T4" fmla="*/ 18 w 124"/>
                      <a:gd name="T5" fmla="*/ 108 h 108"/>
                      <a:gd name="T6" fmla="*/ 124 w 124"/>
                      <a:gd name="T7" fmla="*/ 108 h 108"/>
                      <a:gd name="T8" fmla="*/ 102 w 124"/>
                      <a:gd name="T9" fmla="*/ 0 h 108"/>
                    </a:gdLst>
                    <a:ahLst/>
                    <a:cxnLst>
                      <a:cxn ang="0">
                        <a:pos x="T0" y="T1"/>
                      </a:cxn>
                      <a:cxn ang="0">
                        <a:pos x="T2" y="T3"/>
                      </a:cxn>
                      <a:cxn ang="0">
                        <a:pos x="T4" y="T5"/>
                      </a:cxn>
                      <a:cxn ang="0">
                        <a:pos x="T6" y="T7"/>
                      </a:cxn>
                      <a:cxn ang="0">
                        <a:pos x="T8" y="T9"/>
                      </a:cxn>
                    </a:cxnLst>
                    <a:rect l="0" t="0" r="r" b="b"/>
                    <a:pathLst>
                      <a:path w="124" h="108">
                        <a:moveTo>
                          <a:pt x="102" y="0"/>
                        </a:moveTo>
                        <a:lnTo>
                          <a:pt x="0" y="0"/>
                        </a:lnTo>
                        <a:lnTo>
                          <a:pt x="18" y="108"/>
                        </a:lnTo>
                        <a:lnTo>
                          <a:pt x="124"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7" name="Freeform 54"/>
                  <p:cNvSpPr/>
                  <p:nvPr/>
                </p:nvSpPr>
                <p:spPr bwMode="auto">
                  <a:xfrm>
                    <a:off x="2425" y="3936"/>
                    <a:ext cx="130" cy="108"/>
                  </a:xfrm>
                  <a:custGeom>
                    <a:avLst/>
                    <a:gdLst>
                      <a:gd name="T0" fmla="*/ 104 w 130"/>
                      <a:gd name="T1" fmla="*/ 0 h 108"/>
                      <a:gd name="T2" fmla="*/ 0 w 130"/>
                      <a:gd name="T3" fmla="*/ 0 h 108"/>
                      <a:gd name="T4" fmla="*/ 24 w 130"/>
                      <a:gd name="T5" fmla="*/ 108 h 108"/>
                      <a:gd name="T6" fmla="*/ 130 w 130"/>
                      <a:gd name="T7" fmla="*/ 108 h 108"/>
                      <a:gd name="T8" fmla="*/ 104 w 130"/>
                      <a:gd name="T9" fmla="*/ 0 h 108"/>
                    </a:gdLst>
                    <a:ahLst/>
                    <a:cxnLst>
                      <a:cxn ang="0">
                        <a:pos x="T0" y="T1"/>
                      </a:cxn>
                      <a:cxn ang="0">
                        <a:pos x="T2" y="T3"/>
                      </a:cxn>
                      <a:cxn ang="0">
                        <a:pos x="T4" y="T5"/>
                      </a:cxn>
                      <a:cxn ang="0">
                        <a:pos x="T6" y="T7"/>
                      </a:cxn>
                      <a:cxn ang="0">
                        <a:pos x="T8" y="T9"/>
                      </a:cxn>
                    </a:cxnLst>
                    <a:rect l="0" t="0" r="r" b="b"/>
                    <a:pathLst>
                      <a:path w="130" h="108">
                        <a:moveTo>
                          <a:pt x="104" y="0"/>
                        </a:moveTo>
                        <a:lnTo>
                          <a:pt x="0" y="0"/>
                        </a:lnTo>
                        <a:lnTo>
                          <a:pt x="24" y="108"/>
                        </a:lnTo>
                        <a:lnTo>
                          <a:pt x="130"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8" name="Freeform 55"/>
                  <p:cNvSpPr/>
                  <p:nvPr/>
                </p:nvSpPr>
                <p:spPr bwMode="auto">
                  <a:xfrm>
                    <a:off x="2425" y="3936"/>
                    <a:ext cx="130" cy="108"/>
                  </a:xfrm>
                  <a:custGeom>
                    <a:avLst/>
                    <a:gdLst>
                      <a:gd name="T0" fmla="*/ 104 w 130"/>
                      <a:gd name="T1" fmla="*/ 0 h 108"/>
                      <a:gd name="T2" fmla="*/ 0 w 130"/>
                      <a:gd name="T3" fmla="*/ 0 h 108"/>
                      <a:gd name="T4" fmla="*/ 24 w 130"/>
                      <a:gd name="T5" fmla="*/ 108 h 108"/>
                      <a:gd name="T6" fmla="*/ 130 w 130"/>
                      <a:gd name="T7" fmla="*/ 108 h 108"/>
                      <a:gd name="T8" fmla="*/ 104 w 130"/>
                      <a:gd name="T9" fmla="*/ 0 h 108"/>
                    </a:gdLst>
                    <a:ahLst/>
                    <a:cxnLst>
                      <a:cxn ang="0">
                        <a:pos x="T0" y="T1"/>
                      </a:cxn>
                      <a:cxn ang="0">
                        <a:pos x="T2" y="T3"/>
                      </a:cxn>
                      <a:cxn ang="0">
                        <a:pos x="T4" y="T5"/>
                      </a:cxn>
                      <a:cxn ang="0">
                        <a:pos x="T6" y="T7"/>
                      </a:cxn>
                      <a:cxn ang="0">
                        <a:pos x="T8" y="T9"/>
                      </a:cxn>
                    </a:cxnLst>
                    <a:rect l="0" t="0" r="r" b="b"/>
                    <a:pathLst>
                      <a:path w="130" h="108">
                        <a:moveTo>
                          <a:pt x="104" y="0"/>
                        </a:moveTo>
                        <a:lnTo>
                          <a:pt x="0" y="0"/>
                        </a:lnTo>
                        <a:lnTo>
                          <a:pt x="24" y="108"/>
                        </a:lnTo>
                        <a:lnTo>
                          <a:pt x="130"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19" name="Freeform 56"/>
                  <p:cNvSpPr/>
                  <p:nvPr/>
                </p:nvSpPr>
                <p:spPr bwMode="auto">
                  <a:xfrm>
                    <a:off x="2549" y="3936"/>
                    <a:ext cx="134" cy="108"/>
                  </a:xfrm>
                  <a:custGeom>
                    <a:avLst/>
                    <a:gdLst>
                      <a:gd name="T0" fmla="*/ 104 w 134"/>
                      <a:gd name="T1" fmla="*/ 0 h 108"/>
                      <a:gd name="T2" fmla="*/ 0 w 134"/>
                      <a:gd name="T3" fmla="*/ 0 h 108"/>
                      <a:gd name="T4" fmla="*/ 28 w 134"/>
                      <a:gd name="T5" fmla="*/ 108 h 108"/>
                      <a:gd name="T6" fmla="*/ 134 w 134"/>
                      <a:gd name="T7" fmla="*/ 108 h 108"/>
                      <a:gd name="T8" fmla="*/ 104 w 134"/>
                      <a:gd name="T9" fmla="*/ 0 h 108"/>
                    </a:gdLst>
                    <a:ahLst/>
                    <a:cxnLst>
                      <a:cxn ang="0">
                        <a:pos x="T0" y="T1"/>
                      </a:cxn>
                      <a:cxn ang="0">
                        <a:pos x="T2" y="T3"/>
                      </a:cxn>
                      <a:cxn ang="0">
                        <a:pos x="T4" y="T5"/>
                      </a:cxn>
                      <a:cxn ang="0">
                        <a:pos x="T6" y="T7"/>
                      </a:cxn>
                      <a:cxn ang="0">
                        <a:pos x="T8" y="T9"/>
                      </a:cxn>
                    </a:cxnLst>
                    <a:rect l="0" t="0" r="r" b="b"/>
                    <a:pathLst>
                      <a:path w="134" h="108">
                        <a:moveTo>
                          <a:pt x="104" y="0"/>
                        </a:moveTo>
                        <a:lnTo>
                          <a:pt x="0" y="0"/>
                        </a:lnTo>
                        <a:lnTo>
                          <a:pt x="28" y="108"/>
                        </a:lnTo>
                        <a:lnTo>
                          <a:pt x="134"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0" name="Freeform 57"/>
                  <p:cNvSpPr/>
                  <p:nvPr/>
                </p:nvSpPr>
                <p:spPr bwMode="auto">
                  <a:xfrm>
                    <a:off x="2549" y="3936"/>
                    <a:ext cx="134" cy="108"/>
                  </a:xfrm>
                  <a:custGeom>
                    <a:avLst/>
                    <a:gdLst>
                      <a:gd name="T0" fmla="*/ 104 w 134"/>
                      <a:gd name="T1" fmla="*/ 0 h 108"/>
                      <a:gd name="T2" fmla="*/ 0 w 134"/>
                      <a:gd name="T3" fmla="*/ 0 h 108"/>
                      <a:gd name="T4" fmla="*/ 28 w 134"/>
                      <a:gd name="T5" fmla="*/ 108 h 108"/>
                      <a:gd name="T6" fmla="*/ 134 w 134"/>
                      <a:gd name="T7" fmla="*/ 108 h 108"/>
                      <a:gd name="T8" fmla="*/ 104 w 134"/>
                      <a:gd name="T9" fmla="*/ 0 h 108"/>
                    </a:gdLst>
                    <a:ahLst/>
                    <a:cxnLst>
                      <a:cxn ang="0">
                        <a:pos x="T0" y="T1"/>
                      </a:cxn>
                      <a:cxn ang="0">
                        <a:pos x="T2" y="T3"/>
                      </a:cxn>
                      <a:cxn ang="0">
                        <a:pos x="T4" y="T5"/>
                      </a:cxn>
                      <a:cxn ang="0">
                        <a:pos x="T6" y="T7"/>
                      </a:cxn>
                      <a:cxn ang="0">
                        <a:pos x="T8" y="T9"/>
                      </a:cxn>
                    </a:cxnLst>
                    <a:rect l="0" t="0" r="r" b="b"/>
                    <a:pathLst>
                      <a:path w="134" h="108">
                        <a:moveTo>
                          <a:pt x="104" y="0"/>
                        </a:moveTo>
                        <a:lnTo>
                          <a:pt x="0" y="0"/>
                        </a:lnTo>
                        <a:lnTo>
                          <a:pt x="28" y="108"/>
                        </a:lnTo>
                        <a:lnTo>
                          <a:pt x="134"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1" name="Freeform 58"/>
                  <p:cNvSpPr/>
                  <p:nvPr/>
                </p:nvSpPr>
                <p:spPr bwMode="auto">
                  <a:xfrm>
                    <a:off x="2673" y="3936"/>
                    <a:ext cx="138" cy="108"/>
                  </a:xfrm>
                  <a:custGeom>
                    <a:avLst/>
                    <a:gdLst>
                      <a:gd name="T0" fmla="*/ 104 w 138"/>
                      <a:gd name="T1" fmla="*/ 0 h 108"/>
                      <a:gd name="T2" fmla="*/ 0 w 138"/>
                      <a:gd name="T3" fmla="*/ 0 h 108"/>
                      <a:gd name="T4" fmla="*/ 32 w 138"/>
                      <a:gd name="T5" fmla="*/ 108 h 108"/>
                      <a:gd name="T6" fmla="*/ 138 w 138"/>
                      <a:gd name="T7" fmla="*/ 108 h 108"/>
                      <a:gd name="T8" fmla="*/ 104 w 138"/>
                      <a:gd name="T9" fmla="*/ 0 h 108"/>
                    </a:gdLst>
                    <a:ahLst/>
                    <a:cxnLst>
                      <a:cxn ang="0">
                        <a:pos x="T0" y="T1"/>
                      </a:cxn>
                      <a:cxn ang="0">
                        <a:pos x="T2" y="T3"/>
                      </a:cxn>
                      <a:cxn ang="0">
                        <a:pos x="T4" y="T5"/>
                      </a:cxn>
                      <a:cxn ang="0">
                        <a:pos x="T6" y="T7"/>
                      </a:cxn>
                      <a:cxn ang="0">
                        <a:pos x="T8" y="T9"/>
                      </a:cxn>
                    </a:cxnLst>
                    <a:rect l="0" t="0" r="r" b="b"/>
                    <a:pathLst>
                      <a:path w="138" h="108">
                        <a:moveTo>
                          <a:pt x="104" y="0"/>
                        </a:moveTo>
                        <a:lnTo>
                          <a:pt x="0" y="0"/>
                        </a:lnTo>
                        <a:lnTo>
                          <a:pt x="32" y="108"/>
                        </a:lnTo>
                        <a:lnTo>
                          <a:pt x="138"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2" name="Freeform 59"/>
                  <p:cNvSpPr/>
                  <p:nvPr/>
                </p:nvSpPr>
                <p:spPr bwMode="auto">
                  <a:xfrm>
                    <a:off x="2673" y="3936"/>
                    <a:ext cx="138" cy="108"/>
                  </a:xfrm>
                  <a:custGeom>
                    <a:avLst/>
                    <a:gdLst>
                      <a:gd name="T0" fmla="*/ 104 w 138"/>
                      <a:gd name="T1" fmla="*/ 0 h 108"/>
                      <a:gd name="T2" fmla="*/ 0 w 138"/>
                      <a:gd name="T3" fmla="*/ 0 h 108"/>
                      <a:gd name="T4" fmla="*/ 32 w 138"/>
                      <a:gd name="T5" fmla="*/ 108 h 108"/>
                      <a:gd name="T6" fmla="*/ 138 w 138"/>
                      <a:gd name="T7" fmla="*/ 108 h 108"/>
                      <a:gd name="T8" fmla="*/ 104 w 138"/>
                      <a:gd name="T9" fmla="*/ 0 h 108"/>
                    </a:gdLst>
                    <a:ahLst/>
                    <a:cxnLst>
                      <a:cxn ang="0">
                        <a:pos x="T0" y="T1"/>
                      </a:cxn>
                      <a:cxn ang="0">
                        <a:pos x="T2" y="T3"/>
                      </a:cxn>
                      <a:cxn ang="0">
                        <a:pos x="T4" y="T5"/>
                      </a:cxn>
                      <a:cxn ang="0">
                        <a:pos x="T6" y="T7"/>
                      </a:cxn>
                      <a:cxn ang="0">
                        <a:pos x="T8" y="T9"/>
                      </a:cxn>
                    </a:cxnLst>
                    <a:rect l="0" t="0" r="r" b="b"/>
                    <a:pathLst>
                      <a:path w="138" h="108">
                        <a:moveTo>
                          <a:pt x="104" y="0"/>
                        </a:moveTo>
                        <a:lnTo>
                          <a:pt x="0" y="0"/>
                        </a:lnTo>
                        <a:lnTo>
                          <a:pt x="32" y="108"/>
                        </a:lnTo>
                        <a:lnTo>
                          <a:pt x="138"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3" name="Freeform 60"/>
                  <p:cNvSpPr/>
                  <p:nvPr/>
                </p:nvSpPr>
                <p:spPr bwMode="auto">
                  <a:xfrm>
                    <a:off x="2797" y="3936"/>
                    <a:ext cx="142" cy="108"/>
                  </a:xfrm>
                  <a:custGeom>
                    <a:avLst/>
                    <a:gdLst>
                      <a:gd name="T0" fmla="*/ 104 w 142"/>
                      <a:gd name="T1" fmla="*/ 0 h 108"/>
                      <a:gd name="T2" fmla="*/ 0 w 142"/>
                      <a:gd name="T3" fmla="*/ 0 h 108"/>
                      <a:gd name="T4" fmla="*/ 36 w 142"/>
                      <a:gd name="T5" fmla="*/ 108 h 108"/>
                      <a:gd name="T6" fmla="*/ 142 w 142"/>
                      <a:gd name="T7" fmla="*/ 108 h 108"/>
                      <a:gd name="T8" fmla="*/ 104 w 142"/>
                      <a:gd name="T9" fmla="*/ 0 h 108"/>
                    </a:gdLst>
                    <a:ahLst/>
                    <a:cxnLst>
                      <a:cxn ang="0">
                        <a:pos x="T0" y="T1"/>
                      </a:cxn>
                      <a:cxn ang="0">
                        <a:pos x="T2" y="T3"/>
                      </a:cxn>
                      <a:cxn ang="0">
                        <a:pos x="T4" y="T5"/>
                      </a:cxn>
                      <a:cxn ang="0">
                        <a:pos x="T6" y="T7"/>
                      </a:cxn>
                      <a:cxn ang="0">
                        <a:pos x="T8" y="T9"/>
                      </a:cxn>
                    </a:cxnLst>
                    <a:rect l="0" t="0" r="r" b="b"/>
                    <a:pathLst>
                      <a:path w="142" h="108">
                        <a:moveTo>
                          <a:pt x="104" y="0"/>
                        </a:moveTo>
                        <a:lnTo>
                          <a:pt x="0" y="0"/>
                        </a:lnTo>
                        <a:lnTo>
                          <a:pt x="36" y="108"/>
                        </a:lnTo>
                        <a:lnTo>
                          <a:pt x="142"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4" name="Freeform 61"/>
                  <p:cNvSpPr/>
                  <p:nvPr/>
                </p:nvSpPr>
                <p:spPr bwMode="auto">
                  <a:xfrm>
                    <a:off x="2797" y="3936"/>
                    <a:ext cx="142" cy="108"/>
                  </a:xfrm>
                  <a:custGeom>
                    <a:avLst/>
                    <a:gdLst>
                      <a:gd name="T0" fmla="*/ 104 w 142"/>
                      <a:gd name="T1" fmla="*/ 0 h 108"/>
                      <a:gd name="T2" fmla="*/ 0 w 142"/>
                      <a:gd name="T3" fmla="*/ 0 h 108"/>
                      <a:gd name="T4" fmla="*/ 36 w 142"/>
                      <a:gd name="T5" fmla="*/ 108 h 108"/>
                      <a:gd name="T6" fmla="*/ 142 w 142"/>
                      <a:gd name="T7" fmla="*/ 108 h 108"/>
                      <a:gd name="T8" fmla="*/ 104 w 142"/>
                      <a:gd name="T9" fmla="*/ 0 h 108"/>
                    </a:gdLst>
                    <a:ahLst/>
                    <a:cxnLst>
                      <a:cxn ang="0">
                        <a:pos x="T0" y="T1"/>
                      </a:cxn>
                      <a:cxn ang="0">
                        <a:pos x="T2" y="T3"/>
                      </a:cxn>
                      <a:cxn ang="0">
                        <a:pos x="T4" y="T5"/>
                      </a:cxn>
                      <a:cxn ang="0">
                        <a:pos x="T6" y="T7"/>
                      </a:cxn>
                      <a:cxn ang="0">
                        <a:pos x="T8" y="T9"/>
                      </a:cxn>
                    </a:cxnLst>
                    <a:rect l="0" t="0" r="r" b="b"/>
                    <a:pathLst>
                      <a:path w="142" h="108">
                        <a:moveTo>
                          <a:pt x="104" y="0"/>
                        </a:moveTo>
                        <a:lnTo>
                          <a:pt x="0" y="0"/>
                        </a:lnTo>
                        <a:lnTo>
                          <a:pt x="36" y="108"/>
                        </a:lnTo>
                        <a:lnTo>
                          <a:pt x="142"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5" name="Freeform 62"/>
                  <p:cNvSpPr/>
                  <p:nvPr/>
                </p:nvSpPr>
                <p:spPr bwMode="auto">
                  <a:xfrm>
                    <a:off x="2921" y="3936"/>
                    <a:ext cx="146" cy="108"/>
                  </a:xfrm>
                  <a:custGeom>
                    <a:avLst/>
                    <a:gdLst>
                      <a:gd name="T0" fmla="*/ 104 w 146"/>
                      <a:gd name="T1" fmla="*/ 0 h 108"/>
                      <a:gd name="T2" fmla="*/ 0 w 146"/>
                      <a:gd name="T3" fmla="*/ 0 h 108"/>
                      <a:gd name="T4" fmla="*/ 40 w 146"/>
                      <a:gd name="T5" fmla="*/ 108 h 108"/>
                      <a:gd name="T6" fmla="*/ 146 w 146"/>
                      <a:gd name="T7" fmla="*/ 108 h 108"/>
                      <a:gd name="T8" fmla="*/ 104 w 146"/>
                      <a:gd name="T9" fmla="*/ 0 h 108"/>
                    </a:gdLst>
                    <a:ahLst/>
                    <a:cxnLst>
                      <a:cxn ang="0">
                        <a:pos x="T0" y="T1"/>
                      </a:cxn>
                      <a:cxn ang="0">
                        <a:pos x="T2" y="T3"/>
                      </a:cxn>
                      <a:cxn ang="0">
                        <a:pos x="T4" y="T5"/>
                      </a:cxn>
                      <a:cxn ang="0">
                        <a:pos x="T6" y="T7"/>
                      </a:cxn>
                      <a:cxn ang="0">
                        <a:pos x="T8" y="T9"/>
                      </a:cxn>
                    </a:cxnLst>
                    <a:rect l="0" t="0" r="r" b="b"/>
                    <a:pathLst>
                      <a:path w="146" h="108">
                        <a:moveTo>
                          <a:pt x="104" y="0"/>
                        </a:moveTo>
                        <a:lnTo>
                          <a:pt x="0" y="0"/>
                        </a:lnTo>
                        <a:lnTo>
                          <a:pt x="40" y="108"/>
                        </a:lnTo>
                        <a:lnTo>
                          <a:pt x="146" y="108"/>
                        </a:lnTo>
                        <a:lnTo>
                          <a:pt x="10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6" name="Freeform 63"/>
                  <p:cNvSpPr/>
                  <p:nvPr/>
                </p:nvSpPr>
                <p:spPr bwMode="auto">
                  <a:xfrm>
                    <a:off x="2921" y="3936"/>
                    <a:ext cx="146" cy="108"/>
                  </a:xfrm>
                  <a:custGeom>
                    <a:avLst/>
                    <a:gdLst>
                      <a:gd name="T0" fmla="*/ 104 w 146"/>
                      <a:gd name="T1" fmla="*/ 0 h 108"/>
                      <a:gd name="T2" fmla="*/ 0 w 146"/>
                      <a:gd name="T3" fmla="*/ 0 h 108"/>
                      <a:gd name="T4" fmla="*/ 40 w 146"/>
                      <a:gd name="T5" fmla="*/ 108 h 108"/>
                      <a:gd name="T6" fmla="*/ 146 w 146"/>
                      <a:gd name="T7" fmla="*/ 108 h 108"/>
                      <a:gd name="T8" fmla="*/ 104 w 146"/>
                      <a:gd name="T9" fmla="*/ 0 h 108"/>
                    </a:gdLst>
                    <a:ahLst/>
                    <a:cxnLst>
                      <a:cxn ang="0">
                        <a:pos x="T0" y="T1"/>
                      </a:cxn>
                      <a:cxn ang="0">
                        <a:pos x="T2" y="T3"/>
                      </a:cxn>
                      <a:cxn ang="0">
                        <a:pos x="T4" y="T5"/>
                      </a:cxn>
                      <a:cxn ang="0">
                        <a:pos x="T6" y="T7"/>
                      </a:cxn>
                      <a:cxn ang="0">
                        <a:pos x="T8" y="T9"/>
                      </a:cxn>
                    </a:cxnLst>
                    <a:rect l="0" t="0" r="r" b="b"/>
                    <a:pathLst>
                      <a:path w="146" h="108">
                        <a:moveTo>
                          <a:pt x="104" y="0"/>
                        </a:moveTo>
                        <a:lnTo>
                          <a:pt x="0" y="0"/>
                        </a:lnTo>
                        <a:lnTo>
                          <a:pt x="40" y="108"/>
                        </a:lnTo>
                        <a:lnTo>
                          <a:pt x="146" y="10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7" name="Freeform 64"/>
                  <p:cNvSpPr/>
                  <p:nvPr/>
                </p:nvSpPr>
                <p:spPr bwMode="auto">
                  <a:xfrm>
                    <a:off x="3045" y="3936"/>
                    <a:ext cx="150" cy="108"/>
                  </a:xfrm>
                  <a:custGeom>
                    <a:avLst/>
                    <a:gdLst>
                      <a:gd name="T0" fmla="*/ 102 w 150"/>
                      <a:gd name="T1" fmla="*/ 0 h 108"/>
                      <a:gd name="T2" fmla="*/ 0 w 150"/>
                      <a:gd name="T3" fmla="*/ 0 h 108"/>
                      <a:gd name="T4" fmla="*/ 44 w 150"/>
                      <a:gd name="T5" fmla="*/ 108 h 108"/>
                      <a:gd name="T6" fmla="*/ 150 w 150"/>
                      <a:gd name="T7" fmla="*/ 108 h 108"/>
                      <a:gd name="T8" fmla="*/ 102 w 150"/>
                      <a:gd name="T9" fmla="*/ 0 h 108"/>
                    </a:gdLst>
                    <a:ahLst/>
                    <a:cxnLst>
                      <a:cxn ang="0">
                        <a:pos x="T0" y="T1"/>
                      </a:cxn>
                      <a:cxn ang="0">
                        <a:pos x="T2" y="T3"/>
                      </a:cxn>
                      <a:cxn ang="0">
                        <a:pos x="T4" y="T5"/>
                      </a:cxn>
                      <a:cxn ang="0">
                        <a:pos x="T6" y="T7"/>
                      </a:cxn>
                      <a:cxn ang="0">
                        <a:pos x="T8" y="T9"/>
                      </a:cxn>
                    </a:cxnLst>
                    <a:rect l="0" t="0" r="r" b="b"/>
                    <a:pathLst>
                      <a:path w="150" h="108">
                        <a:moveTo>
                          <a:pt x="102" y="0"/>
                        </a:moveTo>
                        <a:lnTo>
                          <a:pt x="0" y="0"/>
                        </a:lnTo>
                        <a:lnTo>
                          <a:pt x="44" y="108"/>
                        </a:lnTo>
                        <a:lnTo>
                          <a:pt x="150"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8" name="Freeform 65"/>
                  <p:cNvSpPr/>
                  <p:nvPr/>
                </p:nvSpPr>
                <p:spPr bwMode="auto">
                  <a:xfrm>
                    <a:off x="3045" y="3936"/>
                    <a:ext cx="150" cy="108"/>
                  </a:xfrm>
                  <a:custGeom>
                    <a:avLst/>
                    <a:gdLst>
                      <a:gd name="T0" fmla="*/ 102 w 150"/>
                      <a:gd name="T1" fmla="*/ 0 h 108"/>
                      <a:gd name="T2" fmla="*/ 0 w 150"/>
                      <a:gd name="T3" fmla="*/ 0 h 108"/>
                      <a:gd name="T4" fmla="*/ 44 w 150"/>
                      <a:gd name="T5" fmla="*/ 108 h 108"/>
                      <a:gd name="T6" fmla="*/ 150 w 150"/>
                      <a:gd name="T7" fmla="*/ 108 h 108"/>
                      <a:gd name="T8" fmla="*/ 102 w 150"/>
                      <a:gd name="T9" fmla="*/ 0 h 108"/>
                    </a:gdLst>
                    <a:ahLst/>
                    <a:cxnLst>
                      <a:cxn ang="0">
                        <a:pos x="T0" y="T1"/>
                      </a:cxn>
                      <a:cxn ang="0">
                        <a:pos x="T2" y="T3"/>
                      </a:cxn>
                      <a:cxn ang="0">
                        <a:pos x="T4" y="T5"/>
                      </a:cxn>
                      <a:cxn ang="0">
                        <a:pos x="T6" y="T7"/>
                      </a:cxn>
                      <a:cxn ang="0">
                        <a:pos x="T8" y="T9"/>
                      </a:cxn>
                    </a:cxnLst>
                    <a:rect l="0" t="0" r="r" b="b"/>
                    <a:pathLst>
                      <a:path w="150" h="108">
                        <a:moveTo>
                          <a:pt x="102" y="0"/>
                        </a:moveTo>
                        <a:lnTo>
                          <a:pt x="0" y="0"/>
                        </a:lnTo>
                        <a:lnTo>
                          <a:pt x="44" y="108"/>
                        </a:lnTo>
                        <a:lnTo>
                          <a:pt x="150"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9" name="Freeform 66"/>
                  <p:cNvSpPr/>
                  <p:nvPr/>
                </p:nvSpPr>
                <p:spPr bwMode="auto">
                  <a:xfrm>
                    <a:off x="3169" y="3936"/>
                    <a:ext cx="154" cy="108"/>
                  </a:xfrm>
                  <a:custGeom>
                    <a:avLst/>
                    <a:gdLst>
                      <a:gd name="T0" fmla="*/ 102 w 154"/>
                      <a:gd name="T1" fmla="*/ 0 h 108"/>
                      <a:gd name="T2" fmla="*/ 0 w 154"/>
                      <a:gd name="T3" fmla="*/ 0 h 108"/>
                      <a:gd name="T4" fmla="*/ 48 w 154"/>
                      <a:gd name="T5" fmla="*/ 108 h 108"/>
                      <a:gd name="T6" fmla="*/ 154 w 154"/>
                      <a:gd name="T7" fmla="*/ 108 h 108"/>
                      <a:gd name="T8" fmla="*/ 102 w 154"/>
                      <a:gd name="T9" fmla="*/ 0 h 108"/>
                    </a:gdLst>
                    <a:ahLst/>
                    <a:cxnLst>
                      <a:cxn ang="0">
                        <a:pos x="T0" y="T1"/>
                      </a:cxn>
                      <a:cxn ang="0">
                        <a:pos x="T2" y="T3"/>
                      </a:cxn>
                      <a:cxn ang="0">
                        <a:pos x="T4" y="T5"/>
                      </a:cxn>
                      <a:cxn ang="0">
                        <a:pos x="T6" y="T7"/>
                      </a:cxn>
                      <a:cxn ang="0">
                        <a:pos x="T8" y="T9"/>
                      </a:cxn>
                    </a:cxnLst>
                    <a:rect l="0" t="0" r="r" b="b"/>
                    <a:pathLst>
                      <a:path w="154" h="108">
                        <a:moveTo>
                          <a:pt x="102" y="0"/>
                        </a:moveTo>
                        <a:lnTo>
                          <a:pt x="0" y="0"/>
                        </a:lnTo>
                        <a:lnTo>
                          <a:pt x="48" y="108"/>
                        </a:lnTo>
                        <a:lnTo>
                          <a:pt x="154"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0" name="Freeform 67"/>
                  <p:cNvSpPr/>
                  <p:nvPr/>
                </p:nvSpPr>
                <p:spPr bwMode="auto">
                  <a:xfrm>
                    <a:off x="3169" y="3936"/>
                    <a:ext cx="154" cy="108"/>
                  </a:xfrm>
                  <a:custGeom>
                    <a:avLst/>
                    <a:gdLst>
                      <a:gd name="T0" fmla="*/ 102 w 154"/>
                      <a:gd name="T1" fmla="*/ 0 h 108"/>
                      <a:gd name="T2" fmla="*/ 0 w 154"/>
                      <a:gd name="T3" fmla="*/ 0 h 108"/>
                      <a:gd name="T4" fmla="*/ 48 w 154"/>
                      <a:gd name="T5" fmla="*/ 108 h 108"/>
                      <a:gd name="T6" fmla="*/ 154 w 154"/>
                      <a:gd name="T7" fmla="*/ 108 h 108"/>
                      <a:gd name="T8" fmla="*/ 102 w 154"/>
                      <a:gd name="T9" fmla="*/ 0 h 108"/>
                    </a:gdLst>
                    <a:ahLst/>
                    <a:cxnLst>
                      <a:cxn ang="0">
                        <a:pos x="T0" y="T1"/>
                      </a:cxn>
                      <a:cxn ang="0">
                        <a:pos x="T2" y="T3"/>
                      </a:cxn>
                      <a:cxn ang="0">
                        <a:pos x="T4" y="T5"/>
                      </a:cxn>
                      <a:cxn ang="0">
                        <a:pos x="T6" y="T7"/>
                      </a:cxn>
                      <a:cxn ang="0">
                        <a:pos x="T8" y="T9"/>
                      </a:cxn>
                    </a:cxnLst>
                    <a:rect l="0" t="0" r="r" b="b"/>
                    <a:pathLst>
                      <a:path w="154" h="108">
                        <a:moveTo>
                          <a:pt x="102" y="0"/>
                        </a:moveTo>
                        <a:lnTo>
                          <a:pt x="0" y="0"/>
                        </a:lnTo>
                        <a:lnTo>
                          <a:pt x="48" y="108"/>
                        </a:lnTo>
                        <a:lnTo>
                          <a:pt x="154"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1" name="Freeform 68"/>
                  <p:cNvSpPr/>
                  <p:nvPr/>
                </p:nvSpPr>
                <p:spPr bwMode="auto">
                  <a:xfrm>
                    <a:off x="3293" y="3936"/>
                    <a:ext cx="158" cy="108"/>
                  </a:xfrm>
                  <a:custGeom>
                    <a:avLst/>
                    <a:gdLst>
                      <a:gd name="T0" fmla="*/ 102 w 158"/>
                      <a:gd name="T1" fmla="*/ 0 h 108"/>
                      <a:gd name="T2" fmla="*/ 0 w 158"/>
                      <a:gd name="T3" fmla="*/ 0 h 108"/>
                      <a:gd name="T4" fmla="*/ 52 w 158"/>
                      <a:gd name="T5" fmla="*/ 108 h 108"/>
                      <a:gd name="T6" fmla="*/ 158 w 158"/>
                      <a:gd name="T7" fmla="*/ 108 h 108"/>
                      <a:gd name="T8" fmla="*/ 102 w 158"/>
                      <a:gd name="T9" fmla="*/ 0 h 108"/>
                    </a:gdLst>
                    <a:ahLst/>
                    <a:cxnLst>
                      <a:cxn ang="0">
                        <a:pos x="T0" y="T1"/>
                      </a:cxn>
                      <a:cxn ang="0">
                        <a:pos x="T2" y="T3"/>
                      </a:cxn>
                      <a:cxn ang="0">
                        <a:pos x="T4" y="T5"/>
                      </a:cxn>
                      <a:cxn ang="0">
                        <a:pos x="T6" y="T7"/>
                      </a:cxn>
                      <a:cxn ang="0">
                        <a:pos x="T8" y="T9"/>
                      </a:cxn>
                    </a:cxnLst>
                    <a:rect l="0" t="0" r="r" b="b"/>
                    <a:pathLst>
                      <a:path w="158" h="108">
                        <a:moveTo>
                          <a:pt x="102" y="0"/>
                        </a:moveTo>
                        <a:lnTo>
                          <a:pt x="0" y="0"/>
                        </a:lnTo>
                        <a:lnTo>
                          <a:pt x="52" y="108"/>
                        </a:lnTo>
                        <a:lnTo>
                          <a:pt x="158" y="108"/>
                        </a:lnTo>
                        <a:lnTo>
                          <a:pt x="10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2" name="Freeform 69"/>
                  <p:cNvSpPr/>
                  <p:nvPr/>
                </p:nvSpPr>
                <p:spPr bwMode="auto">
                  <a:xfrm>
                    <a:off x="3293" y="3936"/>
                    <a:ext cx="158" cy="108"/>
                  </a:xfrm>
                  <a:custGeom>
                    <a:avLst/>
                    <a:gdLst>
                      <a:gd name="T0" fmla="*/ 102 w 158"/>
                      <a:gd name="T1" fmla="*/ 0 h 108"/>
                      <a:gd name="T2" fmla="*/ 0 w 158"/>
                      <a:gd name="T3" fmla="*/ 0 h 108"/>
                      <a:gd name="T4" fmla="*/ 52 w 158"/>
                      <a:gd name="T5" fmla="*/ 108 h 108"/>
                      <a:gd name="T6" fmla="*/ 158 w 158"/>
                      <a:gd name="T7" fmla="*/ 108 h 108"/>
                      <a:gd name="T8" fmla="*/ 102 w 158"/>
                      <a:gd name="T9" fmla="*/ 0 h 108"/>
                    </a:gdLst>
                    <a:ahLst/>
                    <a:cxnLst>
                      <a:cxn ang="0">
                        <a:pos x="T0" y="T1"/>
                      </a:cxn>
                      <a:cxn ang="0">
                        <a:pos x="T2" y="T3"/>
                      </a:cxn>
                      <a:cxn ang="0">
                        <a:pos x="T4" y="T5"/>
                      </a:cxn>
                      <a:cxn ang="0">
                        <a:pos x="T6" y="T7"/>
                      </a:cxn>
                      <a:cxn ang="0">
                        <a:pos x="T8" y="T9"/>
                      </a:cxn>
                    </a:cxnLst>
                    <a:rect l="0" t="0" r="r" b="b"/>
                    <a:pathLst>
                      <a:path w="158" h="108">
                        <a:moveTo>
                          <a:pt x="102" y="0"/>
                        </a:moveTo>
                        <a:lnTo>
                          <a:pt x="0" y="0"/>
                        </a:lnTo>
                        <a:lnTo>
                          <a:pt x="52" y="108"/>
                        </a:lnTo>
                        <a:lnTo>
                          <a:pt x="158" y="108"/>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3" name="Freeform 70"/>
                  <p:cNvSpPr/>
                  <p:nvPr/>
                </p:nvSpPr>
                <p:spPr bwMode="auto">
                  <a:xfrm>
                    <a:off x="82" y="4362"/>
                    <a:ext cx="166" cy="108"/>
                  </a:xfrm>
                  <a:custGeom>
                    <a:avLst/>
                    <a:gdLst>
                      <a:gd name="T0" fmla="*/ 166 w 166"/>
                      <a:gd name="T1" fmla="*/ 0 h 108"/>
                      <a:gd name="T2" fmla="*/ 50 w 166"/>
                      <a:gd name="T3" fmla="*/ 0 h 108"/>
                      <a:gd name="T4" fmla="*/ 0 w 166"/>
                      <a:gd name="T5" fmla="*/ 108 h 108"/>
                      <a:gd name="T6" fmla="*/ 122 w 166"/>
                      <a:gd name="T7" fmla="*/ 108 h 108"/>
                      <a:gd name="T8" fmla="*/ 166 w 166"/>
                      <a:gd name="T9" fmla="*/ 0 h 108"/>
                    </a:gdLst>
                    <a:ahLst/>
                    <a:cxnLst>
                      <a:cxn ang="0">
                        <a:pos x="T0" y="T1"/>
                      </a:cxn>
                      <a:cxn ang="0">
                        <a:pos x="T2" y="T3"/>
                      </a:cxn>
                      <a:cxn ang="0">
                        <a:pos x="T4" y="T5"/>
                      </a:cxn>
                      <a:cxn ang="0">
                        <a:pos x="T6" y="T7"/>
                      </a:cxn>
                      <a:cxn ang="0">
                        <a:pos x="T8" y="T9"/>
                      </a:cxn>
                    </a:cxnLst>
                    <a:rect l="0" t="0" r="r" b="b"/>
                    <a:pathLst>
                      <a:path w="166" h="108">
                        <a:moveTo>
                          <a:pt x="166" y="0"/>
                        </a:moveTo>
                        <a:lnTo>
                          <a:pt x="50" y="0"/>
                        </a:lnTo>
                        <a:lnTo>
                          <a:pt x="0" y="108"/>
                        </a:lnTo>
                        <a:lnTo>
                          <a:pt x="122" y="108"/>
                        </a:lnTo>
                        <a:lnTo>
                          <a:pt x="16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4" name="Freeform 71"/>
                  <p:cNvSpPr/>
                  <p:nvPr/>
                </p:nvSpPr>
                <p:spPr bwMode="auto">
                  <a:xfrm>
                    <a:off x="82" y="4362"/>
                    <a:ext cx="166" cy="108"/>
                  </a:xfrm>
                  <a:custGeom>
                    <a:avLst/>
                    <a:gdLst>
                      <a:gd name="T0" fmla="*/ 166 w 166"/>
                      <a:gd name="T1" fmla="*/ 0 h 108"/>
                      <a:gd name="T2" fmla="*/ 50 w 166"/>
                      <a:gd name="T3" fmla="*/ 0 h 108"/>
                      <a:gd name="T4" fmla="*/ 0 w 166"/>
                      <a:gd name="T5" fmla="*/ 108 h 108"/>
                      <a:gd name="T6" fmla="*/ 122 w 166"/>
                      <a:gd name="T7" fmla="*/ 108 h 108"/>
                      <a:gd name="T8" fmla="*/ 166 w 166"/>
                      <a:gd name="T9" fmla="*/ 0 h 108"/>
                    </a:gdLst>
                    <a:ahLst/>
                    <a:cxnLst>
                      <a:cxn ang="0">
                        <a:pos x="T0" y="T1"/>
                      </a:cxn>
                      <a:cxn ang="0">
                        <a:pos x="T2" y="T3"/>
                      </a:cxn>
                      <a:cxn ang="0">
                        <a:pos x="T4" y="T5"/>
                      </a:cxn>
                      <a:cxn ang="0">
                        <a:pos x="T6" y="T7"/>
                      </a:cxn>
                      <a:cxn ang="0">
                        <a:pos x="T8" y="T9"/>
                      </a:cxn>
                    </a:cxnLst>
                    <a:rect l="0" t="0" r="r" b="b"/>
                    <a:pathLst>
                      <a:path w="166" h="108">
                        <a:moveTo>
                          <a:pt x="166" y="0"/>
                        </a:moveTo>
                        <a:lnTo>
                          <a:pt x="50" y="0"/>
                        </a:lnTo>
                        <a:lnTo>
                          <a:pt x="0" y="108"/>
                        </a:lnTo>
                        <a:lnTo>
                          <a:pt x="122" y="108"/>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5" name="Freeform 72"/>
                  <p:cNvSpPr/>
                  <p:nvPr/>
                </p:nvSpPr>
                <p:spPr bwMode="auto">
                  <a:xfrm>
                    <a:off x="228" y="4362"/>
                    <a:ext cx="160" cy="108"/>
                  </a:xfrm>
                  <a:custGeom>
                    <a:avLst/>
                    <a:gdLst>
                      <a:gd name="T0" fmla="*/ 160 w 160"/>
                      <a:gd name="T1" fmla="*/ 0 h 108"/>
                      <a:gd name="T2" fmla="*/ 44 w 160"/>
                      <a:gd name="T3" fmla="*/ 0 h 108"/>
                      <a:gd name="T4" fmla="*/ 0 w 160"/>
                      <a:gd name="T5" fmla="*/ 108 h 108"/>
                      <a:gd name="T6" fmla="*/ 120 w 160"/>
                      <a:gd name="T7" fmla="*/ 108 h 108"/>
                      <a:gd name="T8" fmla="*/ 160 w 160"/>
                      <a:gd name="T9" fmla="*/ 0 h 108"/>
                    </a:gdLst>
                    <a:ahLst/>
                    <a:cxnLst>
                      <a:cxn ang="0">
                        <a:pos x="T0" y="T1"/>
                      </a:cxn>
                      <a:cxn ang="0">
                        <a:pos x="T2" y="T3"/>
                      </a:cxn>
                      <a:cxn ang="0">
                        <a:pos x="T4" y="T5"/>
                      </a:cxn>
                      <a:cxn ang="0">
                        <a:pos x="T6" y="T7"/>
                      </a:cxn>
                      <a:cxn ang="0">
                        <a:pos x="T8" y="T9"/>
                      </a:cxn>
                    </a:cxnLst>
                    <a:rect l="0" t="0" r="r" b="b"/>
                    <a:pathLst>
                      <a:path w="160" h="108">
                        <a:moveTo>
                          <a:pt x="160" y="0"/>
                        </a:moveTo>
                        <a:lnTo>
                          <a:pt x="44" y="0"/>
                        </a:lnTo>
                        <a:lnTo>
                          <a:pt x="0" y="108"/>
                        </a:lnTo>
                        <a:lnTo>
                          <a:pt x="120" y="108"/>
                        </a:lnTo>
                        <a:lnTo>
                          <a:pt x="16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6" name="Freeform 73"/>
                  <p:cNvSpPr/>
                  <p:nvPr/>
                </p:nvSpPr>
                <p:spPr bwMode="auto">
                  <a:xfrm>
                    <a:off x="228" y="4362"/>
                    <a:ext cx="160" cy="108"/>
                  </a:xfrm>
                  <a:custGeom>
                    <a:avLst/>
                    <a:gdLst>
                      <a:gd name="T0" fmla="*/ 160 w 160"/>
                      <a:gd name="T1" fmla="*/ 0 h 108"/>
                      <a:gd name="T2" fmla="*/ 44 w 160"/>
                      <a:gd name="T3" fmla="*/ 0 h 108"/>
                      <a:gd name="T4" fmla="*/ 0 w 160"/>
                      <a:gd name="T5" fmla="*/ 108 h 108"/>
                      <a:gd name="T6" fmla="*/ 120 w 160"/>
                      <a:gd name="T7" fmla="*/ 108 h 108"/>
                      <a:gd name="T8" fmla="*/ 160 w 160"/>
                      <a:gd name="T9" fmla="*/ 0 h 108"/>
                    </a:gdLst>
                    <a:ahLst/>
                    <a:cxnLst>
                      <a:cxn ang="0">
                        <a:pos x="T0" y="T1"/>
                      </a:cxn>
                      <a:cxn ang="0">
                        <a:pos x="T2" y="T3"/>
                      </a:cxn>
                      <a:cxn ang="0">
                        <a:pos x="T4" y="T5"/>
                      </a:cxn>
                      <a:cxn ang="0">
                        <a:pos x="T6" y="T7"/>
                      </a:cxn>
                      <a:cxn ang="0">
                        <a:pos x="T8" y="T9"/>
                      </a:cxn>
                    </a:cxnLst>
                    <a:rect l="0" t="0" r="r" b="b"/>
                    <a:pathLst>
                      <a:path w="160" h="108">
                        <a:moveTo>
                          <a:pt x="160" y="0"/>
                        </a:moveTo>
                        <a:lnTo>
                          <a:pt x="44" y="0"/>
                        </a:lnTo>
                        <a:lnTo>
                          <a:pt x="0" y="108"/>
                        </a:lnTo>
                        <a:lnTo>
                          <a:pt x="120" y="108"/>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7" name="Freeform 74"/>
                  <p:cNvSpPr/>
                  <p:nvPr/>
                </p:nvSpPr>
                <p:spPr bwMode="auto">
                  <a:xfrm>
                    <a:off x="372" y="4362"/>
                    <a:ext cx="156" cy="108"/>
                  </a:xfrm>
                  <a:custGeom>
                    <a:avLst/>
                    <a:gdLst>
                      <a:gd name="T0" fmla="*/ 156 w 156"/>
                      <a:gd name="T1" fmla="*/ 0 h 108"/>
                      <a:gd name="T2" fmla="*/ 40 w 156"/>
                      <a:gd name="T3" fmla="*/ 0 h 108"/>
                      <a:gd name="T4" fmla="*/ 0 w 156"/>
                      <a:gd name="T5" fmla="*/ 108 h 108"/>
                      <a:gd name="T6" fmla="*/ 120 w 156"/>
                      <a:gd name="T7" fmla="*/ 108 h 108"/>
                      <a:gd name="T8" fmla="*/ 156 w 156"/>
                      <a:gd name="T9" fmla="*/ 0 h 108"/>
                    </a:gdLst>
                    <a:ahLst/>
                    <a:cxnLst>
                      <a:cxn ang="0">
                        <a:pos x="T0" y="T1"/>
                      </a:cxn>
                      <a:cxn ang="0">
                        <a:pos x="T2" y="T3"/>
                      </a:cxn>
                      <a:cxn ang="0">
                        <a:pos x="T4" y="T5"/>
                      </a:cxn>
                      <a:cxn ang="0">
                        <a:pos x="T6" y="T7"/>
                      </a:cxn>
                      <a:cxn ang="0">
                        <a:pos x="T8" y="T9"/>
                      </a:cxn>
                    </a:cxnLst>
                    <a:rect l="0" t="0" r="r" b="b"/>
                    <a:pathLst>
                      <a:path w="156" h="108">
                        <a:moveTo>
                          <a:pt x="156" y="0"/>
                        </a:moveTo>
                        <a:lnTo>
                          <a:pt x="40" y="0"/>
                        </a:lnTo>
                        <a:lnTo>
                          <a:pt x="0" y="108"/>
                        </a:lnTo>
                        <a:lnTo>
                          <a:pt x="120" y="108"/>
                        </a:lnTo>
                        <a:lnTo>
                          <a:pt x="15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8" name="Freeform 75"/>
                  <p:cNvSpPr/>
                  <p:nvPr/>
                </p:nvSpPr>
                <p:spPr bwMode="auto">
                  <a:xfrm>
                    <a:off x="372" y="4362"/>
                    <a:ext cx="156" cy="108"/>
                  </a:xfrm>
                  <a:custGeom>
                    <a:avLst/>
                    <a:gdLst>
                      <a:gd name="T0" fmla="*/ 156 w 156"/>
                      <a:gd name="T1" fmla="*/ 0 h 108"/>
                      <a:gd name="T2" fmla="*/ 40 w 156"/>
                      <a:gd name="T3" fmla="*/ 0 h 108"/>
                      <a:gd name="T4" fmla="*/ 0 w 156"/>
                      <a:gd name="T5" fmla="*/ 108 h 108"/>
                      <a:gd name="T6" fmla="*/ 120 w 156"/>
                      <a:gd name="T7" fmla="*/ 108 h 108"/>
                      <a:gd name="T8" fmla="*/ 156 w 156"/>
                      <a:gd name="T9" fmla="*/ 0 h 108"/>
                    </a:gdLst>
                    <a:ahLst/>
                    <a:cxnLst>
                      <a:cxn ang="0">
                        <a:pos x="T0" y="T1"/>
                      </a:cxn>
                      <a:cxn ang="0">
                        <a:pos x="T2" y="T3"/>
                      </a:cxn>
                      <a:cxn ang="0">
                        <a:pos x="T4" y="T5"/>
                      </a:cxn>
                      <a:cxn ang="0">
                        <a:pos x="T6" y="T7"/>
                      </a:cxn>
                      <a:cxn ang="0">
                        <a:pos x="T8" y="T9"/>
                      </a:cxn>
                    </a:cxnLst>
                    <a:rect l="0" t="0" r="r" b="b"/>
                    <a:pathLst>
                      <a:path w="156" h="108">
                        <a:moveTo>
                          <a:pt x="156" y="0"/>
                        </a:moveTo>
                        <a:lnTo>
                          <a:pt x="40" y="0"/>
                        </a:lnTo>
                        <a:lnTo>
                          <a:pt x="0" y="108"/>
                        </a:lnTo>
                        <a:lnTo>
                          <a:pt x="120" y="108"/>
                        </a:lnTo>
                        <a:lnTo>
                          <a:pt x="1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9" name="Freeform 76"/>
                  <p:cNvSpPr/>
                  <p:nvPr/>
                </p:nvSpPr>
                <p:spPr bwMode="auto">
                  <a:xfrm>
                    <a:off x="516" y="4362"/>
                    <a:ext cx="152" cy="108"/>
                  </a:xfrm>
                  <a:custGeom>
                    <a:avLst/>
                    <a:gdLst>
                      <a:gd name="T0" fmla="*/ 152 w 152"/>
                      <a:gd name="T1" fmla="*/ 0 h 108"/>
                      <a:gd name="T2" fmla="*/ 36 w 152"/>
                      <a:gd name="T3" fmla="*/ 0 h 108"/>
                      <a:gd name="T4" fmla="*/ 0 w 152"/>
                      <a:gd name="T5" fmla="*/ 108 h 108"/>
                      <a:gd name="T6" fmla="*/ 120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36" y="0"/>
                        </a:lnTo>
                        <a:lnTo>
                          <a:pt x="0" y="108"/>
                        </a:lnTo>
                        <a:lnTo>
                          <a:pt x="120" y="108"/>
                        </a:lnTo>
                        <a:lnTo>
                          <a:pt x="15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0" name="Freeform 77"/>
                  <p:cNvSpPr/>
                  <p:nvPr/>
                </p:nvSpPr>
                <p:spPr bwMode="auto">
                  <a:xfrm>
                    <a:off x="516" y="4362"/>
                    <a:ext cx="152" cy="108"/>
                  </a:xfrm>
                  <a:custGeom>
                    <a:avLst/>
                    <a:gdLst>
                      <a:gd name="T0" fmla="*/ 152 w 152"/>
                      <a:gd name="T1" fmla="*/ 0 h 108"/>
                      <a:gd name="T2" fmla="*/ 36 w 152"/>
                      <a:gd name="T3" fmla="*/ 0 h 108"/>
                      <a:gd name="T4" fmla="*/ 0 w 152"/>
                      <a:gd name="T5" fmla="*/ 108 h 108"/>
                      <a:gd name="T6" fmla="*/ 120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36" y="0"/>
                        </a:lnTo>
                        <a:lnTo>
                          <a:pt x="0" y="108"/>
                        </a:lnTo>
                        <a:lnTo>
                          <a:pt x="120" y="10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1" name="Freeform 78"/>
                  <p:cNvSpPr/>
                  <p:nvPr/>
                </p:nvSpPr>
                <p:spPr bwMode="auto">
                  <a:xfrm>
                    <a:off x="660" y="4362"/>
                    <a:ext cx="150" cy="108"/>
                  </a:xfrm>
                  <a:custGeom>
                    <a:avLst/>
                    <a:gdLst>
                      <a:gd name="T0" fmla="*/ 150 w 150"/>
                      <a:gd name="T1" fmla="*/ 0 h 108"/>
                      <a:gd name="T2" fmla="*/ 32 w 150"/>
                      <a:gd name="T3" fmla="*/ 0 h 108"/>
                      <a:gd name="T4" fmla="*/ 0 w 150"/>
                      <a:gd name="T5" fmla="*/ 108 h 108"/>
                      <a:gd name="T6" fmla="*/ 122 w 150"/>
                      <a:gd name="T7" fmla="*/ 108 h 108"/>
                      <a:gd name="T8" fmla="*/ 150 w 150"/>
                      <a:gd name="T9" fmla="*/ 0 h 108"/>
                    </a:gdLst>
                    <a:ahLst/>
                    <a:cxnLst>
                      <a:cxn ang="0">
                        <a:pos x="T0" y="T1"/>
                      </a:cxn>
                      <a:cxn ang="0">
                        <a:pos x="T2" y="T3"/>
                      </a:cxn>
                      <a:cxn ang="0">
                        <a:pos x="T4" y="T5"/>
                      </a:cxn>
                      <a:cxn ang="0">
                        <a:pos x="T6" y="T7"/>
                      </a:cxn>
                      <a:cxn ang="0">
                        <a:pos x="T8" y="T9"/>
                      </a:cxn>
                    </a:cxnLst>
                    <a:rect l="0" t="0" r="r" b="b"/>
                    <a:pathLst>
                      <a:path w="150" h="108">
                        <a:moveTo>
                          <a:pt x="150" y="0"/>
                        </a:moveTo>
                        <a:lnTo>
                          <a:pt x="32" y="0"/>
                        </a:lnTo>
                        <a:lnTo>
                          <a:pt x="0" y="108"/>
                        </a:lnTo>
                        <a:lnTo>
                          <a:pt x="122" y="108"/>
                        </a:lnTo>
                        <a:lnTo>
                          <a:pt x="15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2" name="Freeform 79"/>
                  <p:cNvSpPr/>
                  <p:nvPr/>
                </p:nvSpPr>
                <p:spPr bwMode="auto">
                  <a:xfrm>
                    <a:off x="660" y="4362"/>
                    <a:ext cx="150" cy="108"/>
                  </a:xfrm>
                  <a:custGeom>
                    <a:avLst/>
                    <a:gdLst>
                      <a:gd name="T0" fmla="*/ 150 w 150"/>
                      <a:gd name="T1" fmla="*/ 0 h 108"/>
                      <a:gd name="T2" fmla="*/ 32 w 150"/>
                      <a:gd name="T3" fmla="*/ 0 h 108"/>
                      <a:gd name="T4" fmla="*/ 0 w 150"/>
                      <a:gd name="T5" fmla="*/ 108 h 108"/>
                      <a:gd name="T6" fmla="*/ 122 w 150"/>
                      <a:gd name="T7" fmla="*/ 108 h 108"/>
                      <a:gd name="T8" fmla="*/ 150 w 150"/>
                      <a:gd name="T9" fmla="*/ 0 h 108"/>
                    </a:gdLst>
                    <a:ahLst/>
                    <a:cxnLst>
                      <a:cxn ang="0">
                        <a:pos x="T0" y="T1"/>
                      </a:cxn>
                      <a:cxn ang="0">
                        <a:pos x="T2" y="T3"/>
                      </a:cxn>
                      <a:cxn ang="0">
                        <a:pos x="T4" y="T5"/>
                      </a:cxn>
                      <a:cxn ang="0">
                        <a:pos x="T6" y="T7"/>
                      </a:cxn>
                      <a:cxn ang="0">
                        <a:pos x="T8" y="T9"/>
                      </a:cxn>
                    </a:cxnLst>
                    <a:rect l="0" t="0" r="r" b="b"/>
                    <a:pathLst>
                      <a:path w="150" h="108">
                        <a:moveTo>
                          <a:pt x="150" y="0"/>
                        </a:moveTo>
                        <a:lnTo>
                          <a:pt x="32" y="0"/>
                        </a:lnTo>
                        <a:lnTo>
                          <a:pt x="0" y="108"/>
                        </a:lnTo>
                        <a:lnTo>
                          <a:pt x="122" y="108"/>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3" name="Freeform 80"/>
                  <p:cNvSpPr/>
                  <p:nvPr/>
                </p:nvSpPr>
                <p:spPr bwMode="auto">
                  <a:xfrm>
                    <a:off x="806" y="4362"/>
                    <a:ext cx="144" cy="108"/>
                  </a:xfrm>
                  <a:custGeom>
                    <a:avLst/>
                    <a:gdLst>
                      <a:gd name="T0" fmla="*/ 144 w 144"/>
                      <a:gd name="T1" fmla="*/ 0 h 108"/>
                      <a:gd name="T2" fmla="*/ 26 w 144"/>
                      <a:gd name="T3" fmla="*/ 0 h 108"/>
                      <a:gd name="T4" fmla="*/ 0 w 144"/>
                      <a:gd name="T5" fmla="*/ 108 h 108"/>
                      <a:gd name="T6" fmla="*/ 120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26" y="0"/>
                        </a:lnTo>
                        <a:lnTo>
                          <a:pt x="0" y="108"/>
                        </a:lnTo>
                        <a:lnTo>
                          <a:pt x="120" y="108"/>
                        </a:lnTo>
                        <a:lnTo>
                          <a:pt x="14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4" name="Freeform 81"/>
                  <p:cNvSpPr/>
                  <p:nvPr/>
                </p:nvSpPr>
                <p:spPr bwMode="auto">
                  <a:xfrm>
                    <a:off x="806" y="4362"/>
                    <a:ext cx="144" cy="108"/>
                  </a:xfrm>
                  <a:custGeom>
                    <a:avLst/>
                    <a:gdLst>
                      <a:gd name="T0" fmla="*/ 144 w 144"/>
                      <a:gd name="T1" fmla="*/ 0 h 108"/>
                      <a:gd name="T2" fmla="*/ 26 w 144"/>
                      <a:gd name="T3" fmla="*/ 0 h 108"/>
                      <a:gd name="T4" fmla="*/ 0 w 144"/>
                      <a:gd name="T5" fmla="*/ 108 h 108"/>
                      <a:gd name="T6" fmla="*/ 120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26" y="0"/>
                        </a:lnTo>
                        <a:lnTo>
                          <a:pt x="0" y="108"/>
                        </a:lnTo>
                        <a:lnTo>
                          <a:pt x="120" y="108"/>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5" name="Freeform 82"/>
                  <p:cNvSpPr/>
                  <p:nvPr/>
                </p:nvSpPr>
                <p:spPr bwMode="auto">
                  <a:xfrm>
                    <a:off x="956" y="4362"/>
                    <a:ext cx="1843" cy="108"/>
                  </a:xfrm>
                  <a:custGeom>
                    <a:avLst/>
                    <a:gdLst>
                      <a:gd name="T0" fmla="*/ 1813 w 1843"/>
                      <a:gd name="T1" fmla="*/ 0 h 108"/>
                      <a:gd name="T2" fmla="*/ 22 w 1843"/>
                      <a:gd name="T3" fmla="*/ 0 h 108"/>
                      <a:gd name="T4" fmla="*/ 0 w 1843"/>
                      <a:gd name="T5" fmla="*/ 108 h 108"/>
                      <a:gd name="T6" fmla="*/ 1843 w 1843"/>
                      <a:gd name="T7" fmla="*/ 108 h 108"/>
                      <a:gd name="T8" fmla="*/ 1813 w 1843"/>
                      <a:gd name="T9" fmla="*/ 0 h 108"/>
                    </a:gdLst>
                    <a:ahLst/>
                    <a:cxnLst>
                      <a:cxn ang="0">
                        <a:pos x="T0" y="T1"/>
                      </a:cxn>
                      <a:cxn ang="0">
                        <a:pos x="T2" y="T3"/>
                      </a:cxn>
                      <a:cxn ang="0">
                        <a:pos x="T4" y="T5"/>
                      </a:cxn>
                      <a:cxn ang="0">
                        <a:pos x="T6" y="T7"/>
                      </a:cxn>
                      <a:cxn ang="0">
                        <a:pos x="T8" y="T9"/>
                      </a:cxn>
                    </a:cxnLst>
                    <a:rect l="0" t="0" r="r" b="b"/>
                    <a:pathLst>
                      <a:path w="1843" h="108">
                        <a:moveTo>
                          <a:pt x="1813" y="0"/>
                        </a:moveTo>
                        <a:lnTo>
                          <a:pt x="22" y="0"/>
                        </a:lnTo>
                        <a:lnTo>
                          <a:pt x="0" y="108"/>
                        </a:lnTo>
                        <a:lnTo>
                          <a:pt x="1843" y="108"/>
                        </a:lnTo>
                        <a:lnTo>
                          <a:pt x="1813"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6" name="Freeform 83"/>
                  <p:cNvSpPr/>
                  <p:nvPr/>
                </p:nvSpPr>
                <p:spPr bwMode="auto">
                  <a:xfrm>
                    <a:off x="956" y="4362"/>
                    <a:ext cx="1843" cy="108"/>
                  </a:xfrm>
                  <a:custGeom>
                    <a:avLst/>
                    <a:gdLst>
                      <a:gd name="T0" fmla="*/ 1813 w 1843"/>
                      <a:gd name="T1" fmla="*/ 0 h 108"/>
                      <a:gd name="T2" fmla="*/ 22 w 1843"/>
                      <a:gd name="T3" fmla="*/ 0 h 108"/>
                      <a:gd name="T4" fmla="*/ 0 w 1843"/>
                      <a:gd name="T5" fmla="*/ 108 h 108"/>
                      <a:gd name="T6" fmla="*/ 1843 w 1843"/>
                      <a:gd name="T7" fmla="*/ 108 h 108"/>
                      <a:gd name="T8" fmla="*/ 1813 w 1843"/>
                      <a:gd name="T9" fmla="*/ 0 h 108"/>
                    </a:gdLst>
                    <a:ahLst/>
                    <a:cxnLst>
                      <a:cxn ang="0">
                        <a:pos x="T0" y="T1"/>
                      </a:cxn>
                      <a:cxn ang="0">
                        <a:pos x="T2" y="T3"/>
                      </a:cxn>
                      <a:cxn ang="0">
                        <a:pos x="T4" y="T5"/>
                      </a:cxn>
                      <a:cxn ang="0">
                        <a:pos x="T6" y="T7"/>
                      </a:cxn>
                      <a:cxn ang="0">
                        <a:pos x="T8" y="T9"/>
                      </a:cxn>
                    </a:cxnLst>
                    <a:rect l="0" t="0" r="r" b="b"/>
                    <a:pathLst>
                      <a:path w="1843" h="108">
                        <a:moveTo>
                          <a:pt x="1813" y="0"/>
                        </a:moveTo>
                        <a:lnTo>
                          <a:pt x="22" y="0"/>
                        </a:lnTo>
                        <a:lnTo>
                          <a:pt x="0" y="108"/>
                        </a:lnTo>
                        <a:lnTo>
                          <a:pt x="1843" y="108"/>
                        </a:lnTo>
                        <a:lnTo>
                          <a:pt x="18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7" name="Freeform 84"/>
                  <p:cNvSpPr/>
                  <p:nvPr/>
                </p:nvSpPr>
                <p:spPr bwMode="auto">
                  <a:xfrm>
                    <a:off x="2797" y="4362"/>
                    <a:ext cx="152" cy="108"/>
                  </a:xfrm>
                  <a:custGeom>
                    <a:avLst/>
                    <a:gdLst>
                      <a:gd name="T0" fmla="*/ 118 w 152"/>
                      <a:gd name="T1" fmla="*/ 0 h 108"/>
                      <a:gd name="T2" fmla="*/ 0 w 152"/>
                      <a:gd name="T3" fmla="*/ 0 h 108"/>
                      <a:gd name="T4" fmla="*/ 32 w 152"/>
                      <a:gd name="T5" fmla="*/ 108 h 108"/>
                      <a:gd name="T6" fmla="*/ 152 w 152"/>
                      <a:gd name="T7" fmla="*/ 108 h 108"/>
                      <a:gd name="T8" fmla="*/ 118 w 152"/>
                      <a:gd name="T9" fmla="*/ 0 h 108"/>
                    </a:gdLst>
                    <a:ahLst/>
                    <a:cxnLst>
                      <a:cxn ang="0">
                        <a:pos x="T0" y="T1"/>
                      </a:cxn>
                      <a:cxn ang="0">
                        <a:pos x="T2" y="T3"/>
                      </a:cxn>
                      <a:cxn ang="0">
                        <a:pos x="T4" y="T5"/>
                      </a:cxn>
                      <a:cxn ang="0">
                        <a:pos x="T6" y="T7"/>
                      </a:cxn>
                      <a:cxn ang="0">
                        <a:pos x="T8" y="T9"/>
                      </a:cxn>
                    </a:cxnLst>
                    <a:rect l="0" t="0" r="r" b="b"/>
                    <a:pathLst>
                      <a:path w="152" h="108">
                        <a:moveTo>
                          <a:pt x="118" y="0"/>
                        </a:moveTo>
                        <a:lnTo>
                          <a:pt x="0" y="0"/>
                        </a:lnTo>
                        <a:lnTo>
                          <a:pt x="32" y="108"/>
                        </a:lnTo>
                        <a:lnTo>
                          <a:pt x="152"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8" name="Freeform 85"/>
                  <p:cNvSpPr/>
                  <p:nvPr/>
                </p:nvSpPr>
                <p:spPr bwMode="auto">
                  <a:xfrm>
                    <a:off x="2797" y="4362"/>
                    <a:ext cx="152" cy="108"/>
                  </a:xfrm>
                  <a:custGeom>
                    <a:avLst/>
                    <a:gdLst>
                      <a:gd name="T0" fmla="*/ 118 w 152"/>
                      <a:gd name="T1" fmla="*/ 0 h 108"/>
                      <a:gd name="T2" fmla="*/ 0 w 152"/>
                      <a:gd name="T3" fmla="*/ 0 h 108"/>
                      <a:gd name="T4" fmla="*/ 32 w 152"/>
                      <a:gd name="T5" fmla="*/ 108 h 108"/>
                      <a:gd name="T6" fmla="*/ 152 w 152"/>
                      <a:gd name="T7" fmla="*/ 108 h 108"/>
                      <a:gd name="T8" fmla="*/ 118 w 152"/>
                      <a:gd name="T9" fmla="*/ 0 h 108"/>
                    </a:gdLst>
                    <a:ahLst/>
                    <a:cxnLst>
                      <a:cxn ang="0">
                        <a:pos x="T0" y="T1"/>
                      </a:cxn>
                      <a:cxn ang="0">
                        <a:pos x="T2" y="T3"/>
                      </a:cxn>
                      <a:cxn ang="0">
                        <a:pos x="T4" y="T5"/>
                      </a:cxn>
                      <a:cxn ang="0">
                        <a:pos x="T6" y="T7"/>
                      </a:cxn>
                      <a:cxn ang="0">
                        <a:pos x="T8" y="T9"/>
                      </a:cxn>
                    </a:cxnLst>
                    <a:rect l="0" t="0" r="r" b="b"/>
                    <a:pathLst>
                      <a:path w="152" h="108">
                        <a:moveTo>
                          <a:pt x="118" y="0"/>
                        </a:moveTo>
                        <a:lnTo>
                          <a:pt x="0" y="0"/>
                        </a:lnTo>
                        <a:lnTo>
                          <a:pt x="32" y="108"/>
                        </a:lnTo>
                        <a:lnTo>
                          <a:pt x="152"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9" name="Freeform 86"/>
                  <p:cNvSpPr/>
                  <p:nvPr/>
                </p:nvSpPr>
                <p:spPr bwMode="auto">
                  <a:xfrm>
                    <a:off x="2937" y="4362"/>
                    <a:ext cx="156" cy="108"/>
                  </a:xfrm>
                  <a:custGeom>
                    <a:avLst/>
                    <a:gdLst>
                      <a:gd name="T0" fmla="*/ 118 w 156"/>
                      <a:gd name="T1" fmla="*/ 0 h 108"/>
                      <a:gd name="T2" fmla="*/ 0 w 156"/>
                      <a:gd name="T3" fmla="*/ 0 h 108"/>
                      <a:gd name="T4" fmla="*/ 36 w 156"/>
                      <a:gd name="T5" fmla="*/ 108 h 108"/>
                      <a:gd name="T6" fmla="*/ 156 w 156"/>
                      <a:gd name="T7" fmla="*/ 108 h 108"/>
                      <a:gd name="T8" fmla="*/ 118 w 156"/>
                      <a:gd name="T9" fmla="*/ 0 h 108"/>
                    </a:gdLst>
                    <a:ahLst/>
                    <a:cxnLst>
                      <a:cxn ang="0">
                        <a:pos x="T0" y="T1"/>
                      </a:cxn>
                      <a:cxn ang="0">
                        <a:pos x="T2" y="T3"/>
                      </a:cxn>
                      <a:cxn ang="0">
                        <a:pos x="T4" y="T5"/>
                      </a:cxn>
                      <a:cxn ang="0">
                        <a:pos x="T6" y="T7"/>
                      </a:cxn>
                      <a:cxn ang="0">
                        <a:pos x="T8" y="T9"/>
                      </a:cxn>
                    </a:cxnLst>
                    <a:rect l="0" t="0" r="r" b="b"/>
                    <a:pathLst>
                      <a:path w="156" h="108">
                        <a:moveTo>
                          <a:pt x="118" y="0"/>
                        </a:moveTo>
                        <a:lnTo>
                          <a:pt x="0" y="0"/>
                        </a:lnTo>
                        <a:lnTo>
                          <a:pt x="36" y="108"/>
                        </a:lnTo>
                        <a:lnTo>
                          <a:pt x="156"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0" name="Freeform 87"/>
                  <p:cNvSpPr/>
                  <p:nvPr/>
                </p:nvSpPr>
                <p:spPr bwMode="auto">
                  <a:xfrm>
                    <a:off x="2937" y="4362"/>
                    <a:ext cx="156" cy="108"/>
                  </a:xfrm>
                  <a:custGeom>
                    <a:avLst/>
                    <a:gdLst>
                      <a:gd name="T0" fmla="*/ 118 w 156"/>
                      <a:gd name="T1" fmla="*/ 0 h 108"/>
                      <a:gd name="T2" fmla="*/ 0 w 156"/>
                      <a:gd name="T3" fmla="*/ 0 h 108"/>
                      <a:gd name="T4" fmla="*/ 36 w 156"/>
                      <a:gd name="T5" fmla="*/ 108 h 108"/>
                      <a:gd name="T6" fmla="*/ 156 w 156"/>
                      <a:gd name="T7" fmla="*/ 108 h 108"/>
                      <a:gd name="T8" fmla="*/ 118 w 156"/>
                      <a:gd name="T9" fmla="*/ 0 h 108"/>
                    </a:gdLst>
                    <a:ahLst/>
                    <a:cxnLst>
                      <a:cxn ang="0">
                        <a:pos x="T0" y="T1"/>
                      </a:cxn>
                      <a:cxn ang="0">
                        <a:pos x="T2" y="T3"/>
                      </a:cxn>
                      <a:cxn ang="0">
                        <a:pos x="T4" y="T5"/>
                      </a:cxn>
                      <a:cxn ang="0">
                        <a:pos x="T6" y="T7"/>
                      </a:cxn>
                      <a:cxn ang="0">
                        <a:pos x="T8" y="T9"/>
                      </a:cxn>
                    </a:cxnLst>
                    <a:rect l="0" t="0" r="r" b="b"/>
                    <a:pathLst>
                      <a:path w="156" h="108">
                        <a:moveTo>
                          <a:pt x="118" y="0"/>
                        </a:moveTo>
                        <a:lnTo>
                          <a:pt x="0" y="0"/>
                        </a:lnTo>
                        <a:lnTo>
                          <a:pt x="36" y="108"/>
                        </a:lnTo>
                        <a:lnTo>
                          <a:pt x="156"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1" name="Freeform 88"/>
                  <p:cNvSpPr/>
                  <p:nvPr/>
                </p:nvSpPr>
                <p:spPr bwMode="auto">
                  <a:xfrm>
                    <a:off x="3077" y="4362"/>
                    <a:ext cx="162" cy="108"/>
                  </a:xfrm>
                  <a:custGeom>
                    <a:avLst/>
                    <a:gdLst>
                      <a:gd name="T0" fmla="*/ 118 w 162"/>
                      <a:gd name="T1" fmla="*/ 0 h 108"/>
                      <a:gd name="T2" fmla="*/ 0 w 162"/>
                      <a:gd name="T3" fmla="*/ 0 h 108"/>
                      <a:gd name="T4" fmla="*/ 40 w 162"/>
                      <a:gd name="T5" fmla="*/ 108 h 108"/>
                      <a:gd name="T6" fmla="*/ 162 w 162"/>
                      <a:gd name="T7" fmla="*/ 108 h 108"/>
                      <a:gd name="T8" fmla="*/ 118 w 162"/>
                      <a:gd name="T9" fmla="*/ 0 h 108"/>
                    </a:gdLst>
                    <a:ahLst/>
                    <a:cxnLst>
                      <a:cxn ang="0">
                        <a:pos x="T0" y="T1"/>
                      </a:cxn>
                      <a:cxn ang="0">
                        <a:pos x="T2" y="T3"/>
                      </a:cxn>
                      <a:cxn ang="0">
                        <a:pos x="T4" y="T5"/>
                      </a:cxn>
                      <a:cxn ang="0">
                        <a:pos x="T6" y="T7"/>
                      </a:cxn>
                      <a:cxn ang="0">
                        <a:pos x="T8" y="T9"/>
                      </a:cxn>
                    </a:cxnLst>
                    <a:rect l="0" t="0" r="r" b="b"/>
                    <a:pathLst>
                      <a:path w="162" h="108">
                        <a:moveTo>
                          <a:pt x="118" y="0"/>
                        </a:moveTo>
                        <a:lnTo>
                          <a:pt x="0" y="0"/>
                        </a:lnTo>
                        <a:lnTo>
                          <a:pt x="40" y="108"/>
                        </a:lnTo>
                        <a:lnTo>
                          <a:pt x="162"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2" name="Freeform 89"/>
                  <p:cNvSpPr/>
                  <p:nvPr/>
                </p:nvSpPr>
                <p:spPr bwMode="auto">
                  <a:xfrm>
                    <a:off x="3077" y="4362"/>
                    <a:ext cx="162" cy="108"/>
                  </a:xfrm>
                  <a:custGeom>
                    <a:avLst/>
                    <a:gdLst>
                      <a:gd name="T0" fmla="*/ 118 w 162"/>
                      <a:gd name="T1" fmla="*/ 0 h 108"/>
                      <a:gd name="T2" fmla="*/ 0 w 162"/>
                      <a:gd name="T3" fmla="*/ 0 h 108"/>
                      <a:gd name="T4" fmla="*/ 40 w 162"/>
                      <a:gd name="T5" fmla="*/ 108 h 108"/>
                      <a:gd name="T6" fmla="*/ 162 w 162"/>
                      <a:gd name="T7" fmla="*/ 108 h 108"/>
                      <a:gd name="T8" fmla="*/ 118 w 162"/>
                      <a:gd name="T9" fmla="*/ 0 h 108"/>
                    </a:gdLst>
                    <a:ahLst/>
                    <a:cxnLst>
                      <a:cxn ang="0">
                        <a:pos x="T0" y="T1"/>
                      </a:cxn>
                      <a:cxn ang="0">
                        <a:pos x="T2" y="T3"/>
                      </a:cxn>
                      <a:cxn ang="0">
                        <a:pos x="T4" y="T5"/>
                      </a:cxn>
                      <a:cxn ang="0">
                        <a:pos x="T6" y="T7"/>
                      </a:cxn>
                      <a:cxn ang="0">
                        <a:pos x="T8" y="T9"/>
                      </a:cxn>
                    </a:cxnLst>
                    <a:rect l="0" t="0" r="r" b="b"/>
                    <a:pathLst>
                      <a:path w="162" h="108">
                        <a:moveTo>
                          <a:pt x="118" y="0"/>
                        </a:moveTo>
                        <a:lnTo>
                          <a:pt x="0" y="0"/>
                        </a:lnTo>
                        <a:lnTo>
                          <a:pt x="40" y="108"/>
                        </a:lnTo>
                        <a:lnTo>
                          <a:pt x="162"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3" name="Freeform 90"/>
                  <p:cNvSpPr/>
                  <p:nvPr/>
                </p:nvSpPr>
                <p:spPr bwMode="auto">
                  <a:xfrm>
                    <a:off x="3219" y="4362"/>
                    <a:ext cx="164" cy="108"/>
                  </a:xfrm>
                  <a:custGeom>
                    <a:avLst/>
                    <a:gdLst>
                      <a:gd name="T0" fmla="*/ 116 w 164"/>
                      <a:gd name="T1" fmla="*/ 0 h 108"/>
                      <a:gd name="T2" fmla="*/ 0 w 164"/>
                      <a:gd name="T3" fmla="*/ 0 h 108"/>
                      <a:gd name="T4" fmla="*/ 44 w 164"/>
                      <a:gd name="T5" fmla="*/ 108 h 108"/>
                      <a:gd name="T6" fmla="*/ 164 w 164"/>
                      <a:gd name="T7" fmla="*/ 108 h 108"/>
                      <a:gd name="T8" fmla="*/ 116 w 164"/>
                      <a:gd name="T9" fmla="*/ 0 h 108"/>
                    </a:gdLst>
                    <a:ahLst/>
                    <a:cxnLst>
                      <a:cxn ang="0">
                        <a:pos x="T0" y="T1"/>
                      </a:cxn>
                      <a:cxn ang="0">
                        <a:pos x="T2" y="T3"/>
                      </a:cxn>
                      <a:cxn ang="0">
                        <a:pos x="T4" y="T5"/>
                      </a:cxn>
                      <a:cxn ang="0">
                        <a:pos x="T6" y="T7"/>
                      </a:cxn>
                      <a:cxn ang="0">
                        <a:pos x="T8" y="T9"/>
                      </a:cxn>
                    </a:cxnLst>
                    <a:rect l="0" t="0" r="r" b="b"/>
                    <a:pathLst>
                      <a:path w="164" h="108">
                        <a:moveTo>
                          <a:pt x="116" y="0"/>
                        </a:moveTo>
                        <a:lnTo>
                          <a:pt x="0" y="0"/>
                        </a:lnTo>
                        <a:lnTo>
                          <a:pt x="44" y="108"/>
                        </a:lnTo>
                        <a:lnTo>
                          <a:pt x="164" y="108"/>
                        </a:lnTo>
                        <a:lnTo>
                          <a:pt x="11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4" name="Freeform 91"/>
                  <p:cNvSpPr/>
                  <p:nvPr/>
                </p:nvSpPr>
                <p:spPr bwMode="auto">
                  <a:xfrm>
                    <a:off x="3219" y="4362"/>
                    <a:ext cx="164" cy="108"/>
                  </a:xfrm>
                  <a:custGeom>
                    <a:avLst/>
                    <a:gdLst>
                      <a:gd name="T0" fmla="*/ 116 w 164"/>
                      <a:gd name="T1" fmla="*/ 0 h 108"/>
                      <a:gd name="T2" fmla="*/ 0 w 164"/>
                      <a:gd name="T3" fmla="*/ 0 h 108"/>
                      <a:gd name="T4" fmla="*/ 44 w 164"/>
                      <a:gd name="T5" fmla="*/ 108 h 108"/>
                      <a:gd name="T6" fmla="*/ 164 w 164"/>
                      <a:gd name="T7" fmla="*/ 108 h 108"/>
                      <a:gd name="T8" fmla="*/ 116 w 164"/>
                      <a:gd name="T9" fmla="*/ 0 h 108"/>
                    </a:gdLst>
                    <a:ahLst/>
                    <a:cxnLst>
                      <a:cxn ang="0">
                        <a:pos x="T0" y="T1"/>
                      </a:cxn>
                      <a:cxn ang="0">
                        <a:pos x="T2" y="T3"/>
                      </a:cxn>
                      <a:cxn ang="0">
                        <a:pos x="T4" y="T5"/>
                      </a:cxn>
                      <a:cxn ang="0">
                        <a:pos x="T6" y="T7"/>
                      </a:cxn>
                      <a:cxn ang="0">
                        <a:pos x="T8" y="T9"/>
                      </a:cxn>
                    </a:cxnLst>
                    <a:rect l="0" t="0" r="r" b="b"/>
                    <a:pathLst>
                      <a:path w="164" h="108">
                        <a:moveTo>
                          <a:pt x="116" y="0"/>
                        </a:moveTo>
                        <a:lnTo>
                          <a:pt x="0" y="0"/>
                        </a:lnTo>
                        <a:lnTo>
                          <a:pt x="44" y="108"/>
                        </a:lnTo>
                        <a:lnTo>
                          <a:pt x="164" y="108"/>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5" name="Freeform 92"/>
                  <p:cNvSpPr/>
                  <p:nvPr/>
                </p:nvSpPr>
                <p:spPr bwMode="auto">
                  <a:xfrm>
                    <a:off x="3359" y="4362"/>
                    <a:ext cx="168" cy="108"/>
                  </a:xfrm>
                  <a:custGeom>
                    <a:avLst/>
                    <a:gdLst>
                      <a:gd name="T0" fmla="*/ 116 w 168"/>
                      <a:gd name="T1" fmla="*/ 0 h 108"/>
                      <a:gd name="T2" fmla="*/ 0 w 168"/>
                      <a:gd name="T3" fmla="*/ 0 h 108"/>
                      <a:gd name="T4" fmla="*/ 48 w 168"/>
                      <a:gd name="T5" fmla="*/ 108 h 108"/>
                      <a:gd name="T6" fmla="*/ 168 w 168"/>
                      <a:gd name="T7" fmla="*/ 108 h 108"/>
                      <a:gd name="T8" fmla="*/ 116 w 168"/>
                      <a:gd name="T9" fmla="*/ 0 h 108"/>
                    </a:gdLst>
                    <a:ahLst/>
                    <a:cxnLst>
                      <a:cxn ang="0">
                        <a:pos x="T0" y="T1"/>
                      </a:cxn>
                      <a:cxn ang="0">
                        <a:pos x="T2" y="T3"/>
                      </a:cxn>
                      <a:cxn ang="0">
                        <a:pos x="T4" y="T5"/>
                      </a:cxn>
                      <a:cxn ang="0">
                        <a:pos x="T6" y="T7"/>
                      </a:cxn>
                      <a:cxn ang="0">
                        <a:pos x="T8" y="T9"/>
                      </a:cxn>
                    </a:cxnLst>
                    <a:rect l="0" t="0" r="r" b="b"/>
                    <a:pathLst>
                      <a:path w="168" h="108">
                        <a:moveTo>
                          <a:pt x="116" y="0"/>
                        </a:moveTo>
                        <a:lnTo>
                          <a:pt x="0" y="0"/>
                        </a:lnTo>
                        <a:lnTo>
                          <a:pt x="48" y="108"/>
                        </a:lnTo>
                        <a:lnTo>
                          <a:pt x="168" y="108"/>
                        </a:lnTo>
                        <a:lnTo>
                          <a:pt x="11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6" name="Freeform 93"/>
                  <p:cNvSpPr/>
                  <p:nvPr/>
                </p:nvSpPr>
                <p:spPr bwMode="auto">
                  <a:xfrm>
                    <a:off x="3359" y="4362"/>
                    <a:ext cx="168" cy="108"/>
                  </a:xfrm>
                  <a:custGeom>
                    <a:avLst/>
                    <a:gdLst>
                      <a:gd name="T0" fmla="*/ 116 w 168"/>
                      <a:gd name="T1" fmla="*/ 0 h 108"/>
                      <a:gd name="T2" fmla="*/ 0 w 168"/>
                      <a:gd name="T3" fmla="*/ 0 h 108"/>
                      <a:gd name="T4" fmla="*/ 48 w 168"/>
                      <a:gd name="T5" fmla="*/ 108 h 108"/>
                      <a:gd name="T6" fmla="*/ 168 w 168"/>
                      <a:gd name="T7" fmla="*/ 108 h 108"/>
                      <a:gd name="T8" fmla="*/ 116 w 168"/>
                      <a:gd name="T9" fmla="*/ 0 h 108"/>
                    </a:gdLst>
                    <a:ahLst/>
                    <a:cxnLst>
                      <a:cxn ang="0">
                        <a:pos x="T0" y="T1"/>
                      </a:cxn>
                      <a:cxn ang="0">
                        <a:pos x="T2" y="T3"/>
                      </a:cxn>
                      <a:cxn ang="0">
                        <a:pos x="T4" y="T5"/>
                      </a:cxn>
                      <a:cxn ang="0">
                        <a:pos x="T6" y="T7"/>
                      </a:cxn>
                      <a:cxn ang="0">
                        <a:pos x="T8" y="T9"/>
                      </a:cxn>
                    </a:cxnLst>
                    <a:rect l="0" t="0" r="r" b="b"/>
                    <a:pathLst>
                      <a:path w="168" h="108">
                        <a:moveTo>
                          <a:pt x="116" y="0"/>
                        </a:moveTo>
                        <a:lnTo>
                          <a:pt x="0" y="0"/>
                        </a:lnTo>
                        <a:lnTo>
                          <a:pt x="48" y="108"/>
                        </a:lnTo>
                        <a:lnTo>
                          <a:pt x="168" y="108"/>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7" name="Freeform 94"/>
                  <p:cNvSpPr/>
                  <p:nvPr/>
                </p:nvSpPr>
                <p:spPr bwMode="auto">
                  <a:xfrm>
                    <a:off x="3499" y="4362"/>
                    <a:ext cx="172" cy="108"/>
                  </a:xfrm>
                  <a:custGeom>
                    <a:avLst/>
                    <a:gdLst>
                      <a:gd name="T0" fmla="*/ 116 w 172"/>
                      <a:gd name="T1" fmla="*/ 0 h 108"/>
                      <a:gd name="T2" fmla="*/ 0 w 172"/>
                      <a:gd name="T3" fmla="*/ 0 h 108"/>
                      <a:gd name="T4" fmla="*/ 52 w 172"/>
                      <a:gd name="T5" fmla="*/ 108 h 108"/>
                      <a:gd name="T6" fmla="*/ 172 w 172"/>
                      <a:gd name="T7" fmla="*/ 108 h 108"/>
                      <a:gd name="T8" fmla="*/ 116 w 172"/>
                      <a:gd name="T9" fmla="*/ 0 h 108"/>
                    </a:gdLst>
                    <a:ahLst/>
                    <a:cxnLst>
                      <a:cxn ang="0">
                        <a:pos x="T0" y="T1"/>
                      </a:cxn>
                      <a:cxn ang="0">
                        <a:pos x="T2" y="T3"/>
                      </a:cxn>
                      <a:cxn ang="0">
                        <a:pos x="T4" y="T5"/>
                      </a:cxn>
                      <a:cxn ang="0">
                        <a:pos x="T6" y="T7"/>
                      </a:cxn>
                      <a:cxn ang="0">
                        <a:pos x="T8" y="T9"/>
                      </a:cxn>
                    </a:cxnLst>
                    <a:rect l="0" t="0" r="r" b="b"/>
                    <a:pathLst>
                      <a:path w="172" h="108">
                        <a:moveTo>
                          <a:pt x="116" y="0"/>
                        </a:moveTo>
                        <a:lnTo>
                          <a:pt x="0" y="0"/>
                        </a:lnTo>
                        <a:lnTo>
                          <a:pt x="52" y="108"/>
                        </a:lnTo>
                        <a:lnTo>
                          <a:pt x="172" y="108"/>
                        </a:lnTo>
                        <a:lnTo>
                          <a:pt x="11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8" name="Freeform 95"/>
                  <p:cNvSpPr/>
                  <p:nvPr/>
                </p:nvSpPr>
                <p:spPr bwMode="auto">
                  <a:xfrm>
                    <a:off x="3499" y="4362"/>
                    <a:ext cx="172" cy="108"/>
                  </a:xfrm>
                  <a:custGeom>
                    <a:avLst/>
                    <a:gdLst>
                      <a:gd name="T0" fmla="*/ 116 w 172"/>
                      <a:gd name="T1" fmla="*/ 0 h 108"/>
                      <a:gd name="T2" fmla="*/ 0 w 172"/>
                      <a:gd name="T3" fmla="*/ 0 h 108"/>
                      <a:gd name="T4" fmla="*/ 52 w 172"/>
                      <a:gd name="T5" fmla="*/ 108 h 108"/>
                      <a:gd name="T6" fmla="*/ 172 w 172"/>
                      <a:gd name="T7" fmla="*/ 108 h 108"/>
                      <a:gd name="T8" fmla="*/ 116 w 172"/>
                      <a:gd name="T9" fmla="*/ 0 h 108"/>
                    </a:gdLst>
                    <a:ahLst/>
                    <a:cxnLst>
                      <a:cxn ang="0">
                        <a:pos x="T0" y="T1"/>
                      </a:cxn>
                      <a:cxn ang="0">
                        <a:pos x="T2" y="T3"/>
                      </a:cxn>
                      <a:cxn ang="0">
                        <a:pos x="T4" y="T5"/>
                      </a:cxn>
                      <a:cxn ang="0">
                        <a:pos x="T6" y="T7"/>
                      </a:cxn>
                      <a:cxn ang="0">
                        <a:pos x="T8" y="T9"/>
                      </a:cxn>
                    </a:cxnLst>
                    <a:rect l="0" t="0" r="r" b="b"/>
                    <a:pathLst>
                      <a:path w="172" h="108">
                        <a:moveTo>
                          <a:pt x="116" y="0"/>
                        </a:moveTo>
                        <a:lnTo>
                          <a:pt x="0" y="0"/>
                        </a:lnTo>
                        <a:lnTo>
                          <a:pt x="52" y="108"/>
                        </a:lnTo>
                        <a:lnTo>
                          <a:pt x="172" y="108"/>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9" name="Freeform 96"/>
                  <p:cNvSpPr/>
                  <p:nvPr/>
                </p:nvSpPr>
                <p:spPr bwMode="auto">
                  <a:xfrm>
                    <a:off x="478" y="4072"/>
                    <a:ext cx="148" cy="108"/>
                  </a:xfrm>
                  <a:custGeom>
                    <a:avLst/>
                    <a:gdLst>
                      <a:gd name="T0" fmla="*/ 148 w 148"/>
                      <a:gd name="T1" fmla="*/ 0 h 108"/>
                      <a:gd name="T2" fmla="*/ 40 w 148"/>
                      <a:gd name="T3" fmla="*/ 0 h 108"/>
                      <a:gd name="T4" fmla="*/ 0 w 148"/>
                      <a:gd name="T5" fmla="*/ 108 h 108"/>
                      <a:gd name="T6" fmla="*/ 112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40" y="0"/>
                        </a:lnTo>
                        <a:lnTo>
                          <a:pt x="0" y="108"/>
                        </a:lnTo>
                        <a:lnTo>
                          <a:pt x="112" y="108"/>
                        </a:lnTo>
                        <a:lnTo>
                          <a:pt x="14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0" name="Freeform 97"/>
                  <p:cNvSpPr/>
                  <p:nvPr/>
                </p:nvSpPr>
                <p:spPr bwMode="auto">
                  <a:xfrm>
                    <a:off x="478" y="4072"/>
                    <a:ext cx="148" cy="108"/>
                  </a:xfrm>
                  <a:custGeom>
                    <a:avLst/>
                    <a:gdLst>
                      <a:gd name="T0" fmla="*/ 148 w 148"/>
                      <a:gd name="T1" fmla="*/ 0 h 108"/>
                      <a:gd name="T2" fmla="*/ 40 w 148"/>
                      <a:gd name="T3" fmla="*/ 0 h 108"/>
                      <a:gd name="T4" fmla="*/ 0 w 148"/>
                      <a:gd name="T5" fmla="*/ 108 h 108"/>
                      <a:gd name="T6" fmla="*/ 112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40" y="0"/>
                        </a:lnTo>
                        <a:lnTo>
                          <a:pt x="0" y="108"/>
                        </a:lnTo>
                        <a:lnTo>
                          <a:pt x="112" y="108"/>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1" name="Freeform 98"/>
                  <p:cNvSpPr/>
                  <p:nvPr/>
                </p:nvSpPr>
                <p:spPr bwMode="auto">
                  <a:xfrm>
                    <a:off x="612" y="4072"/>
                    <a:ext cx="142" cy="108"/>
                  </a:xfrm>
                  <a:custGeom>
                    <a:avLst/>
                    <a:gdLst>
                      <a:gd name="T0" fmla="*/ 142 w 142"/>
                      <a:gd name="T1" fmla="*/ 0 h 108"/>
                      <a:gd name="T2" fmla="*/ 36 w 142"/>
                      <a:gd name="T3" fmla="*/ 0 h 108"/>
                      <a:gd name="T4" fmla="*/ 0 w 142"/>
                      <a:gd name="T5" fmla="*/ 108 h 108"/>
                      <a:gd name="T6" fmla="*/ 110 w 142"/>
                      <a:gd name="T7" fmla="*/ 108 h 108"/>
                      <a:gd name="T8" fmla="*/ 142 w 142"/>
                      <a:gd name="T9" fmla="*/ 0 h 108"/>
                    </a:gdLst>
                    <a:ahLst/>
                    <a:cxnLst>
                      <a:cxn ang="0">
                        <a:pos x="T0" y="T1"/>
                      </a:cxn>
                      <a:cxn ang="0">
                        <a:pos x="T2" y="T3"/>
                      </a:cxn>
                      <a:cxn ang="0">
                        <a:pos x="T4" y="T5"/>
                      </a:cxn>
                      <a:cxn ang="0">
                        <a:pos x="T6" y="T7"/>
                      </a:cxn>
                      <a:cxn ang="0">
                        <a:pos x="T8" y="T9"/>
                      </a:cxn>
                    </a:cxnLst>
                    <a:rect l="0" t="0" r="r" b="b"/>
                    <a:pathLst>
                      <a:path w="142" h="108">
                        <a:moveTo>
                          <a:pt x="142" y="0"/>
                        </a:moveTo>
                        <a:lnTo>
                          <a:pt x="36" y="0"/>
                        </a:lnTo>
                        <a:lnTo>
                          <a:pt x="0" y="108"/>
                        </a:lnTo>
                        <a:lnTo>
                          <a:pt x="110" y="108"/>
                        </a:lnTo>
                        <a:lnTo>
                          <a:pt x="14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2" name="Freeform 99"/>
                  <p:cNvSpPr/>
                  <p:nvPr/>
                </p:nvSpPr>
                <p:spPr bwMode="auto">
                  <a:xfrm>
                    <a:off x="612" y="4072"/>
                    <a:ext cx="142" cy="108"/>
                  </a:xfrm>
                  <a:custGeom>
                    <a:avLst/>
                    <a:gdLst>
                      <a:gd name="T0" fmla="*/ 142 w 142"/>
                      <a:gd name="T1" fmla="*/ 0 h 108"/>
                      <a:gd name="T2" fmla="*/ 36 w 142"/>
                      <a:gd name="T3" fmla="*/ 0 h 108"/>
                      <a:gd name="T4" fmla="*/ 0 w 142"/>
                      <a:gd name="T5" fmla="*/ 108 h 108"/>
                      <a:gd name="T6" fmla="*/ 110 w 142"/>
                      <a:gd name="T7" fmla="*/ 108 h 108"/>
                      <a:gd name="T8" fmla="*/ 142 w 142"/>
                      <a:gd name="T9" fmla="*/ 0 h 108"/>
                    </a:gdLst>
                    <a:ahLst/>
                    <a:cxnLst>
                      <a:cxn ang="0">
                        <a:pos x="T0" y="T1"/>
                      </a:cxn>
                      <a:cxn ang="0">
                        <a:pos x="T2" y="T3"/>
                      </a:cxn>
                      <a:cxn ang="0">
                        <a:pos x="T4" y="T5"/>
                      </a:cxn>
                      <a:cxn ang="0">
                        <a:pos x="T6" y="T7"/>
                      </a:cxn>
                      <a:cxn ang="0">
                        <a:pos x="T8" y="T9"/>
                      </a:cxn>
                    </a:cxnLst>
                    <a:rect l="0" t="0" r="r" b="b"/>
                    <a:pathLst>
                      <a:path w="142" h="108">
                        <a:moveTo>
                          <a:pt x="142" y="0"/>
                        </a:moveTo>
                        <a:lnTo>
                          <a:pt x="36" y="0"/>
                        </a:lnTo>
                        <a:lnTo>
                          <a:pt x="0" y="108"/>
                        </a:lnTo>
                        <a:lnTo>
                          <a:pt x="110" y="108"/>
                        </a:lnTo>
                        <a:lnTo>
                          <a:pt x="1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3" name="Freeform 100"/>
                  <p:cNvSpPr/>
                  <p:nvPr/>
                </p:nvSpPr>
                <p:spPr bwMode="auto">
                  <a:xfrm>
                    <a:off x="744" y="4072"/>
                    <a:ext cx="140" cy="108"/>
                  </a:xfrm>
                  <a:custGeom>
                    <a:avLst/>
                    <a:gdLst>
                      <a:gd name="T0" fmla="*/ 140 w 140"/>
                      <a:gd name="T1" fmla="*/ 0 h 108"/>
                      <a:gd name="T2" fmla="*/ 32 w 140"/>
                      <a:gd name="T3" fmla="*/ 0 h 108"/>
                      <a:gd name="T4" fmla="*/ 0 w 140"/>
                      <a:gd name="T5" fmla="*/ 108 h 108"/>
                      <a:gd name="T6" fmla="*/ 112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32" y="0"/>
                        </a:lnTo>
                        <a:lnTo>
                          <a:pt x="0" y="108"/>
                        </a:lnTo>
                        <a:lnTo>
                          <a:pt x="112" y="108"/>
                        </a:lnTo>
                        <a:lnTo>
                          <a:pt x="14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4" name="Freeform 101"/>
                  <p:cNvSpPr/>
                  <p:nvPr/>
                </p:nvSpPr>
                <p:spPr bwMode="auto">
                  <a:xfrm>
                    <a:off x="744" y="4072"/>
                    <a:ext cx="140" cy="108"/>
                  </a:xfrm>
                  <a:custGeom>
                    <a:avLst/>
                    <a:gdLst>
                      <a:gd name="T0" fmla="*/ 140 w 140"/>
                      <a:gd name="T1" fmla="*/ 0 h 108"/>
                      <a:gd name="T2" fmla="*/ 32 w 140"/>
                      <a:gd name="T3" fmla="*/ 0 h 108"/>
                      <a:gd name="T4" fmla="*/ 0 w 140"/>
                      <a:gd name="T5" fmla="*/ 108 h 108"/>
                      <a:gd name="T6" fmla="*/ 112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32" y="0"/>
                        </a:lnTo>
                        <a:lnTo>
                          <a:pt x="0" y="108"/>
                        </a:lnTo>
                        <a:lnTo>
                          <a:pt x="112" y="10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5" name="Freeform 102"/>
                  <p:cNvSpPr/>
                  <p:nvPr/>
                </p:nvSpPr>
                <p:spPr bwMode="auto">
                  <a:xfrm>
                    <a:off x="878" y="4072"/>
                    <a:ext cx="134" cy="108"/>
                  </a:xfrm>
                  <a:custGeom>
                    <a:avLst/>
                    <a:gdLst>
                      <a:gd name="T0" fmla="*/ 134 w 134"/>
                      <a:gd name="T1" fmla="*/ 0 h 108"/>
                      <a:gd name="T2" fmla="*/ 28 w 134"/>
                      <a:gd name="T3" fmla="*/ 0 h 108"/>
                      <a:gd name="T4" fmla="*/ 0 w 134"/>
                      <a:gd name="T5" fmla="*/ 108 h 108"/>
                      <a:gd name="T6" fmla="*/ 112 w 134"/>
                      <a:gd name="T7" fmla="*/ 108 h 108"/>
                      <a:gd name="T8" fmla="*/ 134 w 134"/>
                      <a:gd name="T9" fmla="*/ 0 h 108"/>
                    </a:gdLst>
                    <a:ahLst/>
                    <a:cxnLst>
                      <a:cxn ang="0">
                        <a:pos x="T0" y="T1"/>
                      </a:cxn>
                      <a:cxn ang="0">
                        <a:pos x="T2" y="T3"/>
                      </a:cxn>
                      <a:cxn ang="0">
                        <a:pos x="T4" y="T5"/>
                      </a:cxn>
                      <a:cxn ang="0">
                        <a:pos x="T6" y="T7"/>
                      </a:cxn>
                      <a:cxn ang="0">
                        <a:pos x="T8" y="T9"/>
                      </a:cxn>
                    </a:cxnLst>
                    <a:rect l="0" t="0" r="r" b="b"/>
                    <a:pathLst>
                      <a:path w="134" h="108">
                        <a:moveTo>
                          <a:pt x="134" y="0"/>
                        </a:moveTo>
                        <a:lnTo>
                          <a:pt x="28" y="0"/>
                        </a:lnTo>
                        <a:lnTo>
                          <a:pt x="0" y="108"/>
                        </a:lnTo>
                        <a:lnTo>
                          <a:pt x="112" y="108"/>
                        </a:lnTo>
                        <a:lnTo>
                          <a:pt x="13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6" name="Freeform 103"/>
                  <p:cNvSpPr/>
                  <p:nvPr/>
                </p:nvSpPr>
                <p:spPr bwMode="auto">
                  <a:xfrm>
                    <a:off x="878" y="4072"/>
                    <a:ext cx="134" cy="108"/>
                  </a:xfrm>
                  <a:custGeom>
                    <a:avLst/>
                    <a:gdLst>
                      <a:gd name="T0" fmla="*/ 134 w 134"/>
                      <a:gd name="T1" fmla="*/ 0 h 108"/>
                      <a:gd name="T2" fmla="*/ 28 w 134"/>
                      <a:gd name="T3" fmla="*/ 0 h 108"/>
                      <a:gd name="T4" fmla="*/ 0 w 134"/>
                      <a:gd name="T5" fmla="*/ 108 h 108"/>
                      <a:gd name="T6" fmla="*/ 112 w 134"/>
                      <a:gd name="T7" fmla="*/ 108 h 108"/>
                      <a:gd name="T8" fmla="*/ 134 w 134"/>
                      <a:gd name="T9" fmla="*/ 0 h 108"/>
                    </a:gdLst>
                    <a:ahLst/>
                    <a:cxnLst>
                      <a:cxn ang="0">
                        <a:pos x="T0" y="T1"/>
                      </a:cxn>
                      <a:cxn ang="0">
                        <a:pos x="T2" y="T3"/>
                      </a:cxn>
                      <a:cxn ang="0">
                        <a:pos x="T4" y="T5"/>
                      </a:cxn>
                      <a:cxn ang="0">
                        <a:pos x="T6" y="T7"/>
                      </a:cxn>
                      <a:cxn ang="0">
                        <a:pos x="T8" y="T9"/>
                      </a:cxn>
                    </a:cxnLst>
                    <a:rect l="0" t="0" r="r" b="b"/>
                    <a:pathLst>
                      <a:path w="134" h="108">
                        <a:moveTo>
                          <a:pt x="134" y="0"/>
                        </a:moveTo>
                        <a:lnTo>
                          <a:pt x="28" y="0"/>
                        </a:lnTo>
                        <a:lnTo>
                          <a:pt x="0" y="108"/>
                        </a:lnTo>
                        <a:lnTo>
                          <a:pt x="112" y="108"/>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7" name="Freeform 104"/>
                  <p:cNvSpPr/>
                  <p:nvPr/>
                </p:nvSpPr>
                <p:spPr bwMode="auto">
                  <a:xfrm>
                    <a:off x="1012" y="4072"/>
                    <a:ext cx="130" cy="108"/>
                  </a:xfrm>
                  <a:custGeom>
                    <a:avLst/>
                    <a:gdLst>
                      <a:gd name="T0" fmla="*/ 130 w 130"/>
                      <a:gd name="T1" fmla="*/ 0 h 108"/>
                      <a:gd name="T2" fmla="*/ 22 w 130"/>
                      <a:gd name="T3" fmla="*/ 0 h 108"/>
                      <a:gd name="T4" fmla="*/ 0 w 130"/>
                      <a:gd name="T5" fmla="*/ 108 h 108"/>
                      <a:gd name="T6" fmla="*/ 110 w 130"/>
                      <a:gd name="T7" fmla="*/ 108 h 108"/>
                      <a:gd name="T8" fmla="*/ 130 w 130"/>
                      <a:gd name="T9" fmla="*/ 0 h 108"/>
                    </a:gdLst>
                    <a:ahLst/>
                    <a:cxnLst>
                      <a:cxn ang="0">
                        <a:pos x="T0" y="T1"/>
                      </a:cxn>
                      <a:cxn ang="0">
                        <a:pos x="T2" y="T3"/>
                      </a:cxn>
                      <a:cxn ang="0">
                        <a:pos x="T4" y="T5"/>
                      </a:cxn>
                      <a:cxn ang="0">
                        <a:pos x="T6" y="T7"/>
                      </a:cxn>
                      <a:cxn ang="0">
                        <a:pos x="T8" y="T9"/>
                      </a:cxn>
                    </a:cxnLst>
                    <a:rect l="0" t="0" r="r" b="b"/>
                    <a:pathLst>
                      <a:path w="130" h="108">
                        <a:moveTo>
                          <a:pt x="130" y="0"/>
                        </a:moveTo>
                        <a:lnTo>
                          <a:pt x="22" y="0"/>
                        </a:lnTo>
                        <a:lnTo>
                          <a:pt x="0" y="108"/>
                        </a:lnTo>
                        <a:lnTo>
                          <a:pt x="110" y="108"/>
                        </a:lnTo>
                        <a:lnTo>
                          <a:pt x="13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8" name="Freeform 105"/>
                  <p:cNvSpPr/>
                  <p:nvPr/>
                </p:nvSpPr>
                <p:spPr bwMode="auto">
                  <a:xfrm>
                    <a:off x="1012" y="4072"/>
                    <a:ext cx="130" cy="108"/>
                  </a:xfrm>
                  <a:custGeom>
                    <a:avLst/>
                    <a:gdLst>
                      <a:gd name="T0" fmla="*/ 130 w 130"/>
                      <a:gd name="T1" fmla="*/ 0 h 108"/>
                      <a:gd name="T2" fmla="*/ 22 w 130"/>
                      <a:gd name="T3" fmla="*/ 0 h 108"/>
                      <a:gd name="T4" fmla="*/ 0 w 130"/>
                      <a:gd name="T5" fmla="*/ 108 h 108"/>
                      <a:gd name="T6" fmla="*/ 110 w 130"/>
                      <a:gd name="T7" fmla="*/ 108 h 108"/>
                      <a:gd name="T8" fmla="*/ 130 w 130"/>
                      <a:gd name="T9" fmla="*/ 0 h 108"/>
                    </a:gdLst>
                    <a:ahLst/>
                    <a:cxnLst>
                      <a:cxn ang="0">
                        <a:pos x="T0" y="T1"/>
                      </a:cxn>
                      <a:cxn ang="0">
                        <a:pos x="T2" y="T3"/>
                      </a:cxn>
                      <a:cxn ang="0">
                        <a:pos x="T4" y="T5"/>
                      </a:cxn>
                      <a:cxn ang="0">
                        <a:pos x="T6" y="T7"/>
                      </a:cxn>
                      <a:cxn ang="0">
                        <a:pos x="T8" y="T9"/>
                      </a:cxn>
                    </a:cxnLst>
                    <a:rect l="0" t="0" r="r" b="b"/>
                    <a:pathLst>
                      <a:path w="130" h="108">
                        <a:moveTo>
                          <a:pt x="130" y="0"/>
                        </a:moveTo>
                        <a:lnTo>
                          <a:pt x="22" y="0"/>
                        </a:lnTo>
                        <a:lnTo>
                          <a:pt x="0" y="108"/>
                        </a:lnTo>
                        <a:lnTo>
                          <a:pt x="110" y="108"/>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69" name="Freeform 106"/>
                  <p:cNvSpPr/>
                  <p:nvPr/>
                </p:nvSpPr>
                <p:spPr bwMode="auto">
                  <a:xfrm>
                    <a:off x="1144" y="4072"/>
                    <a:ext cx="126" cy="108"/>
                  </a:xfrm>
                  <a:custGeom>
                    <a:avLst/>
                    <a:gdLst>
                      <a:gd name="T0" fmla="*/ 126 w 126"/>
                      <a:gd name="T1" fmla="*/ 0 h 108"/>
                      <a:gd name="T2" fmla="*/ 20 w 126"/>
                      <a:gd name="T3" fmla="*/ 0 h 108"/>
                      <a:gd name="T4" fmla="*/ 0 w 126"/>
                      <a:gd name="T5" fmla="*/ 108 h 108"/>
                      <a:gd name="T6" fmla="*/ 112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20" y="0"/>
                        </a:lnTo>
                        <a:lnTo>
                          <a:pt x="0" y="108"/>
                        </a:lnTo>
                        <a:lnTo>
                          <a:pt x="112" y="108"/>
                        </a:lnTo>
                        <a:lnTo>
                          <a:pt x="12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0" name="Freeform 107"/>
                  <p:cNvSpPr/>
                  <p:nvPr/>
                </p:nvSpPr>
                <p:spPr bwMode="auto">
                  <a:xfrm>
                    <a:off x="1144" y="4072"/>
                    <a:ext cx="126" cy="108"/>
                  </a:xfrm>
                  <a:custGeom>
                    <a:avLst/>
                    <a:gdLst>
                      <a:gd name="T0" fmla="*/ 126 w 126"/>
                      <a:gd name="T1" fmla="*/ 0 h 108"/>
                      <a:gd name="T2" fmla="*/ 20 w 126"/>
                      <a:gd name="T3" fmla="*/ 0 h 108"/>
                      <a:gd name="T4" fmla="*/ 0 w 126"/>
                      <a:gd name="T5" fmla="*/ 108 h 108"/>
                      <a:gd name="T6" fmla="*/ 112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20" y="0"/>
                        </a:lnTo>
                        <a:lnTo>
                          <a:pt x="0" y="108"/>
                        </a:lnTo>
                        <a:lnTo>
                          <a:pt x="112" y="108"/>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1" name="Freeform 108"/>
                  <p:cNvSpPr/>
                  <p:nvPr/>
                </p:nvSpPr>
                <p:spPr bwMode="auto">
                  <a:xfrm>
                    <a:off x="1278" y="4072"/>
                    <a:ext cx="122" cy="108"/>
                  </a:xfrm>
                  <a:custGeom>
                    <a:avLst/>
                    <a:gdLst>
                      <a:gd name="T0" fmla="*/ 122 w 122"/>
                      <a:gd name="T1" fmla="*/ 0 h 108"/>
                      <a:gd name="T2" fmla="*/ 14 w 122"/>
                      <a:gd name="T3" fmla="*/ 0 h 108"/>
                      <a:gd name="T4" fmla="*/ 0 w 122"/>
                      <a:gd name="T5" fmla="*/ 108 h 108"/>
                      <a:gd name="T6" fmla="*/ 110 w 122"/>
                      <a:gd name="T7" fmla="*/ 108 h 108"/>
                      <a:gd name="T8" fmla="*/ 122 w 122"/>
                      <a:gd name="T9" fmla="*/ 0 h 108"/>
                    </a:gdLst>
                    <a:ahLst/>
                    <a:cxnLst>
                      <a:cxn ang="0">
                        <a:pos x="T0" y="T1"/>
                      </a:cxn>
                      <a:cxn ang="0">
                        <a:pos x="T2" y="T3"/>
                      </a:cxn>
                      <a:cxn ang="0">
                        <a:pos x="T4" y="T5"/>
                      </a:cxn>
                      <a:cxn ang="0">
                        <a:pos x="T6" y="T7"/>
                      </a:cxn>
                      <a:cxn ang="0">
                        <a:pos x="T8" y="T9"/>
                      </a:cxn>
                    </a:cxnLst>
                    <a:rect l="0" t="0" r="r" b="b"/>
                    <a:pathLst>
                      <a:path w="122" h="108">
                        <a:moveTo>
                          <a:pt x="122" y="0"/>
                        </a:moveTo>
                        <a:lnTo>
                          <a:pt x="14" y="0"/>
                        </a:lnTo>
                        <a:lnTo>
                          <a:pt x="0" y="108"/>
                        </a:lnTo>
                        <a:lnTo>
                          <a:pt x="110" y="108"/>
                        </a:lnTo>
                        <a:lnTo>
                          <a:pt x="12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2" name="Freeform 109"/>
                  <p:cNvSpPr/>
                  <p:nvPr/>
                </p:nvSpPr>
                <p:spPr bwMode="auto">
                  <a:xfrm>
                    <a:off x="1278" y="4072"/>
                    <a:ext cx="122" cy="108"/>
                  </a:xfrm>
                  <a:custGeom>
                    <a:avLst/>
                    <a:gdLst>
                      <a:gd name="T0" fmla="*/ 122 w 122"/>
                      <a:gd name="T1" fmla="*/ 0 h 108"/>
                      <a:gd name="T2" fmla="*/ 14 w 122"/>
                      <a:gd name="T3" fmla="*/ 0 h 108"/>
                      <a:gd name="T4" fmla="*/ 0 w 122"/>
                      <a:gd name="T5" fmla="*/ 108 h 108"/>
                      <a:gd name="T6" fmla="*/ 110 w 122"/>
                      <a:gd name="T7" fmla="*/ 108 h 108"/>
                      <a:gd name="T8" fmla="*/ 122 w 122"/>
                      <a:gd name="T9" fmla="*/ 0 h 108"/>
                    </a:gdLst>
                    <a:ahLst/>
                    <a:cxnLst>
                      <a:cxn ang="0">
                        <a:pos x="T0" y="T1"/>
                      </a:cxn>
                      <a:cxn ang="0">
                        <a:pos x="T2" y="T3"/>
                      </a:cxn>
                      <a:cxn ang="0">
                        <a:pos x="T4" y="T5"/>
                      </a:cxn>
                      <a:cxn ang="0">
                        <a:pos x="T6" y="T7"/>
                      </a:cxn>
                      <a:cxn ang="0">
                        <a:pos x="T8" y="T9"/>
                      </a:cxn>
                    </a:cxnLst>
                    <a:rect l="0" t="0" r="r" b="b"/>
                    <a:pathLst>
                      <a:path w="122" h="108">
                        <a:moveTo>
                          <a:pt x="122" y="0"/>
                        </a:moveTo>
                        <a:lnTo>
                          <a:pt x="14" y="0"/>
                        </a:lnTo>
                        <a:lnTo>
                          <a:pt x="0" y="108"/>
                        </a:lnTo>
                        <a:lnTo>
                          <a:pt x="110" y="108"/>
                        </a:lnTo>
                        <a:lnTo>
                          <a:pt x="1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3" name="Freeform 110"/>
                  <p:cNvSpPr/>
                  <p:nvPr/>
                </p:nvSpPr>
                <p:spPr bwMode="auto">
                  <a:xfrm>
                    <a:off x="1412" y="4072"/>
                    <a:ext cx="118" cy="108"/>
                  </a:xfrm>
                  <a:custGeom>
                    <a:avLst/>
                    <a:gdLst>
                      <a:gd name="T0" fmla="*/ 118 w 118"/>
                      <a:gd name="T1" fmla="*/ 0 h 108"/>
                      <a:gd name="T2" fmla="*/ 10 w 118"/>
                      <a:gd name="T3" fmla="*/ 0 h 108"/>
                      <a:gd name="T4" fmla="*/ 0 w 118"/>
                      <a:gd name="T5" fmla="*/ 108 h 108"/>
                      <a:gd name="T6" fmla="*/ 110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10" y="0"/>
                        </a:lnTo>
                        <a:lnTo>
                          <a:pt x="0" y="108"/>
                        </a:lnTo>
                        <a:lnTo>
                          <a:pt x="110"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4" name="Freeform 111"/>
                  <p:cNvSpPr/>
                  <p:nvPr/>
                </p:nvSpPr>
                <p:spPr bwMode="auto">
                  <a:xfrm>
                    <a:off x="1412" y="4072"/>
                    <a:ext cx="118" cy="108"/>
                  </a:xfrm>
                  <a:custGeom>
                    <a:avLst/>
                    <a:gdLst>
                      <a:gd name="T0" fmla="*/ 118 w 118"/>
                      <a:gd name="T1" fmla="*/ 0 h 108"/>
                      <a:gd name="T2" fmla="*/ 10 w 118"/>
                      <a:gd name="T3" fmla="*/ 0 h 108"/>
                      <a:gd name="T4" fmla="*/ 0 w 118"/>
                      <a:gd name="T5" fmla="*/ 108 h 108"/>
                      <a:gd name="T6" fmla="*/ 110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10" y="0"/>
                        </a:lnTo>
                        <a:lnTo>
                          <a:pt x="0" y="108"/>
                        </a:lnTo>
                        <a:lnTo>
                          <a:pt x="110"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5" name="Freeform 112"/>
                  <p:cNvSpPr/>
                  <p:nvPr/>
                </p:nvSpPr>
                <p:spPr bwMode="auto">
                  <a:xfrm>
                    <a:off x="1544" y="4072"/>
                    <a:ext cx="114" cy="108"/>
                  </a:xfrm>
                  <a:custGeom>
                    <a:avLst/>
                    <a:gdLst>
                      <a:gd name="T0" fmla="*/ 114 w 114"/>
                      <a:gd name="T1" fmla="*/ 0 h 108"/>
                      <a:gd name="T2" fmla="*/ 6 w 114"/>
                      <a:gd name="T3" fmla="*/ 0 h 108"/>
                      <a:gd name="T4" fmla="*/ 0 w 114"/>
                      <a:gd name="T5" fmla="*/ 108 h 108"/>
                      <a:gd name="T6" fmla="*/ 112 w 114"/>
                      <a:gd name="T7" fmla="*/ 108 h 108"/>
                      <a:gd name="T8" fmla="*/ 114 w 114"/>
                      <a:gd name="T9" fmla="*/ 0 h 108"/>
                    </a:gdLst>
                    <a:ahLst/>
                    <a:cxnLst>
                      <a:cxn ang="0">
                        <a:pos x="T0" y="T1"/>
                      </a:cxn>
                      <a:cxn ang="0">
                        <a:pos x="T2" y="T3"/>
                      </a:cxn>
                      <a:cxn ang="0">
                        <a:pos x="T4" y="T5"/>
                      </a:cxn>
                      <a:cxn ang="0">
                        <a:pos x="T6" y="T7"/>
                      </a:cxn>
                      <a:cxn ang="0">
                        <a:pos x="T8" y="T9"/>
                      </a:cxn>
                    </a:cxnLst>
                    <a:rect l="0" t="0" r="r" b="b"/>
                    <a:pathLst>
                      <a:path w="114" h="108">
                        <a:moveTo>
                          <a:pt x="114" y="0"/>
                        </a:moveTo>
                        <a:lnTo>
                          <a:pt x="6" y="0"/>
                        </a:lnTo>
                        <a:lnTo>
                          <a:pt x="0" y="108"/>
                        </a:lnTo>
                        <a:lnTo>
                          <a:pt x="112" y="108"/>
                        </a:lnTo>
                        <a:lnTo>
                          <a:pt x="11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6" name="Freeform 113"/>
                  <p:cNvSpPr/>
                  <p:nvPr/>
                </p:nvSpPr>
                <p:spPr bwMode="auto">
                  <a:xfrm>
                    <a:off x="1544" y="4072"/>
                    <a:ext cx="114" cy="108"/>
                  </a:xfrm>
                  <a:custGeom>
                    <a:avLst/>
                    <a:gdLst>
                      <a:gd name="T0" fmla="*/ 114 w 114"/>
                      <a:gd name="T1" fmla="*/ 0 h 108"/>
                      <a:gd name="T2" fmla="*/ 6 w 114"/>
                      <a:gd name="T3" fmla="*/ 0 h 108"/>
                      <a:gd name="T4" fmla="*/ 0 w 114"/>
                      <a:gd name="T5" fmla="*/ 108 h 108"/>
                      <a:gd name="T6" fmla="*/ 112 w 114"/>
                      <a:gd name="T7" fmla="*/ 108 h 108"/>
                      <a:gd name="T8" fmla="*/ 114 w 114"/>
                      <a:gd name="T9" fmla="*/ 0 h 108"/>
                    </a:gdLst>
                    <a:ahLst/>
                    <a:cxnLst>
                      <a:cxn ang="0">
                        <a:pos x="T0" y="T1"/>
                      </a:cxn>
                      <a:cxn ang="0">
                        <a:pos x="T2" y="T3"/>
                      </a:cxn>
                      <a:cxn ang="0">
                        <a:pos x="T4" y="T5"/>
                      </a:cxn>
                      <a:cxn ang="0">
                        <a:pos x="T6" y="T7"/>
                      </a:cxn>
                      <a:cxn ang="0">
                        <a:pos x="T8" y="T9"/>
                      </a:cxn>
                    </a:cxnLst>
                    <a:rect l="0" t="0" r="r" b="b"/>
                    <a:pathLst>
                      <a:path w="114" h="108">
                        <a:moveTo>
                          <a:pt x="114" y="0"/>
                        </a:moveTo>
                        <a:lnTo>
                          <a:pt x="6" y="0"/>
                        </a:lnTo>
                        <a:lnTo>
                          <a:pt x="0" y="108"/>
                        </a:lnTo>
                        <a:lnTo>
                          <a:pt x="112" y="108"/>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7" name="Freeform 114"/>
                  <p:cNvSpPr/>
                  <p:nvPr/>
                </p:nvSpPr>
                <p:spPr bwMode="auto">
                  <a:xfrm>
                    <a:off x="1678" y="4072"/>
                    <a:ext cx="110" cy="108"/>
                  </a:xfrm>
                  <a:custGeom>
                    <a:avLst/>
                    <a:gdLst>
                      <a:gd name="T0" fmla="*/ 110 w 110"/>
                      <a:gd name="T1" fmla="*/ 0 h 108"/>
                      <a:gd name="T2" fmla="*/ 2 w 110"/>
                      <a:gd name="T3" fmla="*/ 0 h 108"/>
                      <a:gd name="T4" fmla="*/ 0 w 110"/>
                      <a:gd name="T5" fmla="*/ 108 h 108"/>
                      <a:gd name="T6" fmla="*/ 110 w 110"/>
                      <a:gd name="T7" fmla="*/ 108 h 108"/>
                      <a:gd name="T8" fmla="*/ 110 w 110"/>
                      <a:gd name="T9" fmla="*/ 0 h 108"/>
                    </a:gdLst>
                    <a:ahLst/>
                    <a:cxnLst>
                      <a:cxn ang="0">
                        <a:pos x="T0" y="T1"/>
                      </a:cxn>
                      <a:cxn ang="0">
                        <a:pos x="T2" y="T3"/>
                      </a:cxn>
                      <a:cxn ang="0">
                        <a:pos x="T4" y="T5"/>
                      </a:cxn>
                      <a:cxn ang="0">
                        <a:pos x="T6" y="T7"/>
                      </a:cxn>
                      <a:cxn ang="0">
                        <a:pos x="T8" y="T9"/>
                      </a:cxn>
                    </a:cxnLst>
                    <a:rect l="0" t="0" r="r" b="b"/>
                    <a:pathLst>
                      <a:path w="110" h="108">
                        <a:moveTo>
                          <a:pt x="110" y="0"/>
                        </a:moveTo>
                        <a:lnTo>
                          <a:pt x="2" y="0"/>
                        </a:lnTo>
                        <a:lnTo>
                          <a:pt x="0" y="108"/>
                        </a:lnTo>
                        <a:lnTo>
                          <a:pt x="110" y="108"/>
                        </a:lnTo>
                        <a:lnTo>
                          <a:pt x="11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8" name="Freeform 115"/>
                  <p:cNvSpPr/>
                  <p:nvPr/>
                </p:nvSpPr>
                <p:spPr bwMode="auto">
                  <a:xfrm>
                    <a:off x="1678" y="4072"/>
                    <a:ext cx="110" cy="108"/>
                  </a:xfrm>
                  <a:custGeom>
                    <a:avLst/>
                    <a:gdLst>
                      <a:gd name="T0" fmla="*/ 110 w 110"/>
                      <a:gd name="T1" fmla="*/ 0 h 108"/>
                      <a:gd name="T2" fmla="*/ 2 w 110"/>
                      <a:gd name="T3" fmla="*/ 0 h 108"/>
                      <a:gd name="T4" fmla="*/ 0 w 110"/>
                      <a:gd name="T5" fmla="*/ 108 h 108"/>
                      <a:gd name="T6" fmla="*/ 110 w 110"/>
                      <a:gd name="T7" fmla="*/ 108 h 108"/>
                      <a:gd name="T8" fmla="*/ 110 w 110"/>
                      <a:gd name="T9" fmla="*/ 0 h 108"/>
                    </a:gdLst>
                    <a:ahLst/>
                    <a:cxnLst>
                      <a:cxn ang="0">
                        <a:pos x="T0" y="T1"/>
                      </a:cxn>
                      <a:cxn ang="0">
                        <a:pos x="T2" y="T3"/>
                      </a:cxn>
                      <a:cxn ang="0">
                        <a:pos x="T4" y="T5"/>
                      </a:cxn>
                      <a:cxn ang="0">
                        <a:pos x="T6" y="T7"/>
                      </a:cxn>
                      <a:cxn ang="0">
                        <a:pos x="T8" y="T9"/>
                      </a:cxn>
                    </a:cxnLst>
                    <a:rect l="0" t="0" r="r" b="b"/>
                    <a:pathLst>
                      <a:path w="110" h="108">
                        <a:moveTo>
                          <a:pt x="110" y="0"/>
                        </a:moveTo>
                        <a:lnTo>
                          <a:pt x="2" y="0"/>
                        </a:lnTo>
                        <a:lnTo>
                          <a:pt x="0" y="108"/>
                        </a:lnTo>
                        <a:lnTo>
                          <a:pt x="110" y="108"/>
                        </a:lnTo>
                        <a:lnTo>
                          <a:pt x="1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9" name="Freeform 116"/>
                  <p:cNvSpPr/>
                  <p:nvPr/>
                </p:nvSpPr>
                <p:spPr bwMode="auto">
                  <a:xfrm>
                    <a:off x="1808" y="4072"/>
                    <a:ext cx="115" cy="108"/>
                  </a:xfrm>
                  <a:custGeom>
                    <a:avLst/>
                    <a:gdLst>
                      <a:gd name="T0" fmla="*/ 109 w 115"/>
                      <a:gd name="T1" fmla="*/ 0 h 108"/>
                      <a:gd name="T2" fmla="*/ 0 w 115"/>
                      <a:gd name="T3" fmla="*/ 0 h 108"/>
                      <a:gd name="T4" fmla="*/ 2 w 115"/>
                      <a:gd name="T5" fmla="*/ 108 h 108"/>
                      <a:gd name="T6" fmla="*/ 115 w 115"/>
                      <a:gd name="T7" fmla="*/ 108 h 108"/>
                      <a:gd name="T8" fmla="*/ 109 w 115"/>
                      <a:gd name="T9" fmla="*/ 0 h 108"/>
                    </a:gdLst>
                    <a:ahLst/>
                    <a:cxnLst>
                      <a:cxn ang="0">
                        <a:pos x="T0" y="T1"/>
                      </a:cxn>
                      <a:cxn ang="0">
                        <a:pos x="T2" y="T3"/>
                      </a:cxn>
                      <a:cxn ang="0">
                        <a:pos x="T4" y="T5"/>
                      </a:cxn>
                      <a:cxn ang="0">
                        <a:pos x="T6" y="T7"/>
                      </a:cxn>
                      <a:cxn ang="0">
                        <a:pos x="T8" y="T9"/>
                      </a:cxn>
                    </a:cxnLst>
                    <a:rect l="0" t="0" r="r" b="b"/>
                    <a:pathLst>
                      <a:path w="115" h="108">
                        <a:moveTo>
                          <a:pt x="109" y="0"/>
                        </a:moveTo>
                        <a:lnTo>
                          <a:pt x="0" y="0"/>
                        </a:lnTo>
                        <a:lnTo>
                          <a:pt x="2" y="108"/>
                        </a:lnTo>
                        <a:lnTo>
                          <a:pt x="115" y="108"/>
                        </a:lnTo>
                        <a:lnTo>
                          <a:pt x="109"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0" name="Freeform 117"/>
                  <p:cNvSpPr/>
                  <p:nvPr/>
                </p:nvSpPr>
                <p:spPr bwMode="auto">
                  <a:xfrm>
                    <a:off x="1808" y="4072"/>
                    <a:ext cx="115" cy="108"/>
                  </a:xfrm>
                  <a:custGeom>
                    <a:avLst/>
                    <a:gdLst>
                      <a:gd name="T0" fmla="*/ 109 w 115"/>
                      <a:gd name="T1" fmla="*/ 0 h 108"/>
                      <a:gd name="T2" fmla="*/ 0 w 115"/>
                      <a:gd name="T3" fmla="*/ 0 h 108"/>
                      <a:gd name="T4" fmla="*/ 2 w 115"/>
                      <a:gd name="T5" fmla="*/ 108 h 108"/>
                      <a:gd name="T6" fmla="*/ 115 w 115"/>
                      <a:gd name="T7" fmla="*/ 108 h 108"/>
                      <a:gd name="T8" fmla="*/ 109 w 115"/>
                      <a:gd name="T9" fmla="*/ 0 h 108"/>
                    </a:gdLst>
                    <a:ahLst/>
                    <a:cxnLst>
                      <a:cxn ang="0">
                        <a:pos x="T0" y="T1"/>
                      </a:cxn>
                      <a:cxn ang="0">
                        <a:pos x="T2" y="T3"/>
                      </a:cxn>
                      <a:cxn ang="0">
                        <a:pos x="T4" y="T5"/>
                      </a:cxn>
                      <a:cxn ang="0">
                        <a:pos x="T6" y="T7"/>
                      </a:cxn>
                      <a:cxn ang="0">
                        <a:pos x="T8" y="T9"/>
                      </a:cxn>
                    </a:cxnLst>
                    <a:rect l="0" t="0" r="r" b="b"/>
                    <a:pathLst>
                      <a:path w="115" h="108">
                        <a:moveTo>
                          <a:pt x="109" y="0"/>
                        </a:moveTo>
                        <a:lnTo>
                          <a:pt x="0" y="0"/>
                        </a:lnTo>
                        <a:lnTo>
                          <a:pt x="2" y="108"/>
                        </a:lnTo>
                        <a:lnTo>
                          <a:pt x="115" y="108"/>
                        </a:lnTo>
                        <a:lnTo>
                          <a:pt x="1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1" name="Freeform 118"/>
                  <p:cNvSpPr/>
                  <p:nvPr/>
                </p:nvSpPr>
                <p:spPr bwMode="auto">
                  <a:xfrm>
                    <a:off x="1939" y="4072"/>
                    <a:ext cx="118" cy="108"/>
                  </a:xfrm>
                  <a:custGeom>
                    <a:avLst/>
                    <a:gdLst>
                      <a:gd name="T0" fmla="*/ 108 w 118"/>
                      <a:gd name="T1" fmla="*/ 0 h 108"/>
                      <a:gd name="T2" fmla="*/ 0 w 118"/>
                      <a:gd name="T3" fmla="*/ 0 h 108"/>
                      <a:gd name="T4" fmla="*/ 6 w 118"/>
                      <a:gd name="T5" fmla="*/ 108 h 108"/>
                      <a:gd name="T6" fmla="*/ 118 w 118"/>
                      <a:gd name="T7" fmla="*/ 108 h 108"/>
                      <a:gd name="T8" fmla="*/ 108 w 118"/>
                      <a:gd name="T9" fmla="*/ 0 h 108"/>
                    </a:gdLst>
                    <a:ahLst/>
                    <a:cxnLst>
                      <a:cxn ang="0">
                        <a:pos x="T0" y="T1"/>
                      </a:cxn>
                      <a:cxn ang="0">
                        <a:pos x="T2" y="T3"/>
                      </a:cxn>
                      <a:cxn ang="0">
                        <a:pos x="T4" y="T5"/>
                      </a:cxn>
                      <a:cxn ang="0">
                        <a:pos x="T6" y="T7"/>
                      </a:cxn>
                      <a:cxn ang="0">
                        <a:pos x="T8" y="T9"/>
                      </a:cxn>
                    </a:cxnLst>
                    <a:rect l="0" t="0" r="r" b="b"/>
                    <a:pathLst>
                      <a:path w="118" h="108">
                        <a:moveTo>
                          <a:pt x="108" y="0"/>
                        </a:moveTo>
                        <a:lnTo>
                          <a:pt x="0" y="0"/>
                        </a:lnTo>
                        <a:lnTo>
                          <a:pt x="6" y="108"/>
                        </a:lnTo>
                        <a:lnTo>
                          <a:pt x="118"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2" name="Freeform 119"/>
                  <p:cNvSpPr/>
                  <p:nvPr/>
                </p:nvSpPr>
                <p:spPr bwMode="auto">
                  <a:xfrm>
                    <a:off x="1939" y="4072"/>
                    <a:ext cx="118" cy="108"/>
                  </a:xfrm>
                  <a:custGeom>
                    <a:avLst/>
                    <a:gdLst>
                      <a:gd name="T0" fmla="*/ 108 w 118"/>
                      <a:gd name="T1" fmla="*/ 0 h 108"/>
                      <a:gd name="T2" fmla="*/ 0 w 118"/>
                      <a:gd name="T3" fmla="*/ 0 h 108"/>
                      <a:gd name="T4" fmla="*/ 6 w 118"/>
                      <a:gd name="T5" fmla="*/ 108 h 108"/>
                      <a:gd name="T6" fmla="*/ 118 w 118"/>
                      <a:gd name="T7" fmla="*/ 108 h 108"/>
                      <a:gd name="T8" fmla="*/ 108 w 118"/>
                      <a:gd name="T9" fmla="*/ 0 h 108"/>
                    </a:gdLst>
                    <a:ahLst/>
                    <a:cxnLst>
                      <a:cxn ang="0">
                        <a:pos x="T0" y="T1"/>
                      </a:cxn>
                      <a:cxn ang="0">
                        <a:pos x="T2" y="T3"/>
                      </a:cxn>
                      <a:cxn ang="0">
                        <a:pos x="T4" y="T5"/>
                      </a:cxn>
                      <a:cxn ang="0">
                        <a:pos x="T6" y="T7"/>
                      </a:cxn>
                      <a:cxn ang="0">
                        <a:pos x="T8" y="T9"/>
                      </a:cxn>
                    </a:cxnLst>
                    <a:rect l="0" t="0" r="r" b="b"/>
                    <a:pathLst>
                      <a:path w="118" h="108">
                        <a:moveTo>
                          <a:pt x="108" y="0"/>
                        </a:moveTo>
                        <a:lnTo>
                          <a:pt x="0" y="0"/>
                        </a:lnTo>
                        <a:lnTo>
                          <a:pt x="6" y="108"/>
                        </a:lnTo>
                        <a:lnTo>
                          <a:pt x="118"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3" name="Freeform 120"/>
                  <p:cNvSpPr/>
                  <p:nvPr/>
                </p:nvSpPr>
                <p:spPr bwMode="auto">
                  <a:xfrm>
                    <a:off x="2067" y="4072"/>
                    <a:ext cx="122" cy="108"/>
                  </a:xfrm>
                  <a:custGeom>
                    <a:avLst/>
                    <a:gdLst>
                      <a:gd name="T0" fmla="*/ 108 w 122"/>
                      <a:gd name="T1" fmla="*/ 0 h 108"/>
                      <a:gd name="T2" fmla="*/ 0 w 122"/>
                      <a:gd name="T3" fmla="*/ 0 h 108"/>
                      <a:gd name="T4" fmla="*/ 12 w 122"/>
                      <a:gd name="T5" fmla="*/ 108 h 108"/>
                      <a:gd name="T6" fmla="*/ 122 w 122"/>
                      <a:gd name="T7" fmla="*/ 108 h 108"/>
                      <a:gd name="T8" fmla="*/ 108 w 122"/>
                      <a:gd name="T9" fmla="*/ 0 h 108"/>
                    </a:gdLst>
                    <a:ahLst/>
                    <a:cxnLst>
                      <a:cxn ang="0">
                        <a:pos x="T0" y="T1"/>
                      </a:cxn>
                      <a:cxn ang="0">
                        <a:pos x="T2" y="T3"/>
                      </a:cxn>
                      <a:cxn ang="0">
                        <a:pos x="T4" y="T5"/>
                      </a:cxn>
                      <a:cxn ang="0">
                        <a:pos x="T6" y="T7"/>
                      </a:cxn>
                      <a:cxn ang="0">
                        <a:pos x="T8" y="T9"/>
                      </a:cxn>
                    </a:cxnLst>
                    <a:rect l="0" t="0" r="r" b="b"/>
                    <a:pathLst>
                      <a:path w="122" h="108">
                        <a:moveTo>
                          <a:pt x="108" y="0"/>
                        </a:moveTo>
                        <a:lnTo>
                          <a:pt x="0" y="0"/>
                        </a:lnTo>
                        <a:lnTo>
                          <a:pt x="12" y="108"/>
                        </a:lnTo>
                        <a:lnTo>
                          <a:pt x="122"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4" name="Freeform 121"/>
                  <p:cNvSpPr/>
                  <p:nvPr/>
                </p:nvSpPr>
                <p:spPr bwMode="auto">
                  <a:xfrm>
                    <a:off x="2067" y="4072"/>
                    <a:ext cx="122" cy="108"/>
                  </a:xfrm>
                  <a:custGeom>
                    <a:avLst/>
                    <a:gdLst>
                      <a:gd name="T0" fmla="*/ 108 w 122"/>
                      <a:gd name="T1" fmla="*/ 0 h 108"/>
                      <a:gd name="T2" fmla="*/ 0 w 122"/>
                      <a:gd name="T3" fmla="*/ 0 h 108"/>
                      <a:gd name="T4" fmla="*/ 12 w 122"/>
                      <a:gd name="T5" fmla="*/ 108 h 108"/>
                      <a:gd name="T6" fmla="*/ 122 w 122"/>
                      <a:gd name="T7" fmla="*/ 108 h 108"/>
                      <a:gd name="T8" fmla="*/ 108 w 122"/>
                      <a:gd name="T9" fmla="*/ 0 h 108"/>
                    </a:gdLst>
                    <a:ahLst/>
                    <a:cxnLst>
                      <a:cxn ang="0">
                        <a:pos x="T0" y="T1"/>
                      </a:cxn>
                      <a:cxn ang="0">
                        <a:pos x="T2" y="T3"/>
                      </a:cxn>
                      <a:cxn ang="0">
                        <a:pos x="T4" y="T5"/>
                      </a:cxn>
                      <a:cxn ang="0">
                        <a:pos x="T6" y="T7"/>
                      </a:cxn>
                      <a:cxn ang="0">
                        <a:pos x="T8" y="T9"/>
                      </a:cxn>
                    </a:cxnLst>
                    <a:rect l="0" t="0" r="r" b="b"/>
                    <a:pathLst>
                      <a:path w="122" h="108">
                        <a:moveTo>
                          <a:pt x="108" y="0"/>
                        </a:moveTo>
                        <a:lnTo>
                          <a:pt x="0" y="0"/>
                        </a:lnTo>
                        <a:lnTo>
                          <a:pt x="12" y="108"/>
                        </a:lnTo>
                        <a:lnTo>
                          <a:pt x="122"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5" name="Freeform 122"/>
                  <p:cNvSpPr/>
                  <p:nvPr/>
                </p:nvSpPr>
                <p:spPr bwMode="auto">
                  <a:xfrm>
                    <a:off x="2197" y="4072"/>
                    <a:ext cx="126" cy="108"/>
                  </a:xfrm>
                  <a:custGeom>
                    <a:avLst/>
                    <a:gdLst>
                      <a:gd name="T0" fmla="*/ 108 w 126"/>
                      <a:gd name="T1" fmla="*/ 0 h 108"/>
                      <a:gd name="T2" fmla="*/ 0 w 126"/>
                      <a:gd name="T3" fmla="*/ 0 h 108"/>
                      <a:gd name="T4" fmla="*/ 14 w 126"/>
                      <a:gd name="T5" fmla="*/ 108 h 108"/>
                      <a:gd name="T6" fmla="*/ 126 w 126"/>
                      <a:gd name="T7" fmla="*/ 108 h 108"/>
                      <a:gd name="T8" fmla="*/ 108 w 126"/>
                      <a:gd name="T9" fmla="*/ 0 h 108"/>
                    </a:gdLst>
                    <a:ahLst/>
                    <a:cxnLst>
                      <a:cxn ang="0">
                        <a:pos x="T0" y="T1"/>
                      </a:cxn>
                      <a:cxn ang="0">
                        <a:pos x="T2" y="T3"/>
                      </a:cxn>
                      <a:cxn ang="0">
                        <a:pos x="T4" y="T5"/>
                      </a:cxn>
                      <a:cxn ang="0">
                        <a:pos x="T6" y="T7"/>
                      </a:cxn>
                      <a:cxn ang="0">
                        <a:pos x="T8" y="T9"/>
                      </a:cxn>
                    </a:cxnLst>
                    <a:rect l="0" t="0" r="r" b="b"/>
                    <a:pathLst>
                      <a:path w="126" h="108">
                        <a:moveTo>
                          <a:pt x="108" y="0"/>
                        </a:moveTo>
                        <a:lnTo>
                          <a:pt x="0" y="0"/>
                        </a:lnTo>
                        <a:lnTo>
                          <a:pt x="14" y="108"/>
                        </a:lnTo>
                        <a:lnTo>
                          <a:pt x="126"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6" name="Freeform 123"/>
                  <p:cNvSpPr/>
                  <p:nvPr/>
                </p:nvSpPr>
                <p:spPr bwMode="auto">
                  <a:xfrm>
                    <a:off x="2197" y="4072"/>
                    <a:ext cx="126" cy="108"/>
                  </a:xfrm>
                  <a:custGeom>
                    <a:avLst/>
                    <a:gdLst>
                      <a:gd name="T0" fmla="*/ 108 w 126"/>
                      <a:gd name="T1" fmla="*/ 0 h 108"/>
                      <a:gd name="T2" fmla="*/ 0 w 126"/>
                      <a:gd name="T3" fmla="*/ 0 h 108"/>
                      <a:gd name="T4" fmla="*/ 14 w 126"/>
                      <a:gd name="T5" fmla="*/ 108 h 108"/>
                      <a:gd name="T6" fmla="*/ 126 w 126"/>
                      <a:gd name="T7" fmla="*/ 108 h 108"/>
                      <a:gd name="T8" fmla="*/ 108 w 126"/>
                      <a:gd name="T9" fmla="*/ 0 h 108"/>
                    </a:gdLst>
                    <a:ahLst/>
                    <a:cxnLst>
                      <a:cxn ang="0">
                        <a:pos x="T0" y="T1"/>
                      </a:cxn>
                      <a:cxn ang="0">
                        <a:pos x="T2" y="T3"/>
                      </a:cxn>
                      <a:cxn ang="0">
                        <a:pos x="T4" y="T5"/>
                      </a:cxn>
                      <a:cxn ang="0">
                        <a:pos x="T6" y="T7"/>
                      </a:cxn>
                      <a:cxn ang="0">
                        <a:pos x="T8" y="T9"/>
                      </a:cxn>
                    </a:cxnLst>
                    <a:rect l="0" t="0" r="r" b="b"/>
                    <a:pathLst>
                      <a:path w="126" h="108">
                        <a:moveTo>
                          <a:pt x="108" y="0"/>
                        </a:moveTo>
                        <a:lnTo>
                          <a:pt x="0" y="0"/>
                        </a:lnTo>
                        <a:lnTo>
                          <a:pt x="14" y="108"/>
                        </a:lnTo>
                        <a:lnTo>
                          <a:pt x="126"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7" name="Freeform 124"/>
                  <p:cNvSpPr/>
                  <p:nvPr/>
                </p:nvSpPr>
                <p:spPr bwMode="auto">
                  <a:xfrm>
                    <a:off x="2327" y="4072"/>
                    <a:ext cx="130" cy="108"/>
                  </a:xfrm>
                  <a:custGeom>
                    <a:avLst/>
                    <a:gdLst>
                      <a:gd name="T0" fmla="*/ 106 w 130"/>
                      <a:gd name="T1" fmla="*/ 0 h 108"/>
                      <a:gd name="T2" fmla="*/ 0 w 130"/>
                      <a:gd name="T3" fmla="*/ 0 h 108"/>
                      <a:gd name="T4" fmla="*/ 18 w 130"/>
                      <a:gd name="T5" fmla="*/ 108 h 108"/>
                      <a:gd name="T6" fmla="*/ 130 w 130"/>
                      <a:gd name="T7" fmla="*/ 108 h 108"/>
                      <a:gd name="T8" fmla="*/ 106 w 130"/>
                      <a:gd name="T9" fmla="*/ 0 h 108"/>
                    </a:gdLst>
                    <a:ahLst/>
                    <a:cxnLst>
                      <a:cxn ang="0">
                        <a:pos x="T0" y="T1"/>
                      </a:cxn>
                      <a:cxn ang="0">
                        <a:pos x="T2" y="T3"/>
                      </a:cxn>
                      <a:cxn ang="0">
                        <a:pos x="T4" y="T5"/>
                      </a:cxn>
                      <a:cxn ang="0">
                        <a:pos x="T6" y="T7"/>
                      </a:cxn>
                      <a:cxn ang="0">
                        <a:pos x="T8" y="T9"/>
                      </a:cxn>
                    </a:cxnLst>
                    <a:rect l="0" t="0" r="r" b="b"/>
                    <a:pathLst>
                      <a:path w="130" h="108">
                        <a:moveTo>
                          <a:pt x="106" y="0"/>
                        </a:moveTo>
                        <a:lnTo>
                          <a:pt x="0" y="0"/>
                        </a:lnTo>
                        <a:lnTo>
                          <a:pt x="18" y="108"/>
                        </a:lnTo>
                        <a:lnTo>
                          <a:pt x="130" y="108"/>
                        </a:lnTo>
                        <a:lnTo>
                          <a:pt x="10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8" name="Freeform 125"/>
                  <p:cNvSpPr/>
                  <p:nvPr/>
                </p:nvSpPr>
                <p:spPr bwMode="auto">
                  <a:xfrm>
                    <a:off x="2327" y="4072"/>
                    <a:ext cx="130" cy="108"/>
                  </a:xfrm>
                  <a:custGeom>
                    <a:avLst/>
                    <a:gdLst>
                      <a:gd name="T0" fmla="*/ 106 w 130"/>
                      <a:gd name="T1" fmla="*/ 0 h 108"/>
                      <a:gd name="T2" fmla="*/ 0 w 130"/>
                      <a:gd name="T3" fmla="*/ 0 h 108"/>
                      <a:gd name="T4" fmla="*/ 18 w 130"/>
                      <a:gd name="T5" fmla="*/ 108 h 108"/>
                      <a:gd name="T6" fmla="*/ 130 w 130"/>
                      <a:gd name="T7" fmla="*/ 108 h 108"/>
                      <a:gd name="T8" fmla="*/ 106 w 130"/>
                      <a:gd name="T9" fmla="*/ 0 h 108"/>
                    </a:gdLst>
                    <a:ahLst/>
                    <a:cxnLst>
                      <a:cxn ang="0">
                        <a:pos x="T0" y="T1"/>
                      </a:cxn>
                      <a:cxn ang="0">
                        <a:pos x="T2" y="T3"/>
                      </a:cxn>
                      <a:cxn ang="0">
                        <a:pos x="T4" y="T5"/>
                      </a:cxn>
                      <a:cxn ang="0">
                        <a:pos x="T6" y="T7"/>
                      </a:cxn>
                      <a:cxn ang="0">
                        <a:pos x="T8" y="T9"/>
                      </a:cxn>
                    </a:cxnLst>
                    <a:rect l="0" t="0" r="r" b="b"/>
                    <a:pathLst>
                      <a:path w="130" h="108">
                        <a:moveTo>
                          <a:pt x="106" y="0"/>
                        </a:moveTo>
                        <a:lnTo>
                          <a:pt x="0" y="0"/>
                        </a:lnTo>
                        <a:lnTo>
                          <a:pt x="18" y="108"/>
                        </a:lnTo>
                        <a:lnTo>
                          <a:pt x="130" y="108"/>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89" name="Freeform 126"/>
                  <p:cNvSpPr/>
                  <p:nvPr/>
                </p:nvSpPr>
                <p:spPr bwMode="auto">
                  <a:xfrm>
                    <a:off x="2455" y="4072"/>
                    <a:ext cx="134" cy="108"/>
                  </a:xfrm>
                  <a:custGeom>
                    <a:avLst/>
                    <a:gdLst>
                      <a:gd name="T0" fmla="*/ 108 w 134"/>
                      <a:gd name="T1" fmla="*/ 0 h 108"/>
                      <a:gd name="T2" fmla="*/ 0 w 134"/>
                      <a:gd name="T3" fmla="*/ 0 h 108"/>
                      <a:gd name="T4" fmla="*/ 24 w 134"/>
                      <a:gd name="T5" fmla="*/ 108 h 108"/>
                      <a:gd name="T6" fmla="*/ 134 w 134"/>
                      <a:gd name="T7" fmla="*/ 108 h 108"/>
                      <a:gd name="T8" fmla="*/ 108 w 134"/>
                      <a:gd name="T9" fmla="*/ 0 h 108"/>
                    </a:gdLst>
                    <a:ahLst/>
                    <a:cxnLst>
                      <a:cxn ang="0">
                        <a:pos x="T0" y="T1"/>
                      </a:cxn>
                      <a:cxn ang="0">
                        <a:pos x="T2" y="T3"/>
                      </a:cxn>
                      <a:cxn ang="0">
                        <a:pos x="T4" y="T5"/>
                      </a:cxn>
                      <a:cxn ang="0">
                        <a:pos x="T6" y="T7"/>
                      </a:cxn>
                      <a:cxn ang="0">
                        <a:pos x="T8" y="T9"/>
                      </a:cxn>
                    </a:cxnLst>
                    <a:rect l="0" t="0" r="r" b="b"/>
                    <a:pathLst>
                      <a:path w="134" h="108">
                        <a:moveTo>
                          <a:pt x="108" y="0"/>
                        </a:moveTo>
                        <a:lnTo>
                          <a:pt x="0" y="0"/>
                        </a:lnTo>
                        <a:lnTo>
                          <a:pt x="24" y="108"/>
                        </a:lnTo>
                        <a:lnTo>
                          <a:pt x="134"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0" name="Freeform 127"/>
                  <p:cNvSpPr/>
                  <p:nvPr/>
                </p:nvSpPr>
                <p:spPr bwMode="auto">
                  <a:xfrm>
                    <a:off x="2455" y="4072"/>
                    <a:ext cx="134" cy="108"/>
                  </a:xfrm>
                  <a:custGeom>
                    <a:avLst/>
                    <a:gdLst>
                      <a:gd name="T0" fmla="*/ 108 w 134"/>
                      <a:gd name="T1" fmla="*/ 0 h 108"/>
                      <a:gd name="T2" fmla="*/ 0 w 134"/>
                      <a:gd name="T3" fmla="*/ 0 h 108"/>
                      <a:gd name="T4" fmla="*/ 24 w 134"/>
                      <a:gd name="T5" fmla="*/ 108 h 108"/>
                      <a:gd name="T6" fmla="*/ 134 w 134"/>
                      <a:gd name="T7" fmla="*/ 108 h 108"/>
                      <a:gd name="T8" fmla="*/ 108 w 134"/>
                      <a:gd name="T9" fmla="*/ 0 h 108"/>
                    </a:gdLst>
                    <a:ahLst/>
                    <a:cxnLst>
                      <a:cxn ang="0">
                        <a:pos x="T0" y="T1"/>
                      </a:cxn>
                      <a:cxn ang="0">
                        <a:pos x="T2" y="T3"/>
                      </a:cxn>
                      <a:cxn ang="0">
                        <a:pos x="T4" y="T5"/>
                      </a:cxn>
                      <a:cxn ang="0">
                        <a:pos x="T6" y="T7"/>
                      </a:cxn>
                      <a:cxn ang="0">
                        <a:pos x="T8" y="T9"/>
                      </a:cxn>
                    </a:cxnLst>
                    <a:rect l="0" t="0" r="r" b="b"/>
                    <a:pathLst>
                      <a:path w="134" h="108">
                        <a:moveTo>
                          <a:pt x="108" y="0"/>
                        </a:moveTo>
                        <a:lnTo>
                          <a:pt x="0" y="0"/>
                        </a:lnTo>
                        <a:lnTo>
                          <a:pt x="24" y="108"/>
                        </a:lnTo>
                        <a:lnTo>
                          <a:pt x="134"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1" name="Freeform 128"/>
                  <p:cNvSpPr/>
                  <p:nvPr/>
                </p:nvSpPr>
                <p:spPr bwMode="auto">
                  <a:xfrm>
                    <a:off x="2585" y="4072"/>
                    <a:ext cx="138" cy="108"/>
                  </a:xfrm>
                  <a:custGeom>
                    <a:avLst/>
                    <a:gdLst>
                      <a:gd name="T0" fmla="*/ 106 w 138"/>
                      <a:gd name="T1" fmla="*/ 0 h 108"/>
                      <a:gd name="T2" fmla="*/ 0 w 138"/>
                      <a:gd name="T3" fmla="*/ 0 h 108"/>
                      <a:gd name="T4" fmla="*/ 26 w 138"/>
                      <a:gd name="T5" fmla="*/ 108 h 108"/>
                      <a:gd name="T6" fmla="*/ 138 w 138"/>
                      <a:gd name="T7" fmla="*/ 108 h 108"/>
                      <a:gd name="T8" fmla="*/ 106 w 138"/>
                      <a:gd name="T9" fmla="*/ 0 h 108"/>
                    </a:gdLst>
                    <a:ahLst/>
                    <a:cxnLst>
                      <a:cxn ang="0">
                        <a:pos x="T0" y="T1"/>
                      </a:cxn>
                      <a:cxn ang="0">
                        <a:pos x="T2" y="T3"/>
                      </a:cxn>
                      <a:cxn ang="0">
                        <a:pos x="T4" y="T5"/>
                      </a:cxn>
                      <a:cxn ang="0">
                        <a:pos x="T6" y="T7"/>
                      </a:cxn>
                      <a:cxn ang="0">
                        <a:pos x="T8" y="T9"/>
                      </a:cxn>
                    </a:cxnLst>
                    <a:rect l="0" t="0" r="r" b="b"/>
                    <a:pathLst>
                      <a:path w="138" h="108">
                        <a:moveTo>
                          <a:pt x="106" y="0"/>
                        </a:moveTo>
                        <a:lnTo>
                          <a:pt x="0" y="0"/>
                        </a:lnTo>
                        <a:lnTo>
                          <a:pt x="26" y="108"/>
                        </a:lnTo>
                        <a:lnTo>
                          <a:pt x="138" y="108"/>
                        </a:lnTo>
                        <a:lnTo>
                          <a:pt x="10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2" name="Freeform 129"/>
                  <p:cNvSpPr/>
                  <p:nvPr/>
                </p:nvSpPr>
                <p:spPr bwMode="auto">
                  <a:xfrm>
                    <a:off x="2585" y="4072"/>
                    <a:ext cx="138" cy="108"/>
                  </a:xfrm>
                  <a:custGeom>
                    <a:avLst/>
                    <a:gdLst>
                      <a:gd name="T0" fmla="*/ 106 w 138"/>
                      <a:gd name="T1" fmla="*/ 0 h 108"/>
                      <a:gd name="T2" fmla="*/ 0 w 138"/>
                      <a:gd name="T3" fmla="*/ 0 h 108"/>
                      <a:gd name="T4" fmla="*/ 26 w 138"/>
                      <a:gd name="T5" fmla="*/ 108 h 108"/>
                      <a:gd name="T6" fmla="*/ 138 w 138"/>
                      <a:gd name="T7" fmla="*/ 108 h 108"/>
                      <a:gd name="T8" fmla="*/ 106 w 138"/>
                      <a:gd name="T9" fmla="*/ 0 h 108"/>
                    </a:gdLst>
                    <a:ahLst/>
                    <a:cxnLst>
                      <a:cxn ang="0">
                        <a:pos x="T0" y="T1"/>
                      </a:cxn>
                      <a:cxn ang="0">
                        <a:pos x="T2" y="T3"/>
                      </a:cxn>
                      <a:cxn ang="0">
                        <a:pos x="T4" y="T5"/>
                      </a:cxn>
                      <a:cxn ang="0">
                        <a:pos x="T6" y="T7"/>
                      </a:cxn>
                      <a:cxn ang="0">
                        <a:pos x="T8" y="T9"/>
                      </a:cxn>
                    </a:cxnLst>
                    <a:rect l="0" t="0" r="r" b="b"/>
                    <a:pathLst>
                      <a:path w="138" h="108">
                        <a:moveTo>
                          <a:pt x="106" y="0"/>
                        </a:moveTo>
                        <a:lnTo>
                          <a:pt x="0" y="0"/>
                        </a:lnTo>
                        <a:lnTo>
                          <a:pt x="26" y="108"/>
                        </a:lnTo>
                        <a:lnTo>
                          <a:pt x="138" y="108"/>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3" name="Freeform 130"/>
                  <p:cNvSpPr/>
                  <p:nvPr/>
                </p:nvSpPr>
                <p:spPr bwMode="auto">
                  <a:xfrm>
                    <a:off x="2713" y="4072"/>
                    <a:ext cx="142" cy="108"/>
                  </a:xfrm>
                  <a:custGeom>
                    <a:avLst/>
                    <a:gdLst>
                      <a:gd name="T0" fmla="*/ 108 w 142"/>
                      <a:gd name="T1" fmla="*/ 0 h 108"/>
                      <a:gd name="T2" fmla="*/ 0 w 142"/>
                      <a:gd name="T3" fmla="*/ 0 h 108"/>
                      <a:gd name="T4" fmla="*/ 32 w 142"/>
                      <a:gd name="T5" fmla="*/ 108 h 108"/>
                      <a:gd name="T6" fmla="*/ 142 w 142"/>
                      <a:gd name="T7" fmla="*/ 108 h 108"/>
                      <a:gd name="T8" fmla="*/ 108 w 142"/>
                      <a:gd name="T9" fmla="*/ 0 h 108"/>
                    </a:gdLst>
                    <a:ahLst/>
                    <a:cxnLst>
                      <a:cxn ang="0">
                        <a:pos x="T0" y="T1"/>
                      </a:cxn>
                      <a:cxn ang="0">
                        <a:pos x="T2" y="T3"/>
                      </a:cxn>
                      <a:cxn ang="0">
                        <a:pos x="T4" y="T5"/>
                      </a:cxn>
                      <a:cxn ang="0">
                        <a:pos x="T6" y="T7"/>
                      </a:cxn>
                      <a:cxn ang="0">
                        <a:pos x="T8" y="T9"/>
                      </a:cxn>
                    </a:cxnLst>
                    <a:rect l="0" t="0" r="r" b="b"/>
                    <a:pathLst>
                      <a:path w="142" h="108">
                        <a:moveTo>
                          <a:pt x="108" y="0"/>
                        </a:moveTo>
                        <a:lnTo>
                          <a:pt x="0" y="0"/>
                        </a:lnTo>
                        <a:lnTo>
                          <a:pt x="32" y="108"/>
                        </a:lnTo>
                        <a:lnTo>
                          <a:pt x="142"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4" name="Freeform 131"/>
                  <p:cNvSpPr/>
                  <p:nvPr/>
                </p:nvSpPr>
                <p:spPr bwMode="auto">
                  <a:xfrm>
                    <a:off x="2713" y="4072"/>
                    <a:ext cx="142" cy="108"/>
                  </a:xfrm>
                  <a:custGeom>
                    <a:avLst/>
                    <a:gdLst>
                      <a:gd name="T0" fmla="*/ 108 w 142"/>
                      <a:gd name="T1" fmla="*/ 0 h 108"/>
                      <a:gd name="T2" fmla="*/ 0 w 142"/>
                      <a:gd name="T3" fmla="*/ 0 h 108"/>
                      <a:gd name="T4" fmla="*/ 32 w 142"/>
                      <a:gd name="T5" fmla="*/ 108 h 108"/>
                      <a:gd name="T6" fmla="*/ 142 w 142"/>
                      <a:gd name="T7" fmla="*/ 108 h 108"/>
                      <a:gd name="T8" fmla="*/ 108 w 142"/>
                      <a:gd name="T9" fmla="*/ 0 h 108"/>
                    </a:gdLst>
                    <a:ahLst/>
                    <a:cxnLst>
                      <a:cxn ang="0">
                        <a:pos x="T0" y="T1"/>
                      </a:cxn>
                      <a:cxn ang="0">
                        <a:pos x="T2" y="T3"/>
                      </a:cxn>
                      <a:cxn ang="0">
                        <a:pos x="T4" y="T5"/>
                      </a:cxn>
                      <a:cxn ang="0">
                        <a:pos x="T6" y="T7"/>
                      </a:cxn>
                      <a:cxn ang="0">
                        <a:pos x="T8" y="T9"/>
                      </a:cxn>
                    </a:cxnLst>
                    <a:rect l="0" t="0" r="r" b="b"/>
                    <a:pathLst>
                      <a:path w="142" h="108">
                        <a:moveTo>
                          <a:pt x="108" y="0"/>
                        </a:moveTo>
                        <a:lnTo>
                          <a:pt x="0" y="0"/>
                        </a:lnTo>
                        <a:lnTo>
                          <a:pt x="32" y="108"/>
                        </a:lnTo>
                        <a:lnTo>
                          <a:pt x="142"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5" name="Freeform 132"/>
                  <p:cNvSpPr/>
                  <p:nvPr/>
                </p:nvSpPr>
                <p:spPr bwMode="auto">
                  <a:xfrm>
                    <a:off x="2843" y="4072"/>
                    <a:ext cx="146" cy="108"/>
                  </a:xfrm>
                  <a:custGeom>
                    <a:avLst/>
                    <a:gdLst>
                      <a:gd name="T0" fmla="*/ 106 w 146"/>
                      <a:gd name="T1" fmla="*/ 0 h 108"/>
                      <a:gd name="T2" fmla="*/ 0 w 146"/>
                      <a:gd name="T3" fmla="*/ 0 h 108"/>
                      <a:gd name="T4" fmla="*/ 36 w 146"/>
                      <a:gd name="T5" fmla="*/ 108 h 108"/>
                      <a:gd name="T6" fmla="*/ 146 w 146"/>
                      <a:gd name="T7" fmla="*/ 108 h 108"/>
                      <a:gd name="T8" fmla="*/ 106 w 146"/>
                      <a:gd name="T9" fmla="*/ 0 h 108"/>
                    </a:gdLst>
                    <a:ahLst/>
                    <a:cxnLst>
                      <a:cxn ang="0">
                        <a:pos x="T0" y="T1"/>
                      </a:cxn>
                      <a:cxn ang="0">
                        <a:pos x="T2" y="T3"/>
                      </a:cxn>
                      <a:cxn ang="0">
                        <a:pos x="T4" y="T5"/>
                      </a:cxn>
                      <a:cxn ang="0">
                        <a:pos x="T6" y="T7"/>
                      </a:cxn>
                      <a:cxn ang="0">
                        <a:pos x="T8" y="T9"/>
                      </a:cxn>
                    </a:cxnLst>
                    <a:rect l="0" t="0" r="r" b="b"/>
                    <a:pathLst>
                      <a:path w="146" h="108">
                        <a:moveTo>
                          <a:pt x="106" y="0"/>
                        </a:moveTo>
                        <a:lnTo>
                          <a:pt x="0" y="0"/>
                        </a:lnTo>
                        <a:lnTo>
                          <a:pt x="36" y="108"/>
                        </a:lnTo>
                        <a:lnTo>
                          <a:pt x="146" y="108"/>
                        </a:lnTo>
                        <a:lnTo>
                          <a:pt x="10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6" name="Freeform 133"/>
                  <p:cNvSpPr/>
                  <p:nvPr/>
                </p:nvSpPr>
                <p:spPr bwMode="auto">
                  <a:xfrm>
                    <a:off x="2843" y="4072"/>
                    <a:ext cx="146" cy="108"/>
                  </a:xfrm>
                  <a:custGeom>
                    <a:avLst/>
                    <a:gdLst>
                      <a:gd name="T0" fmla="*/ 106 w 146"/>
                      <a:gd name="T1" fmla="*/ 0 h 108"/>
                      <a:gd name="T2" fmla="*/ 0 w 146"/>
                      <a:gd name="T3" fmla="*/ 0 h 108"/>
                      <a:gd name="T4" fmla="*/ 36 w 146"/>
                      <a:gd name="T5" fmla="*/ 108 h 108"/>
                      <a:gd name="T6" fmla="*/ 146 w 146"/>
                      <a:gd name="T7" fmla="*/ 108 h 108"/>
                      <a:gd name="T8" fmla="*/ 106 w 146"/>
                      <a:gd name="T9" fmla="*/ 0 h 108"/>
                    </a:gdLst>
                    <a:ahLst/>
                    <a:cxnLst>
                      <a:cxn ang="0">
                        <a:pos x="T0" y="T1"/>
                      </a:cxn>
                      <a:cxn ang="0">
                        <a:pos x="T2" y="T3"/>
                      </a:cxn>
                      <a:cxn ang="0">
                        <a:pos x="T4" y="T5"/>
                      </a:cxn>
                      <a:cxn ang="0">
                        <a:pos x="T6" y="T7"/>
                      </a:cxn>
                      <a:cxn ang="0">
                        <a:pos x="T8" y="T9"/>
                      </a:cxn>
                    </a:cxnLst>
                    <a:rect l="0" t="0" r="r" b="b"/>
                    <a:pathLst>
                      <a:path w="146" h="108">
                        <a:moveTo>
                          <a:pt x="106" y="0"/>
                        </a:moveTo>
                        <a:lnTo>
                          <a:pt x="0" y="0"/>
                        </a:lnTo>
                        <a:lnTo>
                          <a:pt x="36" y="108"/>
                        </a:lnTo>
                        <a:lnTo>
                          <a:pt x="146" y="108"/>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7" name="Freeform 134"/>
                  <p:cNvSpPr/>
                  <p:nvPr/>
                </p:nvSpPr>
                <p:spPr bwMode="auto">
                  <a:xfrm>
                    <a:off x="2971" y="4072"/>
                    <a:ext cx="152" cy="108"/>
                  </a:xfrm>
                  <a:custGeom>
                    <a:avLst/>
                    <a:gdLst>
                      <a:gd name="T0" fmla="*/ 108 w 152"/>
                      <a:gd name="T1" fmla="*/ 0 h 108"/>
                      <a:gd name="T2" fmla="*/ 0 w 152"/>
                      <a:gd name="T3" fmla="*/ 0 h 108"/>
                      <a:gd name="T4" fmla="*/ 40 w 152"/>
                      <a:gd name="T5" fmla="*/ 108 h 108"/>
                      <a:gd name="T6" fmla="*/ 152 w 152"/>
                      <a:gd name="T7" fmla="*/ 108 h 108"/>
                      <a:gd name="T8" fmla="*/ 108 w 152"/>
                      <a:gd name="T9" fmla="*/ 0 h 108"/>
                    </a:gdLst>
                    <a:ahLst/>
                    <a:cxnLst>
                      <a:cxn ang="0">
                        <a:pos x="T0" y="T1"/>
                      </a:cxn>
                      <a:cxn ang="0">
                        <a:pos x="T2" y="T3"/>
                      </a:cxn>
                      <a:cxn ang="0">
                        <a:pos x="T4" y="T5"/>
                      </a:cxn>
                      <a:cxn ang="0">
                        <a:pos x="T6" y="T7"/>
                      </a:cxn>
                      <a:cxn ang="0">
                        <a:pos x="T8" y="T9"/>
                      </a:cxn>
                    </a:cxnLst>
                    <a:rect l="0" t="0" r="r" b="b"/>
                    <a:pathLst>
                      <a:path w="152" h="108">
                        <a:moveTo>
                          <a:pt x="108" y="0"/>
                        </a:moveTo>
                        <a:lnTo>
                          <a:pt x="0" y="0"/>
                        </a:lnTo>
                        <a:lnTo>
                          <a:pt x="40" y="108"/>
                        </a:lnTo>
                        <a:lnTo>
                          <a:pt x="152"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8" name="Freeform 135"/>
                  <p:cNvSpPr/>
                  <p:nvPr/>
                </p:nvSpPr>
                <p:spPr bwMode="auto">
                  <a:xfrm>
                    <a:off x="2971" y="4072"/>
                    <a:ext cx="152" cy="108"/>
                  </a:xfrm>
                  <a:custGeom>
                    <a:avLst/>
                    <a:gdLst>
                      <a:gd name="T0" fmla="*/ 108 w 152"/>
                      <a:gd name="T1" fmla="*/ 0 h 108"/>
                      <a:gd name="T2" fmla="*/ 0 w 152"/>
                      <a:gd name="T3" fmla="*/ 0 h 108"/>
                      <a:gd name="T4" fmla="*/ 40 w 152"/>
                      <a:gd name="T5" fmla="*/ 108 h 108"/>
                      <a:gd name="T6" fmla="*/ 152 w 152"/>
                      <a:gd name="T7" fmla="*/ 108 h 108"/>
                      <a:gd name="T8" fmla="*/ 108 w 152"/>
                      <a:gd name="T9" fmla="*/ 0 h 108"/>
                    </a:gdLst>
                    <a:ahLst/>
                    <a:cxnLst>
                      <a:cxn ang="0">
                        <a:pos x="T0" y="T1"/>
                      </a:cxn>
                      <a:cxn ang="0">
                        <a:pos x="T2" y="T3"/>
                      </a:cxn>
                      <a:cxn ang="0">
                        <a:pos x="T4" y="T5"/>
                      </a:cxn>
                      <a:cxn ang="0">
                        <a:pos x="T6" y="T7"/>
                      </a:cxn>
                      <a:cxn ang="0">
                        <a:pos x="T8" y="T9"/>
                      </a:cxn>
                    </a:cxnLst>
                    <a:rect l="0" t="0" r="r" b="b"/>
                    <a:pathLst>
                      <a:path w="152" h="108">
                        <a:moveTo>
                          <a:pt x="108" y="0"/>
                        </a:moveTo>
                        <a:lnTo>
                          <a:pt x="0" y="0"/>
                        </a:lnTo>
                        <a:lnTo>
                          <a:pt x="40" y="108"/>
                        </a:lnTo>
                        <a:lnTo>
                          <a:pt x="152"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99" name="Freeform 136"/>
                  <p:cNvSpPr/>
                  <p:nvPr/>
                </p:nvSpPr>
                <p:spPr bwMode="auto">
                  <a:xfrm>
                    <a:off x="3101" y="4072"/>
                    <a:ext cx="154" cy="108"/>
                  </a:xfrm>
                  <a:custGeom>
                    <a:avLst/>
                    <a:gdLst>
                      <a:gd name="T0" fmla="*/ 108 w 154"/>
                      <a:gd name="T1" fmla="*/ 0 h 108"/>
                      <a:gd name="T2" fmla="*/ 0 w 154"/>
                      <a:gd name="T3" fmla="*/ 0 h 108"/>
                      <a:gd name="T4" fmla="*/ 44 w 154"/>
                      <a:gd name="T5" fmla="*/ 108 h 108"/>
                      <a:gd name="T6" fmla="*/ 154 w 154"/>
                      <a:gd name="T7" fmla="*/ 108 h 108"/>
                      <a:gd name="T8" fmla="*/ 108 w 154"/>
                      <a:gd name="T9" fmla="*/ 0 h 108"/>
                    </a:gdLst>
                    <a:ahLst/>
                    <a:cxnLst>
                      <a:cxn ang="0">
                        <a:pos x="T0" y="T1"/>
                      </a:cxn>
                      <a:cxn ang="0">
                        <a:pos x="T2" y="T3"/>
                      </a:cxn>
                      <a:cxn ang="0">
                        <a:pos x="T4" y="T5"/>
                      </a:cxn>
                      <a:cxn ang="0">
                        <a:pos x="T6" y="T7"/>
                      </a:cxn>
                      <a:cxn ang="0">
                        <a:pos x="T8" y="T9"/>
                      </a:cxn>
                    </a:cxnLst>
                    <a:rect l="0" t="0" r="r" b="b"/>
                    <a:pathLst>
                      <a:path w="154" h="108">
                        <a:moveTo>
                          <a:pt x="108" y="0"/>
                        </a:moveTo>
                        <a:lnTo>
                          <a:pt x="0" y="0"/>
                        </a:lnTo>
                        <a:lnTo>
                          <a:pt x="44" y="108"/>
                        </a:lnTo>
                        <a:lnTo>
                          <a:pt x="154"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0" name="Freeform 137"/>
                  <p:cNvSpPr/>
                  <p:nvPr/>
                </p:nvSpPr>
                <p:spPr bwMode="auto">
                  <a:xfrm>
                    <a:off x="3101" y="4072"/>
                    <a:ext cx="154" cy="108"/>
                  </a:xfrm>
                  <a:custGeom>
                    <a:avLst/>
                    <a:gdLst>
                      <a:gd name="T0" fmla="*/ 108 w 154"/>
                      <a:gd name="T1" fmla="*/ 0 h 108"/>
                      <a:gd name="T2" fmla="*/ 0 w 154"/>
                      <a:gd name="T3" fmla="*/ 0 h 108"/>
                      <a:gd name="T4" fmla="*/ 44 w 154"/>
                      <a:gd name="T5" fmla="*/ 108 h 108"/>
                      <a:gd name="T6" fmla="*/ 154 w 154"/>
                      <a:gd name="T7" fmla="*/ 108 h 108"/>
                      <a:gd name="T8" fmla="*/ 108 w 154"/>
                      <a:gd name="T9" fmla="*/ 0 h 108"/>
                    </a:gdLst>
                    <a:ahLst/>
                    <a:cxnLst>
                      <a:cxn ang="0">
                        <a:pos x="T0" y="T1"/>
                      </a:cxn>
                      <a:cxn ang="0">
                        <a:pos x="T2" y="T3"/>
                      </a:cxn>
                      <a:cxn ang="0">
                        <a:pos x="T4" y="T5"/>
                      </a:cxn>
                      <a:cxn ang="0">
                        <a:pos x="T6" y="T7"/>
                      </a:cxn>
                      <a:cxn ang="0">
                        <a:pos x="T8" y="T9"/>
                      </a:cxn>
                    </a:cxnLst>
                    <a:rect l="0" t="0" r="r" b="b"/>
                    <a:pathLst>
                      <a:path w="154" h="108">
                        <a:moveTo>
                          <a:pt x="108" y="0"/>
                        </a:moveTo>
                        <a:lnTo>
                          <a:pt x="0" y="0"/>
                        </a:lnTo>
                        <a:lnTo>
                          <a:pt x="44" y="108"/>
                        </a:lnTo>
                        <a:lnTo>
                          <a:pt x="154"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1" name="Freeform 138"/>
                  <p:cNvSpPr/>
                  <p:nvPr/>
                </p:nvSpPr>
                <p:spPr bwMode="auto">
                  <a:xfrm>
                    <a:off x="3229" y="4072"/>
                    <a:ext cx="160" cy="108"/>
                  </a:xfrm>
                  <a:custGeom>
                    <a:avLst/>
                    <a:gdLst>
                      <a:gd name="T0" fmla="*/ 108 w 160"/>
                      <a:gd name="T1" fmla="*/ 0 h 108"/>
                      <a:gd name="T2" fmla="*/ 0 w 160"/>
                      <a:gd name="T3" fmla="*/ 0 h 108"/>
                      <a:gd name="T4" fmla="*/ 48 w 160"/>
                      <a:gd name="T5" fmla="*/ 108 h 108"/>
                      <a:gd name="T6" fmla="*/ 160 w 160"/>
                      <a:gd name="T7" fmla="*/ 108 h 108"/>
                      <a:gd name="T8" fmla="*/ 108 w 160"/>
                      <a:gd name="T9" fmla="*/ 0 h 108"/>
                    </a:gdLst>
                    <a:ahLst/>
                    <a:cxnLst>
                      <a:cxn ang="0">
                        <a:pos x="T0" y="T1"/>
                      </a:cxn>
                      <a:cxn ang="0">
                        <a:pos x="T2" y="T3"/>
                      </a:cxn>
                      <a:cxn ang="0">
                        <a:pos x="T4" y="T5"/>
                      </a:cxn>
                      <a:cxn ang="0">
                        <a:pos x="T6" y="T7"/>
                      </a:cxn>
                      <a:cxn ang="0">
                        <a:pos x="T8" y="T9"/>
                      </a:cxn>
                    </a:cxnLst>
                    <a:rect l="0" t="0" r="r" b="b"/>
                    <a:pathLst>
                      <a:path w="160" h="108">
                        <a:moveTo>
                          <a:pt x="108" y="0"/>
                        </a:moveTo>
                        <a:lnTo>
                          <a:pt x="0" y="0"/>
                        </a:lnTo>
                        <a:lnTo>
                          <a:pt x="48" y="108"/>
                        </a:lnTo>
                        <a:lnTo>
                          <a:pt x="160" y="108"/>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2" name="Freeform 139"/>
                  <p:cNvSpPr/>
                  <p:nvPr/>
                </p:nvSpPr>
                <p:spPr bwMode="auto">
                  <a:xfrm>
                    <a:off x="3229" y="4072"/>
                    <a:ext cx="160" cy="108"/>
                  </a:xfrm>
                  <a:custGeom>
                    <a:avLst/>
                    <a:gdLst>
                      <a:gd name="T0" fmla="*/ 108 w 160"/>
                      <a:gd name="T1" fmla="*/ 0 h 108"/>
                      <a:gd name="T2" fmla="*/ 0 w 160"/>
                      <a:gd name="T3" fmla="*/ 0 h 108"/>
                      <a:gd name="T4" fmla="*/ 48 w 160"/>
                      <a:gd name="T5" fmla="*/ 108 h 108"/>
                      <a:gd name="T6" fmla="*/ 160 w 160"/>
                      <a:gd name="T7" fmla="*/ 108 h 108"/>
                      <a:gd name="T8" fmla="*/ 108 w 160"/>
                      <a:gd name="T9" fmla="*/ 0 h 108"/>
                    </a:gdLst>
                    <a:ahLst/>
                    <a:cxnLst>
                      <a:cxn ang="0">
                        <a:pos x="T0" y="T1"/>
                      </a:cxn>
                      <a:cxn ang="0">
                        <a:pos x="T2" y="T3"/>
                      </a:cxn>
                      <a:cxn ang="0">
                        <a:pos x="T4" y="T5"/>
                      </a:cxn>
                      <a:cxn ang="0">
                        <a:pos x="T6" y="T7"/>
                      </a:cxn>
                      <a:cxn ang="0">
                        <a:pos x="T8" y="T9"/>
                      </a:cxn>
                    </a:cxnLst>
                    <a:rect l="0" t="0" r="r" b="b"/>
                    <a:pathLst>
                      <a:path w="160" h="108">
                        <a:moveTo>
                          <a:pt x="108" y="0"/>
                        </a:moveTo>
                        <a:lnTo>
                          <a:pt x="0" y="0"/>
                        </a:lnTo>
                        <a:lnTo>
                          <a:pt x="48" y="108"/>
                        </a:lnTo>
                        <a:lnTo>
                          <a:pt x="160" y="108"/>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3" name="Freeform 140"/>
                  <p:cNvSpPr/>
                  <p:nvPr/>
                </p:nvSpPr>
                <p:spPr bwMode="auto">
                  <a:xfrm>
                    <a:off x="3359" y="4072"/>
                    <a:ext cx="236" cy="250"/>
                  </a:xfrm>
                  <a:custGeom>
                    <a:avLst/>
                    <a:gdLst>
                      <a:gd name="T0" fmla="*/ 108 w 236"/>
                      <a:gd name="T1" fmla="*/ 0 h 250"/>
                      <a:gd name="T2" fmla="*/ 0 w 236"/>
                      <a:gd name="T3" fmla="*/ 0 h 250"/>
                      <a:gd name="T4" fmla="*/ 120 w 236"/>
                      <a:gd name="T5" fmla="*/ 250 h 250"/>
                      <a:gd name="T6" fmla="*/ 236 w 236"/>
                      <a:gd name="T7" fmla="*/ 250 h 250"/>
                      <a:gd name="T8" fmla="*/ 108 w 236"/>
                      <a:gd name="T9" fmla="*/ 0 h 250"/>
                    </a:gdLst>
                    <a:ahLst/>
                    <a:cxnLst>
                      <a:cxn ang="0">
                        <a:pos x="T0" y="T1"/>
                      </a:cxn>
                      <a:cxn ang="0">
                        <a:pos x="T2" y="T3"/>
                      </a:cxn>
                      <a:cxn ang="0">
                        <a:pos x="T4" y="T5"/>
                      </a:cxn>
                      <a:cxn ang="0">
                        <a:pos x="T6" y="T7"/>
                      </a:cxn>
                      <a:cxn ang="0">
                        <a:pos x="T8" y="T9"/>
                      </a:cxn>
                    </a:cxnLst>
                    <a:rect l="0" t="0" r="r" b="b"/>
                    <a:pathLst>
                      <a:path w="236" h="250">
                        <a:moveTo>
                          <a:pt x="108" y="0"/>
                        </a:moveTo>
                        <a:lnTo>
                          <a:pt x="0" y="0"/>
                        </a:lnTo>
                        <a:lnTo>
                          <a:pt x="120" y="250"/>
                        </a:lnTo>
                        <a:lnTo>
                          <a:pt x="236" y="250"/>
                        </a:lnTo>
                        <a:lnTo>
                          <a:pt x="10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4" name="Freeform 141"/>
                  <p:cNvSpPr/>
                  <p:nvPr/>
                </p:nvSpPr>
                <p:spPr bwMode="auto">
                  <a:xfrm>
                    <a:off x="3359" y="4072"/>
                    <a:ext cx="236" cy="250"/>
                  </a:xfrm>
                  <a:custGeom>
                    <a:avLst/>
                    <a:gdLst>
                      <a:gd name="T0" fmla="*/ 108 w 236"/>
                      <a:gd name="T1" fmla="*/ 0 h 250"/>
                      <a:gd name="T2" fmla="*/ 0 w 236"/>
                      <a:gd name="T3" fmla="*/ 0 h 250"/>
                      <a:gd name="T4" fmla="*/ 120 w 236"/>
                      <a:gd name="T5" fmla="*/ 250 h 250"/>
                      <a:gd name="T6" fmla="*/ 236 w 236"/>
                      <a:gd name="T7" fmla="*/ 250 h 250"/>
                      <a:gd name="T8" fmla="*/ 108 w 236"/>
                      <a:gd name="T9" fmla="*/ 0 h 250"/>
                    </a:gdLst>
                    <a:ahLst/>
                    <a:cxnLst>
                      <a:cxn ang="0">
                        <a:pos x="T0" y="T1"/>
                      </a:cxn>
                      <a:cxn ang="0">
                        <a:pos x="T2" y="T3"/>
                      </a:cxn>
                      <a:cxn ang="0">
                        <a:pos x="T4" y="T5"/>
                      </a:cxn>
                      <a:cxn ang="0">
                        <a:pos x="T6" y="T7"/>
                      </a:cxn>
                      <a:cxn ang="0">
                        <a:pos x="T8" y="T9"/>
                      </a:cxn>
                    </a:cxnLst>
                    <a:rect l="0" t="0" r="r" b="b"/>
                    <a:pathLst>
                      <a:path w="236" h="250">
                        <a:moveTo>
                          <a:pt x="108" y="0"/>
                        </a:moveTo>
                        <a:lnTo>
                          <a:pt x="0" y="0"/>
                        </a:lnTo>
                        <a:lnTo>
                          <a:pt x="120" y="250"/>
                        </a:lnTo>
                        <a:lnTo>
                          <a:pt x="236" y="250"/>
                        </a:lnTo>
                        <a:lnTo>
                          <a:pt x="1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5" name="Freeform 142"/>
                  <p:cNvSpPr/>
                  <p:nvPr/>
                </p:nvSpPr>
                <p:spPr bwMode="auto">
                  <a:xfrm>
                    <a:off x="424" y="4222"/>
                    <a:ext cx="152" cy="108"/>
                  </a:xfrm>
                  <a:custGeom>
                    <a:avLst/>
                    <a:gdLst>
                      <a:gd name="T0" fmla="*/ 152 w 152"/>
                      <a:gd name="T1" fmla="*/ 0 h 108"/>
                      <a:gd name="T2" fmla="*/ 38 w 152"/>
                      <a:gd name="T3" fmla="*/ 0 h 108"/>
                      <a:gd name="T4" fmla="*/ 0 w 152"/>
                      <a:gd name="T5" fmla="*/ 108 h 108"/>
                      <a:gd name="T6" fmla="*/ 114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38" y="0"/>
                        </a:lnTo>
                        <a:lnTo>
                          <a:pt x="0" y="108"/>
                        </a:lnTo>
                        <a:lnTo>
                          <a:pt x="114" y="108"/>
                        </a:lnTo>
                        <a:lnTo>
                          <a:pt x="15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6" name="Freeform 143"/>
                  <p:cNvSpPr/>
                  <p:nvPr/>
                </p:nvSpPr>
                <p:spPr bwMode="auto">
                  <a:xfrm>
                    <a:off x="424" y="4222"/>
                    <a:ext cx="152" cy="108"/>
                  </a:xfrm>
                  <a:custGeom>
                    <a:avLst/>
                    <a:gdLst>
                      <a:gd name="T0" fmla="*/ 152 w 152"/>
                      <a:gd name="T1" fmla="*/ 0 h 108"/>
                      <a:gd name="T2" fmla="*/ 38 w 152"/>
                      <a:gd name="T3" fmla="*/ 0 h 108"/>
                      <a:gd name="T4" fmla="*/ 0 w 152"/>
                      <a:gd name="T5" fmla="*/ 108 h 108"/>
                      <a:gd name="T6" fmla="*/ 114 w 152"/>
                      <a:gd name="T7" fmla="*/ 108 h 108"/>
                      <a:gd name="T8" fmla="*/ 152 w 152"/>
                      <a:gd name="T9" fmla="*/ 0 h 108"/>
                    </a:gdLst>
                    <a:ahLst/>
                    <a:cxnLst>
                      <a:cxn ang="0">
                        <a:pos x="T0" y="T1"/>
                      </a:cxn>
                      <a:cxn ang="0">
                        <a:pos x="T2" y="T3"/>
                      </a:cxn>
                      <a:cxn ang="0">
                        <a:pos x="T4" y="T5"/>
                      </a:cxn>
                      <a:cxn ang="0">
                        <a:pos x="T6" y="T7"/>
                      </a:cxn>
                      <a:cxn ang="0">
                        <a:pos x="T8" y="T9"/>
                      </a:cxn>
                    </a:cxnLst>
                    <a:rect l="0" t="0" r="r" b="b"/>
                    <a:pathLst>
                      <a:path w="152" h="108">
                        <a:moveTo>
                          <a:pt x="152" y="0"/>
                        </a:moveTo>
                        <a:lnTo>
                          <a:pt x="38" y="0"/>
                        </a:lnTo>
                        <a:lnTo>
                          <a:pt x="0" y="108"/>
                        </a:lnTo>
                        <a:lnTo>
                          <a:pt x="114" y="10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7" name="Freeform 144"/>
                  <p:cNvSpPr/>
                  <p:nvPr/>
                </p:nvSpPr>
                <p:spPr bwMode="auto">
                  <a:xfrm>
                    <a:off x="562" y="4222"/>
                    <a:ext cx="148" cy="108"/>
                  </a:xfrm>
                  <a:custGeom>
                    <a:avLst/>
                    <a:gdLst>
                      <a:gd name="T0" fmla="*/ 148 w 148"/>
                      <a:gd name="T1" fmla="*/ 0 h 108"/>
                      <a:gd name="T2" fmla="*/ 36 w 148"/>
                      <a:gd name="T3" fmla="*/ 0 h 108"/>
                      <a:gd name="T4" fmla="*/ 0 w 148"/>
                      <a:gd name="T5" fmla="*/ 108 h 108"/>
                      <a:gd name="T6" fmla="*/ 116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36" y="0"/>
                        </a:lnTo>
                        <a:lnTo>
                          <a:pt x="0" y="108"/>
                        </a:lnTo>
                        <a:lnTo>
                          <a:pt x="116" y="108"/>
                        </a:lnTo>
                        <a:lnTo>
                          <a:pt x="14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8" name="Freeform 145"/>
                  <p:cNvSpPr/>
                  <p:nvPr/>
                </p:nvSpPr>
                <p:spPr bwMode="auto">
                  <a:xfrm>
                    <a:off x="562" y="4222"/>
                    <a:ext cx="148" cy="108"/>
                  </a:xfrm>
                  <a:custGeom>
                    <a:avLst/>
                    <a:gdLst>
                      <a:gd name="T0" fmla="*/ 148 w 148"/>
                      <a:gd name="T1" fmla="*/ 0 h 108"/>
                      <a:gd name="T2" fmla="*/ 36 w 148"/>
                      <a:gd name="T3" fmla="*/ 0 h 108"/>
                      <a:gd name="T4" fmla="*/ 0 w 148"/>
                      <a:gd name="T5" fmla="*/ 108 h 108"/>
                      <a:gd name="T6" fmla="*/ 116 w 148"/>
                      <a:gd name="T7" fmla="*/ 108 h 108"/>
                      <a:gd name="T8" fmla="*/ 148 w 148"/>
                      <a:gd name="T9" fmla="*/ 0 h 108"/>
                    </a:gdLst>
                    <a:ahLst/>
                    <a:cxnLst>
                      <a:cxn ang="0">
                        <a:pos x="T0" y="T1"/>
                      </a:cxn>
                      <a:cxn ang="0">
                        <a:pos x="T2" y="T3"/>
                      </a:cxn>
                      <a:cxn ang="0">
                        <a:pos x="T4" y="T5"/>
                      </a:cxn>
                      <a:cxn ang="0">
                        <a:pos x="T6" y="T7"/>
                      </a:cxn>
                      <a:cxn ang="0">
                        <a:pos x="T8" y="T9"/>
                      </a:cxn>
                    </a:cxnLst>
                    <a:rect l="0" t="0" r="r" b="b"/>
                    <a:pathLst>
                      <a:path w="148" h="108">
                        <a:moveTo>
                          <a:pt x="148" y="0"/>
                        </a:moveTo>
                        <a:lnTo>
                          <a:pt x="36" y="0"/>
                        </a:lnTo>
                        <a:lnTo>
                          <a:pt x="0" y="108"/>
                        </a:lnTo>
                        <a:lnTo>
                          <a:pt x="116" y="108"/>
                        </a:lnTo>
                        <a:lnTo>
                          <a:pt x="1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09" name="Freeform 146"/>
                  <p:cNvSpPr/>
                  <p:nvPr/>
                </p:nvSpPr>
                <p:spPr bwMode="auto">
                  <a:xfrm>
                    <a:off x="702" y="4222"/>
                    <a:ext cx="144" cy="108"/>
                  </a:xfrm>
                  <a:custGeom>
                    <a:avLst/>
                    <a:gdLst>
                      <a:gd name="T0" fmla="*/ 144 w 144"/>
                      <a:gd name="T1" fmla="*/ 0 h 108"/>
                      <a:gd name="T2" fmla="*/ 30 w 144"/>
                      <a:gd name="T3" fmla="*/ 0 h 108"/>
                      <a:gd name="T4" fmla="*/ 0 w 144"/>
                      <a:gd name="T5" fmla="*/ 108 h 108"/>
                      <a:gd name="T6" fmla="*/ 116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30" y="0"/>
                        </a:lnTo>
                        <a:lnTo>
                          <a:pt x="0" y="108"/>
                        </a:lnTo>
                        <a:lnTo>
                          <a:pt x="116" y="108"/>
                        </a:lnTo>
                        <a:lnTo>
                          <a:pt x="14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0" name="Freeform 147"/>
                  <p:cNvSpPr/>
                  <p:nvPr/>
                </p:nvSpPr>
                <p:spPr bwMode="auto">
                  <a:xfrm>
                    <a:off x="702" y="4222"/>
                    <a:ext cx="144" cy="108"/>
                  </a:xfrm>
                  <a:custGeom>
                    <a:avLst/>
                    <a:gdLst>
                      <a:gd name="T0" fmla="*/ 144 w 144"/>
                      <a:gd name="T1" fmla="*/ 0 h 108"/>
                      <a:gd name="T2" fmla="*/ 30 w 144"/>
                      <a:gd name="T3" fmla="*/ 0 h 108"/>
                      <a:gd name="T4" fmla="*/ 0 w 144"/>
                      <a:gd name="T5" fmla="*/ 108 h 108"/>
                      <a:gd name="T6" fmla="*/ 116 w 144"/>
                      <a:gd name="T7" fmla="*/ 108 h 108"/>
                      <a:gd name="T8" fmla="*/ 144 w 144"/>
                      <a:gd name="T9" fmla="*/ 0 h 108"/>
                    </a:gdLst>
                    <a:ahLst/>
                    <a:cxnLst>
                      <a:cxn ang="0">
                        <a:pos x="T0" y="T1"/>
                      </a:cxn>
                      <a:cxn ang="0">
                        <a:pos x="T2" y="T3"/>
                      </a:cxn>
                      <a:cxn ang="0">
                        <a:pos x="T4" y="T5"/>
                      </a:cxn>
                      <a:cxn ang="0">
                        <a:pos x="T6" y="T7"/>
                      </a:cxn>
                      <a:cxn ang="0">
                        <a:pos x="T8" y="T9"/>
                      </a:cxn>
                    </a:cxnLst>
                    <a:rect l="0" t="0" r="r" b="b"/>
                    <a:pathLst>
                      <a:path w="144" h="108">
                        <a:moveTo>
                          <a:pt x="144" y="0"/>
                        </a:moveTo>
                        <a:lnTo>
                          <a:pt x="30" y="0"/>
                        </a:lnTo>
                        <a:lnTo>
                          <a:pt x="0" y="108"/>
                        </a:lnTo>
                        <a:lnTo>
                          <a:pt x="116" y="108"/>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1" name="Freeform 148"/>
                  <p:cNvSpPr/>
                  <p:nvPr/>
                </p:nvSpPr>
                <p:spPr bwMode="auto">
                  <a:xfrm>
                    <a:off x="840" y="4222"/>
                    <a:ext cx="140" cy="108"/>
                  </a:xfrm>
                  <a:custGeom>
                    <a:avLst/>
                    <a:gdLst>
                      <a:gd name="T0" fmla="*/ 140 w 140"/>
                      <a:gd name="T1" fmla="*/ 0 h 108"/>
                      <a:gd name="T2" fmla="*/ 28 w 140"/>
                      <a:gd name="T3" fmla="*/ 0 h 108"/>
                      <a:gd name="T4" fmla="*/ 0 w 140"/>
                      <a:gd name="T5" fmla="*/ 108 h 108"/>
                      <a:gd name="T6" fmla="*/ 116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28" y="0"/>
                        </a:lnTo>
                        <a:lnTo>
                          <a:pt x="0" y="108"/>
                        </a:lnTo>
                        <a:lnTo>
                          <a:pt x="116" y="108"/>
                        </a:lnTo>
                        <a:lnTo>
                          <a:pt x="140"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2" name="Freeform 149"/>
                  <p:cNvSpPr/>
                  <p:nvPr/>
                </p:nvSpPr>
                <p:spPr bwMode="auto">
                  <a:xfrm>
                    <a:off x="840" y="4222"/>
                    <a:ext cx="140" cy="108"/>
                  </a:xfrm>
                  <a:custGeom>
                    <a:avLst/>
                    <a:gdLst>
                      <a:gd name="T0" fmla="*/ 140 w 140"/>
                      <a:gd name="T1" fmla="*/ 0 h 108"/>
                      <a:gd name="T2" fmla="*/ 28 w 140"/>
                      <a:gd name="T3" fmla="*/ 0 h 108"/>
                      <a:gd name="T4" fmla="*/ 0 w 140"/>
                      <a:gd name="T5" fmla="*/ 108 h 108"/>
                      <a:gd name="T6" fmla="*/ 116 w 140"/>
                      <a:gd name="T7" fmla="*/ 108 h 108"/>
                      <a:gd name="T8" fmla="*/ 140 w 140"/>
                      <a:gd name="T9" fmla="*/ 0 h 108"/>
                    </a:gdLst>
                    <a:ahLst/>
                    <a:cxnLst>
                      <a:cxn ang="0">
                        <a:pos x="T0" y="T1"/>
                      </a:cxn>
                      <a:cxn ang="0">
                        <a:pos x="T2" y="T3"/>
                      </a:cxn>
                      <a:cxn ang="0">
                        <a:pos x="T4" y="T5"/>
                      </a:cxn>
                      <a:cxn ang="0">
                        <a:pos x="T6" y="T7"/>
                      </a:cxn>
                      <a:cxn ang="0">
                        <a:pos x="T8" y="T9"/>
                      </a:cxn>
                    </a:cxnLst>
                    <a:rect l="0" t="0" r="r" b="b"/>
                    <a:pathLst>
                      <a:path w="140" h="108">
                        <a:moveTo>
                          <a:pt x="140" y="0"/>
                        </a:moveTo>
                        <a:lnTo>
                          <a:pt x="28" y="0"/>
                        </a:lnTo>
                        <a:lnTo>
                          <a:pt x="0" y="108"/>
                        </a:lnTo>
                        <a:lnTo>
                          <a:pt x="116" y="108"/>
                        </a:lnTo>
                        <a:lnTo>
                          <a:pt x="1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3" name="Freeform 150"/>
                  <p:cNvSpPr/>
                  <p:nvPr/>
                </p:nvSpPr>
                <p:spPr bwMode="auto">
                  <a:xfrm>
                    <a:off x="980" y="4222"/>
                    <a:ext cx="134" cy="108"/>
                  </a:xfrm>
                  <a:custGeom>
                    <a:avLst/>
                    <a:gdLst>
                      <a:gd name="T0" fmla="*/ 134 w 134"/>
                      <a:gd name="T1" fmla="*/ 0 h 108"/>
                      <a:gd name="T2" fmla="*/ 22 w 134"/>
                      <a:gd name="T3" fmla="*/ 0 h 108"/>
                      <a:gd name="T4" fmla="*/ 0 w 134"/>
                      <a:gd name="T5" fmla="*/ 108 h 108"/>
                      <a:gd name="T6" fmla="*/ 116 w 134"/>
                      <a:gd name="T7" fmla="*/ 108 h 108"/>
                      <a:gd name="T8" fmla="*/ 134 w 134"/>
                      <a:gd name="T9" fmla="*/ 0 h 108"/>
                    </a:gdLst>
                    <a:ahLst/>
                    <a:cxnLst>
                      <a:cxn ang="0">
                        <a:pos x="T0" y="T1"/>
                      </a:cxn>
                      <a:cxn ang="0">
                        <a:pos x="T2" y="T3"/>
                      </a:cxn>
                      <a:cxn ang="0">
                        <a:pos x="T4" y="T5"/>
                      </a:cxn>
                      <a:cxn ang="0">
                        <a:pos x="T6" y="T7"/>
                      </a:cxn>
                      <a:cxn ang="0">
                        <a:pos x="T8" y="T9"/>
                      </a:cxn>
                    </a:cxnLst>
                    <a:rect l="0" t="0" r="r" b="b"/>
                    <a:pathLst>
                      <a:path w="134" h="108">
                        <a:moveTo>
                          <a:pt x="134" y="0"/>
                        </a:moveTo>
                        <a:lnTo>
                          <a:pt x="22" y="0"/>
                        </a:lnTo>
                        <a:lnTo>
                          <a:pt x="0" y="108"/>
                        </a:lnTo>
                        <a:lnTo>
                          <a:pt x="116" y="108"/>
                        </a:lnTo>
                        <a:lnTo>
                          <a:pt x="13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4" name="Freeform 151"/>
                  <p:cNvSpPr/>
                  <p:nvPr/>
                </p:nvSpPr>
                <p:spPr bwMode="auto">
                  <a:xfrm>
                    <a:off x="980" y="4222"/>
                    <a:ext cx="134" cy="108"/>
                  </a:xfrm>
                  <a:custGeom>
                    <a:avLst/>
                    <a:gdLst>
                      <a:gd name="T0" fmla="*/ 134 w 134"/>
                      <a:gd name="T1" fmla="*/ 0 h 108"/>
                      <a:gd name="T2" fmla="*/ 22 w 134"/>
                      <a:gd name="T3" fmla="*/ 0 h 108"/>
                      <a:gd name="T4" fmla="*/ 0 w 134"/>
                      <a:gd name="T5" fmla="*/ 108 h 108"/>
                      <a:gd name="T6" fmla="*/ 116 w 134"/>
                      <a:gd name="T7" fmla="*/ 108 h 108"/>
                      <a:gd name="T8" fmla="*/ 134 w 134"/>
                      <a:gd name="T9" fmla="*/ 0 h 108"/>
                    </a:gdLst>
                    <a:ahLst/>
                    <a:cxnLst>
                      <a:cxn ang="0">
                        <a:pos x="T0" y="T1"/>
                      </a:cxn>
                      <a:cxn ang="0">
                        <a:pos x="T2" y="T3"/>
                      </a:cxn>
                      <a:cxn ang="0">
                        <a:pos x="T4" y="T5"/>
                      </a:cxn>
                      <a:cxn ang="0">
                        <a:pos x="T6" y="T7"/>
                      </a:cxn>
                      <a:cxn ang="0">
                        <a:pos x="T8" y="T9"/>
                      </a:cxn>
                    </a:cxnLst>
                    <a:rect l="0" t="0" r="r" b="b"/>
                    <a:pathLst>
                      <a:path w="134" h="108">
                        <a:moveTo>
                          <a:pt x="134" y="0"/>
                        </a:moveTo>
                        <a:lnTo>
                          <a:pt x="22" y="0"/>
                        </a:lnTo>
                        <a:lnTo>
                          <a:pt x="0" y="108"/>
                        </a:lnTo>
                        <a:lnTo>
                          <a:pt x="116" y="108"/>
                        </a:lnTo>
                        <a:lnTo>
                          <a:pt x="1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5" name="Freeform 152"/>
                  <p:cNvSpPr/>
                  <p:nvPr/>
                </p:nvSpPr>
                <p:spPr bwMode="auto">
                  <a:xfrm>
                    <a:off x="1118" y="4222"/>
                    <a:ext cx="132" cy="108"/>
                  </a:xfrm>
                  <a:custGeom>
                    <a:avLst/>
                    <a:gdLst>
                      <a:gd name="T0" fmla="*/ 132 w 132"/>
                      <a:gd name="T1" fmla="*/ 0 h 108"/>
                      <a:gd name="T2" fmla="*/ 20 w 132"/>
                      <a:gd name="T3" fmla="*/ 0 h 108"/>
                      <a:gd name="T4" fmla="*/ 0 w 132"/>
                      <a:gd name="T5" fmla="*/ 108 h 108"/>
                      <a:gd name="T6" fmla="*/ 116 w 132"/>
                      <a:gd name="T7" fmla="*/ 108 h 108"/>
                      <a:gd name="T8" fmla="*/ 132 w 132"/>
                      <a:gd name="T9" fmla="*/ 0 h 108"/>
                    </a:gdLst>
                    <a:ahLst/>
                    <a:cxnLst>
                      <a:cxn ang="0">
                        <a:pos x="T0" y="T1"/>
                      </a:cxn>
                      <a:cxn ang="0">
                        <a:pos x="T2" y="T3"/>
                      </a:cxn>
                      <a:cxn ang="0">
                        <a:pos x="T4" y="T5"/>
                      </a:cxn>
                      <a:cxn ang="0">
                        <a:pos x="T6" y="T7"/>
                      </a:cxn>
                      <a:cxn ang="0">
                        <a:pos x="T8" y="T9"/>
                      </a:cxn>
                    </a:cxnLst>
                    <a:rect l="0" t="0" r="r" b="b"/>
                    <a:pathLst>
                      <a:path w="132" h="108">
                        <a:moveTo>
                          <a:pt x="132" y="0"/>
                        </a:moveTo>
                        <a:lnTo>
                          <a:pt x="20" y="0"/>
                        </a:lnTo>
                        <a:lnTo>
                          <a:pt x="0" y="108"/>
                        </a:lnTo>
                        <a:lnTo>
                          <a:pt x="116" y="108"/>
                        </a:lnTo>
                        <a:lnTo>
                          <a:pt x="13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6" name="Freeform 153"/>
                  <p:cNvSpPr/>
                  <p:nvPr/>
                </p:nvSpPr>
                <p:spPr bwMode="auto">
                  <a:xfrm>
                    <a:off x="1118" y="4222"/>
                    <a:ext cx="132" cy="108"/>
                  </a:xfrm>
                  <a:custGeom>
                    <a:avLst/>
                    <a:gdLst>
                      <a:gd name="T0" fmla="*/ 132 w 132"/>
                      <a:gd name="T1" fmla="*/ 0 h 108"/>
                      <a:gd name="T2" fmla="*/ 20 w 132"/>
                      <a:gd name="T3" fmla="*/ 0 h 108"/>
                      <a:gd name="T4" fmla="*/ 0 w 132"/>
                      <a:gd name="T5" fmla="*/ 108 h 108"/>
                      <a:gd name="T6" fmla="*/ 116 w 132"/>
                      <a:gd name="T7" fmla="*/ 108 h 108"/>
                      <a:gd name="T8" fmla="*/ 132 w 132"/>
                      <a:gd name="T9" fmla="*/ 0 h 108"/>
                    </a:gdLst>
                    <a:ahLst/>
                    <a:cxnLst>
                      <a:cxn ang="0">
                        <a:pos x="T0" y="T1"/>
                      </a:cxn>
                      <a:cxn ang="0">
                        <a:pos x="T2" y="T3"/>
                      </a:cxn>
                      <a:cxn ang="0">
                        <a:pos x="T4" y="T5"/>
                      </a:cxn>
                      <a:cxn ang="0">
                        <a:pos x="T6" y="T7"/>
                      </a:cxn>
                      <a:cxn ang="0">
                        <a:pos x="T8" y="T9"/>
                      </a:cxn>
                    </a:cxnLst>
                    <a:rect l="0" t="0" r="r" b="b"/>
                    <a:pathLst>
                      <a:path w="132" h="108">
                        <a:moveTo>
                          <a:pt x="132" y="0"/>
                        </a:moveTo>
                        <a:lnTo>
                          <a:pt x="20" y="0"/>
                        </a:lnTo>
                        <a:lnTo>
                          <a:pt x="0" y="108"/>
                        </a:lnTo>
                        <a:lnTo>
                          <a:pt x="116" y="108"/>
                        </a:lnTo>
                        <a:lnTo>
                          <a:pt x="1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7" name="Freeform 154"/>
                  <p:cNvSpPr/>
                  <p:nvPr/>
                </p:nvSpPr>
                <p:spPr bwMode="auto">
                  <a:xfrm>
                    <a:off x="1258" y="4222"/>
                    <a:ext cx="126" cy="108"/>
                  </a:xfrm>
                  <a:custGeom>
                    <a:avLst/>
                    <a:gdLst>
                      <a:gd name="T0" fmla="*/ 126 w 126"/>
                      <a:gd name="T1" fmla="*/ 0 h 108"/>
                      <a:gd name="T2" fmla="*/ 14 w 126"/>
                      <a:gd name="T3" fmla="*/ 0 h 108"/>
                      <a:gd name="T4" fmla="*/ 0 w 126"/>
                      <a:gd name="T5" fmla="*/ 108 h 108"/>
                      <a:gd name="T6" fmla="*/ 116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14" y="0"/>
                        </a:lnTo>
                        <a:lnTo>
                          <a:pt x="0" y="108"/>
                        </a:lnTo>
                        <a:lnTo>
                          <a:pt x="116" y="108"/>
                        </a:lnTo>
                        <a:lnTo>
                          <a:pt x="12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8" name="Freeform 155"/>
                  <p:cNvSpPr/>
                  <p:nvPr/>
                </p:nvSpPr>
                <p:spPr bwMode="auto">
                  <a:xfrm>
                    <a:off x="1258" y="4222"/>
                    <a:ext cx="126" cy="108"/>
                  </a:xfrm>
                  <a:custGeom>
                    <a:avLst/>
                    <a:gdLst>
                      <a:gd name="T0" fmla="*/ 126 w 126"/>
                      <a:gd name="T1" fmla="*/ 0 h 108"/>
                      <a:gd name="T2" fmla="*/ 14 w 126"/>
                      <a:gd name="T3" fmla="*/ 0 h 108"/>
                      <a:gd name="T4" fmla="*/ 0 w 126"/>
                      <a:gd name="T5" fmla="*/ 108 h 108"/>
                      <a:gd name="T6" fmla="*/ 116 w 126"/>
                      <a:gd name="T7" fmla="*/ 108 h 108"/>
                      <a:gd name="T8" fmla="*/ 126 w 126"/>
                      <a:gd name="T9" fmla="*/ 0 h 108"/>
                    </a:gdLst>
                    <a:ahLst/>
                    <a:cxnLst>
                      <a:cxn ang="0">
                        <a:pos x="T0" y="T1"/>
                      </a:cxn>
                      <a:cxn ang="0">
                        <a:pos x="T2" y="T3"/>
                      </a:cxn>
                      <a:cxn ang="0">
                        <a:pos x="T4" y="T5"/>
                      </a:cxn>
                      <a:cxn ang="0">
                        <a:pos x="T6" y="T7"/>
                      </a:cxn>
                      <a:cxn ang="0">
                        <a:pos x="T8" y="T9"/>
                      </a:cxn>
                    </a:cxnLst>
                    <a:rect l="0" t="0" r="r" b="b"/>
                    <a:pathLst>
                      <a:path w="126" h="108">
                        <a:moveTo>
                          <a:pt x="126" y="0"/>
                        </a:moveTo>
                        <a:lnTo>
                          <a:pt x="14" y="0"/>
                        </a:lnTo>
                        <a:lnTo>
                          <a:pt x="0" y="108"/>
                        </a:lnTo>
                        <a:lnTo>
                          <a:pt x="116" y="108"/>
                        </a:lnTo>
                        <a:lnTo>
                          <a:pt x="1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19" name="Freeform 156"/>
                  <p:cNvSpPr/>
                  <p:nvPr/>
                </p:nvSpPr>
                <p:spPr bwMode="auto">
                  <a:xfrm>
                    <a:off x="1396" y="4222"/>
                    <a:ext cx="124" cy="108"/>
                  </a:xfrm>
                  <a:custGeom>
                    <a:avLst/>
                    <a:gdLst>
                      <a:gd name="T0" fmla="*/ 124 w 124"/>
                      <a:gd name="T1" fmla="*/ 0 h 108"/>
                      <a:gd name="T2" fmla="*/ 12 w 124"/>
                      <a:gd name="T3" fmla="*/ 0 h 108"/>
                      <a:gd name="T4" fmla="*/ 0 w 124"/>
                      <a:gd name="T5" fmla="*/ 108 h 108"/>
                      <a:gd name="T6" fmla="*/ 116 w 124"/>
                      <a:gd name="T7" fmla="*/ 108 h 108"/>
                      <a:gd name="T8" fmla="*/ 124 w 124"/>
                      <a:gd name="T9" fmla="*/ 0 h 108"/>
                    </a:gdLst>
                    <a:ahLst/>
                    <a:cxnLst>
                      <a:cxn ang="0">
                        <a:pos x="T0" y="T1"/>
                      </a:cxn>
                      <a:cxn ang="0">
                        <a:pos x="T2" y="T3"/>
                      </a:cxn>
                      <a:cxn ang="0">
                        <a:pos x="T4" y="T5"/>
                      </a:cxn>
                      <a:cxn ang="0">
                        <a:pos x="T6" y="T7"/>
                      </a:cxn>
                      <a:cxn ang="0">
                        <a:pos x="T8" y="T9"/>
                      </a:cxn>
                    </a:cxnLst>
                    <a:rect l="0" t="0" r="r" b="b"/>
                    <a:pathLst>
                      <a:path w="124" h="108">
                        <a:moveTo>
                          <a:pt x="124" y="0"/>
                        </a:moveTo>
                        <a:lnTo>
                          <a:pt x="12" y="0"/>
                        </a:lnTo>
                        <a:lnTo>
                          <a:pt x="0" y="108"/>
                        </a:lnTo>
                        <a:lnTo>
                          <a:pt x="116" y="108"/>
                        </a:lnTo>
                        <a:lnTo>
                          <a:pt x="12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0" name="Freeform 157"/>
                  <p:cNvSpPr/>
                  <p:nvPr/>
                </p:nvSpPr>
                <p:spPr bwMode="auto">
                  <a:xfrm>
                    <a:off x="1396" y="4222"/>
                    <a:ext cx="124" cy="108"/>
                  </a:xfrm>
                  <a:custGeom>
                    <a:avLst/>
                    <a:gdLst>
                      <a:gd name="T0" fmla="*/ 124 w 124"/>
                      <a:gd name="T1" fmla="*/ 0 h 108"/>
                      <a:gd name="T2" fmla="*/ 12 w 124"/>
                      <a:gd name="T3" fmla="*/ 0 h 108"/>
                      <a:gd name="T4" fmla="*/ 0 w 124"/>
                      <a:gd name="T5" fmla="*/ 108 h 108"/>
                      <a:gd name="T6" fmla="*/ 116 w 124"/>
                      <a:gd name="T7" fmla="*/ 108 h 108"/>
                      <a:gd name="T8" fmla="*/ 124 w 124"/>
                      <a:gd name="T9" fmla="*/ 0 h 108"/>
                    </a:gdLst>
                    <a:ahLst/>
                    <a:cxnLst>
                      <a:cxn ang="0">
                        <a:pos x="T0" y="T1"/>
                      </a:cxn>
                      <a:cxn ang="0">
                        <a:pos x="T2" y="T3"/>
                      </a:cxn>
                      <a:cxn ang="0">
                        <a:pos x="T4" y="T5"/>
                      </a:cxn>
                      <a:cxn ang="0">
                        <a:pos x="T6" y="T7"/>
                      </a:cxn>
                      <a:cxn ang="0">
                        <a:pos x="T8" y="T9"/>
                      </a:cxn>
                    </a:cxnLst>
                    <a:rect l="0" t="0" r="r" b="b"/>
                    <a:pathLst>
                      <a:path w="124" h="108">
                        <a:moveTo>
                          <a:pt x="124" y="0"/>
                        </a:moveTo>
                        <a:lnTo>
                          <a:pt x="12" y="0"/>
                        </a:lnTo>
                        <a:lnTo>
                          <a:pt x="0" y="108"/>
                        </a:lnTo>
                        <a:lnTo>
                          <a:pt x="116" y="108"/>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1" name="Freeform 158"/>
                  <p:cNvSpPr/>
                  <p:nvPr/>
                </p:nvSpPr>
                <p:spPr bwMode="auto">
                  <a:xfrm>
                    <a:off x="1536" y="4222"/>
                    <a:ext cx="118" cy="108"/>
                  </a:xfrm>
                  <a:custGeom>
                    <a:avLst/>
                    <a:gdLst>
                      <a:gd name="T0" fmla="*/ 118 w 118"/>
                      <a:gd name="T1" fmla="*/ 0 h 108"/>
                      <a:gd name="T2" fmla="*/ 6 w 118"/>
                      <a:gd name="T3" fmla="*/ 0 h 108"/>
                      <a:gd name="T4" fmla="*/ 0 w 118"/>
                      <a:gd name="T5" fmla="*/ 108 h 108"/>
                      <a:gd name="T6" fmla="*/ 116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6" y="0"/>
                        </a:lnTo>
                        <a:lnTo>
                          <a:pt x="0" y="108"/>
                        </a:lnTo>
                        <a:lnTo>
                          <a:pt x="116" y="108"/>
                        </a:lnTo>
                        <a:lnTo>
                          <a:pt x="118"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2" name="Freeform 159"/>
                  <p:cNvSpPr/>
                  <p:nvPr/>
                </p:nvSpPr>
                <p:spPr bwMode="auto">
                  <a:xfrm>
                    <a:off x="1536" y="4222"/>
                    <a:ext cx="118" cy="108"/>
                  </a:xfrm>
                  <a:custGeom>
                    <a:avLst/>
                    <a:gdLst>
                      <a:gd name="T0" fmla="*/ 118 w 118"/>
                      <a:gd name="T1" fmla="*/ 0 h 108"/>
                      <a:gd name="T2" fmla="*/ 6 w 118"/>
                      <a:gd name="T3" fmla="*/ 0 h 108"/>
                      <a:gd name="T4" fmla="*/ 0 w 118"/>
                      <a:gd name="T5" fmla="*/ 108 h 108"/>
                      <a:gd name="T6" fmla="*/ 116 w 118"/>
                      <a:gd name="T7" fmla="*/ 108 h 108"/>
                      <a:gd name="T8" fmla="*/ 118 w 118"/>
                      <a:gd name="T9" fmla="*/ 0 h 108"/>
                    </a:gdLst>
                    <a:ahLst/>
                    <a:cxnLst>
                      <a:cxn ang="0">
                        <a:pos x="T0" y="T1"/>
                      </a:cxn>
                      <a:cxn ang="0">
                        <a:pos x="T2" y="T3"/>
                      </a:cxn>
                      <a:cxn ang="0">
                        <a:pos x="T4" y="T5"/>
                      </a:cxn>
                      <a:cxn ang="0">
                        <a:pos x="T6" y="T7"/>
                      </a:cxn>
                      <a:cxn ang="0">
                        <a:pos x="T8" y="T9"/>
                      </a:cxn>
                    </a:cxnLst>
                    <a:rect l="0" t="0" r="r" b="b"/>
                    <a:pathLst>
                      <a:path w="118" h="108">
                        <a:moveTo>
                          <a:pt x="118" y="0"/>
                        </a:moveTo>
                        <a:lnTo>
                          <a:pt x="6" y="0"/>
                        </a:lnTo>
                        <a:lnTo>
                          <a:pt x="0" y="108"/>
                        </a:lnTo>
                        <a:lnTo>
                          <a:pt x="116" y="108"/>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3" name="Freeform 160"/>
                  <p:cNvSpPr/>
                  <p:nvPr/>
                </p:nvSpPr>
                <p:spPr bwMode="auto">
                  <a:xfrm>
                    <a:off x="1674" y="4222"/>
                    <a:ext cx="116" cy="108"/>
                  </a:xfrm>
                  <a:custGeom>
                    <a:avLst/>
                    <a:gdLst>
                      <a:gd name="T0" fmla="*/ 116 w 116"/>
                      <a:gd name="T1" fmla="*/ 0 h 108"/>
                      <a:gd name="T2" fmla="*/ 2 w 116"/>
                      <a:gd name="T3" fmla="*/ 0 h 108"/>
                      <a:gd name="T4" fmla="*/ 0 w 116"/>
                      <a:gd name="T5" fmla="*/ 108 h 108"/>
                      <a:gd name="T6" fmla="*/ 116 w 116"/>
                      <a:gd name="T7" fmla="*/ 108 h 108"/>
                      <a:gd name="T8" fmla="*/ 116 w 116"/>
                      <a:gd name="T9" fmla="*/ 0 h 108"/>
                    </a:gdLst>
                    <a:ahLst/>
                    <a:cxnLst>
                      <a:cxn ang="0">
                        <a:pos x="T0" y="T1"/>
                      </a:cxn>
                      <a:cxn ang="0">
                        <a:pos x="T2" y="T3"/>
                      </a:cxn>
                      <a:cxn ang="0">
                        <a:pos x="T4" y="T5"/>
                      </a:cxn>
                      <a:cxn ang="0">
                        <a:pos x="T6" y="T7"/>
                      </a:cxn>
                      <a:cxn ang="0">
                        <a:pos x="T8" y="T9"/>
                      </a:cxn>
                    </a:cxnLst>
                    <a:rect l="0" t="0" r="r" b="b"/>
                    <a:pathLst>
                      <a:path w="116" h="108">
                        <a:moveTo>
                          <a:pt x="116" y="0"/>
                        </a:moveTo>
                        <a:lnTo>
                          <a:pt x="2" y="0"/>
                        </a:lnTo>
                        <a:lnTo>
                          <a:pt x="0" y="108"/>
                        </a:lnTo>
                        <a:lnTo>
                          <a:pt x="116" y="108"/>
                        </a:lnTo>
                        <a:lnTo>
                          <a:pt x="116"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4" name="Freeform 161"/>
                  <p:cNvSpPr/>
                  <p:nvPr/>
                </p:nvSpPr>
                <p:spPr bwMode="auto">
                  <a:xfrm>
                    <a:off x="1674" y="4222"/>
                    <a:ext cx="116" cy="108"/>
                  </a:xfrm>
                  <a:custGeom>
                    <a:avLst/>
                    <a:gdLst>
                      <a:gd name="T0" fmla="*/ 116 w 116"/>
                      <a:gd name="T1" fmla="*/ 0 h 108"/>
                      <a:gd name="T2" fmla="*/ 2 w 116"/>
                      <a:gd name="T3" fmla="*/ 0 h 108"/>
                      <a:gd name="T4" fmla="*/ 0 w 116"/>
                      <a:gd name="T5" fmla="*/ 108 h 108"/>
                      <a:gd name="T6" fmla="*/ 116 w 116"/>
                      <a:gd name="T7" fmla="*/ 108 h 108"/>
                      <a:gd name="T8" fmla="*/ 116 w 116"/>
                      <a:gd name="T9" fmla="*/ 0 h 108"/>
                    </a:gdLst>
                    <a:ahLst/>
                    <a:cxnLst>
                      <a:cxn ang="0">
                        <a:pos x="T0" y="T1"/>
                      </a:cxn>
                      <a:cxn ang="0">
                        <a:pos x="T2" y="T3"/>
                      </a:cxn>
                      <a:cxn ang="0">
                        <a:pos x="T4" y="T5"/>
                      </a:cxn>
                      <a:cxn ang="0">
                        <a:pos x="T6" y="T7"/>
                      </a:cxn>
                      <a:cxn ang="0">
                        <a:pos x="T8" y="T9"/>
                      </a:cxn>
                    </a:cxnLst>
                    <a:rect l="0" t="0" r="r" b="b"/>
                    <a:pathLst>
                      <a:path w="116" h="108">
                        <a:moveTo>
                          <a:pt x="116" y="0"/>
                        </a:moveTo>
                        <a:lnTo>
                          <a:pt x="2" y="0"/>
                        </a:lnTo>
                        <a:lnTo>
                          <a:pt x="0" y="108"/>
                        </a:lnTo>
                        <a:lnTo>
                          <a:pt x="116" y="108"/>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5" name="Freeform 162"/>
                  <p:cNvSpPr/>
                  <p:nvPr/>
                </p:nvSpPr>
                <p:spPr bwMode="auto">
                  <a:xfrm>
                    <a:off x="1812" y="4222"/>
                    <a:ext cx="119" cy="108"/>
                  </a:xfrm>
                  <a:custGeom>
                    <a:avLst/>
                    <a:gdLst>
                      <a:gd name="T0" fmla="*/ 113 w 119"/>
                      <a:gd name="T1" fmla="*/ 0 h 108"/>
                      <a:gd name="T2" fmla="*/ 0 w 119"/>
                      <a:gd name="T3" fmla="*/ 0 h 108"/>
                      <a:gd name="T4" fmla="*/ 2 w 119"/>
                      <a:gd name="T5" fmla="*/ 108 h 108"/>
                      <a:gd name="T6" fmla="*/ 119 w 119"/>
                      <a:gd name="T7" fmla="*/ 108 h 108"/>
                      <a:gd name="T8" fmla="*/ 113 w 119"/>
                      <a:gd name="T9" fmla="*/ 0 h 108"/>
                    </a:gdLst>
                    <a:ahLst/>
                    <a:cxnLst>
                      <a:cxn ang="0">
                        <a:pos x="T0" y="T1"/>
                      </a:cxn>
                      <a:cxn ang="0">
                        <a:pos x="T2" y="T3"/>
                      </a:cxn>
                      <a:cxn ang="0">
                        <a:pos x="T4" y="T5"/>
                      </a:cxn>
                      <a:cxn ang="0">
                        <a:pos x="T6" y="T7"/>
                      </a:cxn>
                      <a:cxn ang="0">
                        <a:pos x="T8" y="T9"/>
                      </a:cxn>
                    </a:cxnLst>
                    <a:rect l="0" t="0" r="r" b="b"/>
                    <a:pathLst>
                      <a:path w="119" h="108">
                        <a:moveTo>
                          <a:pt x="113" y="0"/>
                        </a:moveTo>
                        <a:lnTo>
                          <a:pt x="0" y="0"/>
                        </a:lnTo>
                        <a:lnTo>
                          <a:pt x="2" y="108"/>
                        </a:lnTo>
                        <a:lnTo>
                          <a:pt x="119" y="108"/>
                        </a:lnTo>
                        <a:lnTo>
                          <a:pt x="113"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6" name="Freeform 163"/>
                  <p:cNvSpPr/>
                  <p:nvPr/>
                </p:nvSpPr>
                <p:spPr bwMode="auto">
                  <a:xfrm>
                    <a:off x="1812" y="4222"/>
                    <a:ext cx="119" cy="108"/>
                  </a:xfrm>
                  <a:custGeom>
                    <a:avLst/>
                    <a:gdLst>
                      <a:gd name="T0" fmla="*/ 113 w 119"/>
                      <a:gd name="T1" fmla="*/ 0 h 108"/>
                      <a:gd name="T2" fmla="*/ 0 w 119"/>
                      <a:gd name="T3" fmla="*/ 0 h 108"/>
                      <a:gd name="T4" fmla="*/ 2 w 119"/>
                      <a:gd name="T5" fmla="*/ 108 h 108"/>
                      <a:gd name="T6" fmla="*/ 119 w 119"/>
                      <a:gd name="T7" fmla="*/ 108 h 108"/>
                      <a:gd name="T8" fmla="*/ 113 w 119"/>
                      <a:gd name="T9" fmla="*/ 0 h 108"/>
                    </a:gdLst>
                    <a:ahLst/>
                    <a:cxnLst>
                      <a:cxn ang="0">
                        <a:pos x="T0" y="T1"/>
                      </a:cxn>
                      <a:cxn ang="0">
                        <a:pos x="T2" y="T3"/>
                      </a:cxn>
                      <a:cxn ang="0">
                        <a:pos x="T4" y="T5"/>
                      </a:cxn>
                      <a:cxn ang="0">
                        <a:pos x="T6" y="T7"/>
                      </a:cxn>
                      <a:cxn ang="0">
                        <a:pos x="T8" y="T9"/>
                      </a:cxn>
                    </a:cxnLst>
                    <a:rect l="0" t="0" r="r" b="b"/>
                    <a:pathLst>
                      <a:path w="119" h="108">
                        <a:moveTo>
                          <a:pt x="113" y="0"/>
                        </a:moveTo>
                        <a:lnTo>
                          <a:pt x="0" y="0"/>
                        </a:lnTo>
                        <a:lnTo>
                          <a:pt x="2" y="108"/>
                        </a:lnTo>
                        <a:lnTo>
                          <a:pt x="119" y="108"/>
                        </a:lnTo>
                        <a:lnTo>
                          <a:pt x="1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7" name="Freeform 164"/>
                  <p:cNvSpPr/>
                  <p:nvPr/>
                </p:nvSpPr>
                <p:spPr bwMode="auto">
                  <a:xfrm>
                    <a:off x="1947" y="4222"/>
                    <a:ext cx="122" cy="108"/>
                  </a:xfrm>
                  <a:custGeom>
                    <a:avLst/>
                    <a:gdLst>
                      <a:gd name="T0" fmla="*/ 112 w 122"/>
                      <a:gd name="T1" fmla="*/ 0 h 108"/>
                      <a:gd name="T2" fmla="*/ 0 w 122"/>
                      <a:gd name="T3" fmla="*/ 0 h 108"/>
                      <a:gd name="T4" fmla="*/ 6 w 122"/>
                      <a:gd name="T5" fmla="*/ 108 h 108"/>
                      <a:gd name="T6" fmla="*/ 122 w 122"/>
                      <a:gd name="T7" fmla="*/ 108 h 108"/>
                      <a:gd name="T8" fmla="*/ 112 w 122"/>
                      <a:gd name="T9" fmla="*/ 0 h 108"/>
                    </a:gdLst>
                    <a:ahLst/>
                    <a:cxnLst>
                      <a:cxn ang="0">
                        <a:pos x="T0" y="T1"/>
                      </a:cxn>
                      <a:cxn ang="0">
                        <a:pos x="T2" y="T3"/>
                      </a:cxn>
                      <a:cxn ang="0">
                        <a:pos x="T4" y="T5"/>
                      </a:cxn>
                      <a:cxn ang="0">
                        <a:pos x="T6" y="T7"/>
                      </a:cxn>
                      <a:cxn ang="0">
                        <a:pos x="T8" y="T9"/>
                      </a:cxn>
                    </a:cxnLst>
                    <a:rect l="0" t="0" r="r" b="b"/>
                    <a:pathLst>
                      <a:path w="122" h="108">
                        <a:moveTo>
                          <a:pt x="112" y="0"/>
                        </a:moveTo>
                        <a:lnTo>
                          <a:pt x="0" y="0"/>
                        </a:lnTo>
                        <a:lnTo>
                          <a:pt x="6" y="108"/>
                        </a:lnTo>
                        <a:lnTo>
                          <a:pt x="122"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8" name="Freeform 165"/>
                  <p:cNvSpPr/>
                  <p:nvPr/>
                </p:nvSpPr>
                <p:spPr bwMode="auto">
                  <a:xfrm>
                    <a:off x="1947" y="4222"/>
                    <a:ext cx="122" cy="108"/>
                  </a:xfrm>
                  <a:custGeom>
                    <a:avLst/>
                    <a:gdLst>
                      <a:gd name="T0" fmla="*/ 112 w 122"/>
                      <a:gd name="T1" fmla="*/ 0 h 108"/>
                      <a:gd name="T2" fmla="*/ 0 w 122"/>
                      <a:gd name="T3" fmla="*/ 0 h 108"/>
                      <a:gd name="T4" fmla="*/ 6 w 122"/>
                      <a:gd name="T5" fmla="*/ 108 h 108"/>
                      <a:gd name="T6" fmla="*/ 122 w 122"/>
                      <a:gd name="T7" fmla="*/ 108 h 108"/>
                      <a:gd name="T8" fmla="*/ 112 w 122"/>
                      <a:gd name="T9" fmla="*/ 0 h 108"/>
                    </a:gdLst>
                    <a:ahLst/>
                    <a:cxnLst>
                      <a:cxn ang="0">
                        <a:pos x="T0" y="T1"/>
                      </a:cxn>
                      <a:cxn ang="0">
                        <a:pos x="T2" y="T3"/>
                      </a:cxn>
                      <a:cxn ang="0">
                        <a:pos x="T4" y="T5"/>
                      </a:cxn>
                      <a:cxn ang="0">
                        <a:pos x="T6" y="T7"/>
                      </a:cxn>
                      <a:cxn ang="0">
                        <a:pos x="T8" y="T9"/>
                      </a:cxn>
                    </a:cxnLst>
                    <a:rect l="0" t="0" r="r" b="b"/>
                    <a:pathLst>
                      <a:path w="122" h="108">
                        <a:moveTo>
                          <a:pt x="112" y="0"/>
                        </a:moveTo>
                        <a:lnTo>
                          <a:pt x="0" y="0"/>
                        </a:lnTo>
                        <a:lnTo>
                          <a:pt x="6" y="108"/>
                        </a:lnTo>
                        <a:lnTo>
                          <a:pt x="122"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29" name="Freeform 166"/>
                  <p:cNvSpPr/>
                  <p:nvPr/>
                </p:nvSpPr>
                <p:spPr bwMode="auto">
                  <a:xfrm>
                    <a:off x="2083" y="4222"/>
                    <a:ext cx="126" cy="108"/>
                  </a:xfrm>
                  <a:custGeom>
                    <a:avLst/>
                    <a:gdLst>
                      <a:gd name="T0" fmla="*/ 112 w 126"/>
                      <a:gd name="T1" fmla="*/ 0 h 108"/>
                      <a:gd name="T2" fmla="*/ 0 w 126"/>
                      <a:gd name="T3" fmla="*/ 0 h 108"/>
                      <a:gd name="T4" fmla="*/ 10 w 126"/>
                      <a:gd name="T5" fmla="*/ 108 h 108"/>
                      <a:gd name="T6" fmla="*/ 126 w 126"/>
                      <a:gd name="T7" fmla="*/ 108 h 108"/>
                      <a:gd name="T8" fmla="*/ 112 w 126"/>
                      <a:gd name="T9" fmla="*/ 0 h 108"/>
                    </a:gdLst>
                    <a:ahLst/>
                    <a:cxnLst>
                      <a:cxn ang="0">
                        <a:pos x="T0" y="T1"/>
                      </a:cxn>
                      <a:cxn ang="0">
                        <a:pos x="T2" y="T3"/>
                      </a:cxn>
                      <a:cxn ang="0">
                        <a:pos x="T4" y="T5"/>
                      </a:cxn>
                      <a:cxn ang="0">
                        <a:pos x="T6" y="T7"/>
                      </a:cxn>
                      <a:cxn ang="0">
                        <a:pos x="T8" y="T9"/>
                      </a:cxn>
                    </a:cxnLst>
                    <a:rect l="0" t="0" r="r" b="b"/>
                    <a:pathLst>
                      <a:path w="126" h="108">
                        <a:moveTo>
                          <a:pt x="112" y="0"/>
                        </a:moveTo>
                        <a:lnTo>
                          <a:pt x="0" y="0"/>
                        </a:lnTo>
                        <a:lnTo>
                          <a:pt x="10" y="108"/>
                        </a:lnTo>
                        <a:lnTo>
                          <a:pt x="126"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0" name="Freeform 167"/>
                  <p:cNvSpPr/>
                  <p:nvPr/>
                </p:nvSpPr>
                <p:spPr bwMode="auto">
                  <a:xfrm>
                    <a:off x="2083" y="4222"/>
                    <a:ext cx="126" cy="108"/>
                  </a:xfrm>
                  <a:custGeom>
                    <a:avLst/>
                    <a:gdLst>
                      <a:gd name="T0" fmla="*/ 112 w 126"/>
                      <a:gd name="T1" fmla="*/ 0 h 108"/>
                      <a:gd name="T2" fmla="*/ 0 w 126"/>
                      <a:gd name="T3" fmla="*/ 0 h 108"/>
                      <a:gd name="T4" fmla="*/ 10 w 126"/>
                      <a:gd name="T5" fmla="*/ 108 h 108"/>
                      <a:gd name="T6" fmla="*/ 126 w 126"/>
                      <a:gd name="T7" fmla="*/ 108 h 108"/>
                      <a:gd name="T8" fmla="*/ 112 w 126"/>
                      <a:gd name="T9" fmla="*/ 0 h 108"/>
                    </a:gdLst>
                    <a:ahLst/>
                    <a:cxnLst>
                      <a:cxn ang="0">
                        <a:pos x="T0" y="T1"/>
                      </a:cxn>
                      <a:cxn ang="0">
                        <a:pos x="T2" y="T3"/>
                      </a:cxn>
                      <a:cxn ang="0">
                        <a:pos x="T4" y="T5"/>
                      </a:cxn>
                      <a:cxn ang="0">
                        <a:pos x="T6" y="T7"/>
                      </a:cxn>
                      <a:cxn ang="0">
                        <a:pos x="T8" y="T9"/>
                      </a:cxn>
                    </a:cxnLst>
                    <a:rect l="0" t="0" r="r" b="b"/>
                    <a:pathLst>
                      <a:path w="126" h="108">
                        <a:moveTo>
                          <a:pt x="112" y="0"/>
                        </a:moveTo>
                        <a:lnTo>
                          <a:pt x="0" y="0"/>
                        </a:lnTo>
                        <a:lnTo>
                          <a:pt x="10" y="108"/>
                        </a:lnTo>
                        <a:lnTo>
                          <a:pt x="126"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1" name="Freeform 168"/>
                  <p:cNvSpPr/>
                  <p:nvPr/>
                </p:nvSpPr>
                <p:spPr bwMode="auto">
                  <a:xfrm>
                    <a:off x="2217" y="4222"/>
                    <a:ext cx="130" cy="108"/>
                  </a:xfrm>
                  <a:custGeom>
                    <a:avLst/>
                    <a:gdLst>
                      <a:gd name="T0" fmla="*/ 112 w 130"/>
                      <a:gd name="T1" fmla="*/ 0 h 108"/>
                      <a:gd name="T2" fmla="*/ 0 w 130"/>
                      <a:gd name="T3" fmla="*/ 0 h 108"/>
                      <a:gd name="T4" fmla="*/ 16 w 130"/>
                      <a:gd name="T5" fmla="*/ 108 h 108"/>
                      <a:gd name="T6" fmla="*/ 130 w 130"/>
                      <a:gd name="T7" fmla="*/ 108 h 108"/>
                      <a:gd name="T8" fmla="*/ 112 w 130"/>
                      <a:gd name="T9" fmla="*/ 0 h 108"/>
                    </a:gdLst>
                    <a:ahLst/>
                    <a:cxnLst>
                      <a:cxn ang="0">
                        <a:pos x="T0" y="T1"/>
                      </a:cxn>
                      <a:cxn ang="0">
                        <a:pos x="T2" y="T3"/>
                      </a:cxn>
                      <a:cxn ang="0">
                        <a:pos x="T4" y="T5"/>
                      </a:cxn>
                      <a:cxn ang="0">
                        <a:pos x="T6" y="T7"/>
                      </a:cxn>
                      <a:cxn ang="0">
                        <a:pos x="T8" y="T9"/>
                      </a:cxn>
                    </a:cxnLst>
                    <a:rect l="0" t="0" r="r" b="b"/>
                    <a:pathLst>
                      <a:path w="130" h="108">
                        <a:moveTo>
                          <a:pt x="112" y="0"/>
                        </a:moveTo>
                        <a:lnTo>
                          <a:pt x="0" y="0"/>
                        </a:lnTo>
                        <a:lnTo>
                          <a:pt x="16" y="108"/>
                        </a:lnTo>
                        <a:lnTo>
                          <a:pt x="130"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2" name="Freeform 169"/>
                  <p:cNvSpPr/>
                  <p:nvPr/>
                </p:nvSpPr>
                <p:spPr bwMode="auto">
                  <a:xfrm>
                    <a:off x="2217" y="4222"/>
                    <a:ext cx="130" cy="108"/>
                  </a:xfrm>
                  <a:custGeom>
                    <a:avLst/>
                    <a:gdLst>
                      <a:gd name="T0" fmla="*/ 112 w 130"/>
                      <a:gd name="T1" fmla="*/ 0 h 108"/>
                      <a:gd name="T2" fmla="*/ 0 w 130"/>
                      <a:gd name="T3" fmla="*/ 0 h 108"/>
                      <a:gd name="T4" fmla="*/ 16 w 130"/>
                      <a:gd name="T5" fmla="*/ 108 h 108"/>
                      <a:gd name="T6" fmla="*/ 130 w 130"/>
                      <a:gd name="T7" fmla="*/ 108 h 108"/>
                      <a:gd name="T8" fmla="*/ 112 w 130"/>
                      <a:gd name="T9" fmla="*/ 0 h 108"/>
                    </a:gdLst>
                    <a:ahLst/>
                    <a:cxnLst>
                      <a:cxn ang="0">
                        <a:pos x="T0" y="T1"/>
                      </a:cxn>
                      <a:cxn ang="0">
                        <a:pos x="T2" y="T3"/>
                      </a:cxn>
                      <a:cxn ang="0">
                        <a:pos x="T4" y="T5"/>
                      </a:cxn>
                      <a:cxn ang="0">
                        <a:pos x="T6" y="T7"/>
                      </a:cxn>
                      <a:cxn ang="0">
                        <a:pos x="T8" y="T9"/>
                      </a:cxn>
                    </a:cxnLst>
                    <a:rect l="0" t="0" r="r" b="b"/>
                    <a:pathLst>
                      <a:path w="130" h="108">
                        <a:moveTo>
                          <a:pt x="112" y="0"/>
                        </a:moveTo>
                        <a:lnTo>
                          <a:pt x="0" y="0"/>
                        </a:lnTo>
                        <a:lnTo>
                          <a:pt x="16" y="108"/>
                        </a:lnTo>
                        <a:lnTo>
                          <a:pt x="130"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3" name="Freeform 170"/>
                  <p:cNvSpPr/>
                  <p:nvPr/>
                </p:nvSpPr>
                <p:spPr bwMode="auto">
                  <a:xfrm>
                    <a:off x="2353" y="4222"/>
                    <a:ext cx="134" cy="108"/>
                  </a:xfrm>
                  <a:custGeom>
                    <a:avLst/>
                    <a:gdLst>
                      <a:gd name="T0" fmla="*/ 112 w 134"/>
                      <a:gd name="T1" fmla="*/ 0 h 108"/>
                      <a:gd name="T2" fmla="*/ 0 w 134"/>
                      <a:gd name="T3" fmla="*/ 0 h 108"/>
                      <a:gd name="T4" fmla="*/ 18 w 134"/>
                      <a:gd name="T5" fmla="*/ 108 h 108"/>
                      <a:gd name="T6" fmla="*/ 134 w 134"/>
                      <a:gd name="T7" fmla="*/ 108 h 108"/>
                      <a:gd name="T8" fmla="*/ 112 w 134"/>
                      <a:gd name="T9" fmla="*/ 0 h 108"/>
                    </a:gdLst>
                    <a:ahLst/>
                    <a:cxnLst>
                      <a:cxn ang="0">
                        <a:pos x="T0" y="T1"/>
                      </a:cxn>
                      <a:cxn ang="0">
                        <a:pos x="T2" y="T3"/>
                      </a:cxn>
                      <a:cxn ang="0">
                        <a:pos x="T4" y="T5"/>
                      </a:cxn>
                      <a:cxn ang="0">
                        <a:pos x="T6" y="T7"/>
                      </a:cxn>
                      <a:cxn ang="0">
                        <a:pos x="T8" y="T9"/>
                      </a:cxn>
                    </a:cxnLst>
                    <a:rect l="0" t="0" r="r" b="b"/>
                    <a:pathLst>
                      <a:path w="134" h="108">
                        <a:moveTo>
                          <a:pt x="112" y="0"/>
                        </a:moveTo>
                        <a:lnTo>
                          <a:pt x="0" y="0"/>
                        </a:lnTo>
                        <a:lnTo>
                          <a:pt x="18" y="108"/>
                        </a:lnTo>
                        <a:lnTo>
                          <a:pt x="134"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4" name="Freeform 171"/>
                  <p:cNvSpPr/>
                  <p:nvPr/>
                </p:nvSpPr>
                <p:spPr bwMode="auto">
                  <a:xfrm>
                    <a:off x="2353" y="4222"/>
                    <a:ext cx="134" cy="108"/>
                  </a:xfrm>
                  <a:custGeom>
                    <a:avLst/>
                    <a:gdLst>
                      <a:gd name="T0" fmla="*/ 112 w 134"/>
                      <a:gd name="T1" fmla="*/ 0 h 108"/>
                      <a:gd name="T2" fmla="*/ 0 w 134"/>
                      <a:gd name="T3" fmla="*/ 0 h 108"/>
                      <a:gd name="T4" fmla="*/ 18 w 134"/>
                      <a:gd name="T5" fmla="*/ 108 h 108"/>
                      <a:gd name="T6" fmla="*/ 134 w 134"/>
                      <a:gd name="T7" fmla="*/ 108 h 108"/>
                      <a:gd name="T8" fmla="*/ 112 w 134"/>
                      <a:gd name="T9" fmla="*/ 0 h 108"/>
                    </a:gdLst>
                    <a:ahLst/>
                    <a:cxnLst>
                      <a:cxn ang="0">
                        <a:pos x="T0" y="T1"/>
                      </a:cxn>
                      <a:cxn ang="0">
                        <a:pos x="T2" y="T3"/>
                      </a:cxn>
                      <a:cxn ang="0">
                        <a:pos x="T4" y="T5"/>
                      </a:cxn>
                      <a:cxn ang="0">
                        <a:pos x="T6" y="T7"/>
                      </a:cxn>
                      <a:cxn ang="0">
                        <a:pos x="T8" y="T9"/>
                      </a:cxn>
                    </a:cxnLst>
                    <a:rect l="0" t="0" r="r" b="b"/>
                    <a:pathLst>
                      <a:path w="134" h="108">
                        <a:moveTo>
                          <a:pt x="112" y="0"/>
                        </a:moveTo>
                        <a:lnTo>
                          <a:pt x="0" y="0"/>
                        </a:lnTo>
                        <a:lnTo>
                          <a:pt x="18" y="108"/>
                        </a:lnTo>
                        <a:lnTo>
                          <a:pt x="134"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5" name="Freeform 172"/>
                  <p:cNvSpPr/>
                  <p:nvPr/>
                </p:nvSpPr>
                <p:spPr bwMode="auto">
                  <a:xfrm>
                    <a:off x="2487" y="4222"/>
                    <a:ext cx="140" cy="108"/>
                  </a:xfrm>
                  <a:custGeom>
                    <a:avLst/>
                    <a:gdLst>
                      <a:gd name="T0" fmla="*/ 112 w 140"/>
                      <a:gd name="T1" fmla="*/ 0 h 108"/>
                      <a:gd name="T2" fmla="*/ 0 w 140"/>
                      <a:gd name="T3" fmla="*/ 0 h 108"/>
                      <a:gd name="T4" fmla="*/ 24 w 140"/>
                      <a:gd name="T5" fmla="*/ 108 h 108"/>
                      <a:gd name="T6" fmla="*/ 140 w 140"/>
                      <a:gd name="T7" fmla="*/ 108 h 108"/>
                      <a:gd name="T8" fmla="*/ 112 w 140"/>
                      <a:gd name="T9" fmla="*/ 0 h 108"/>
                    </a:gdLst>
                    <a:ahLst/>
                    <a:cxnLst>
                      <a:cxn ang="0">
                        <a:pos x="T0" y="T1"/>
                      </a:cxn>
                      <a:cxn ang="0">
                        <a:pos x="T2" y="T3"/>
                      </a:cxn>
                      <a:cxn ang="0">
                        <a:pos x="T4" y="T5"/>
                      </a:cxn>
                      <a:cxn ang="0">
                        <a:pos x="T6" y="T7"/>
                      </a:cxn>
                      <a:cxn ang="0">
                        <a:pos x="T8" y="T9"/>
                      </a:cxn>
                    </a:cxnLst>
                    <a:rect l="0" t="0" r="r" b="b"/>
                    <a:pathLst>
                      <a:path w="140" h="108">
                        <a:moveTo>
                          <a:pt x="112" y="0"/>
                        </a:moveTo>
                        <a:lnTo>
                          <a:pt x="0" y="0"/>
                        </a:lnTo>
                        <a:lnTo>
                          <a:pt x="24" y="108"/>
                        </a:lnTo>
                        <a:lnTo>
                          <a:pt x="140"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6" name="Freeform 173"/>
                  <p:cNvSpPr/>
                  <p:nvPr/>
                </p:nvSpPr>
                <p:spPr bwMode="auto">
                  <a:xfrm>
                    <a:off x="2487" y="4222"/>
                    <a:ext cx="140" cy="108"/>
                  </a:xfrm>
                  <a:custGeom>
                    <a:avLst/>
                    <a:gdLst>
                      <a:gd name="T0" fmla="*/ 112 w 140"/>
                      <a:gd name="T1" fmla="*/ 0 h 108"/>
                      <a:gd name="T2" fmla="*/ 0 w 140"/>
                      <a:gd name="T3" fmla="*/ 0 h 108"/>
                      <a:gd name="T4" fmla="*/ 24 w 140"/>
                      <a:gd name="T5" fmla="*/ 108 h 108"/>
                      <a:gd name="T6" fmla="*/ 140 w 140"/>
                      <a:gd name="T7" fmla="*/ 108 h 108"/>
                      <a:gd name="T8" fmla="*/ 112 w 140"/>
                      <a:gd name="T9" fmla="*/ 0 h 108"/>
                    </a:gdLst>
                    <a:ahLst/>
                    <a:cxnLst>
                      <a:cxn ang="0">
                        <a:pos x="T0" y="T1"/>
                      </a:cxn>
                      <a:cxn ang="0">
                        <a:pos x="T2" y="T3"/>
                      </a:cxn>
                      <a:cxn ang="0">
                        <a:pos x="T4" y="T5"/>
                      </a:cxn>
                      <a:cxn ang="0">
                        <a:pos x="T6" y="T7"/>
                      </a:cxn>
                      <a:cxn ang="0">
                        <a:pos x="T8" y="T9"/>
                      </a:cxn>
                    </a:cxnLst>
                    <a:rect l="0" t="0" r="r" b="b"/>
                    <a:pathLst>
                      <a:path w="140" h="108">
                        <a:moveTo>
                          <a:pt x="112" y="0"/>
                        </a:moveTo>
                        <a:lnTo>
                          <a:pt x="0" y="0"/>
                        </a:lnTo>
                        <a:lnTo>
                          <a:pt x="24" y="108"/>
                        </a:lnTo>
                        <a:lnTo>
                          <a:pt x="140"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7" name="Freeform 174"/>
                  <p:cNvSpPr/>
                  <p:nvPr/>
                </p:nvSpPr>
                <p:spPr bwMode="auto">
                  <a:xfrm>
                    <a:off x="2621" y="4222"/>
                    <a:ext cx="144" cy="108"/>
                  </a:xfrm>
                  <a:custGeom>
                    <a:avLst/>
                    <a:gdLst>
                      <a:gd name="T0" fmla="*/ 114 w 144"/>
                      <a:gd name="T1" fmla="*/ 0 h 108"/>
                      <a:gd name="T2" fmla="*/ 0 w 144"/>
                      <a:gd name="T3" fmla="*/ 0 h 108"/>
                      <a:gd name="T4" fmla="*/ 28 w 144"/>
                      <a:gd name="T5" fmla="*/ 108 h 108"/>
                      <a:gd name="T6" fmla="*/ 144 w 144"/>
                      <a:gd name="T7" fmla="*/ 108 h 108"/>
                      <a:gd name="T8" fmla="*/ 114 w 144"/>
                      <a:gd name="T9" fmla="*/ 0 h 108"/>
                    </a:gdLst>
                    <a:ahLst/>
                    <a:cxnLst>
                      <a:cxn ang="0">
                        <a:pos x="T0" y="T1"/>
                      </a:cxn>
                      <a:cxn ang="0">
                        <a:pos x="T2" y="T3"/>
                      </a:cxn>
                      <a:cxn ang="0">
                        <a:pos x="T4" y="T5"/>
                      </a:cxn>
                      <a:cxn ang="0">
                        <a:pos x="T6" y="T7"/>
                      </a:cxn>
                      <a:cxn ang="0">
                        <a:pos x="T8" y="T9"/>
                      </a:cxn>
                    </a:cxnLst>
                    <a:rect l="0" t="0" r="r" b="b"/>
                    <a:pathLst>
                      <a:path w="144" h="108">
                        <a:moveTo>
                          <a:pt x="114" y="0"/>
                        </a:moveTo>
                        <a:lnTo>
                          <a:pt x="0" y="0"/>
                        </a:lnTo>
                        <a:lnTo>
                          <a:pt x="28" y="108"/>
                        </a:lnTo>
                        <a:lnTo>
                          <a:pt x="144" y="108"/>
                        </a:lnTo>
                        <a:lnTo>
                          <a:pt x="11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8" name="Freeform 175"/>
                  <p:cNvSpPr/>
                  <p:nvPr/>
                </p:nvSpPr>
                <p:spPr bwMode="auto">
                  <a:xfrm>
                    <a:off x="2621" y="4222"/>
                    <a:ext cx="144" cy="108"/>
                  </a:xfrm>
                  <a:custGeom>
                    <a:avLst/>
                    <a:gdLst>
                      <a:gd name="T0" fmla="*/ 114 w 144"/>
                      <a:gd name="T1" fmla="*/ 0 h 108"/>
                      <a:gd name="T2" fmla="*/ 0 w 144"/>
                      <a:gd name="T3" fmla="*/ 0 h 108"/>
                      <a:gd name="T4" fmla="*/ 28 w 144"/>
                      <a:gd name="T5" fmla="*/ 108 h 108"/>
                      <a:gd name="T6" fmla="*/ 144 w 144"/>
                      <a:gd name="T7" fmla="*/ 108 h 108"/>
                      <a:gd name="T8" fmla="*/ 114 w 144"/>
                      <a:gd name="T9" fmla="*/ 0 h 108"/>
                    </a:gdLst>
                    <a:ahLst/>
                    <a:cxnLst>
                      <a:cxn ang="0">
                        <a:pos x="T0" y="T1"/>
                      </a:cxn>
                      <a:cxn ang="0">
                        <a:pos x="T2" y="T3"/>
                      </a:cxn>
                      <a:cxn ang="0">
                        <a:pos x="T4" y="T5"/>
                      </a:cxn>
                      <a:cxn ang="0">
                        <a:pos x="T6" y="T7"/>
                      </a:cxn>
                      <a:cxn ang="0">
                        <a:pos x="T8" y="T9"/>
                      </a:cxn>
                    </a:cxnLst>
                    <a:rect l="0" t="0" r="r" b="b"/>
                    <a:pathLst>
                      <a:path w="144" h="108">
                        <a:moveTo>
                          <a:pt x="114" y="0"/>
                        </a:moveTo>
                        <a:lnTo>
                          <a:pt x="0" y="0"/>
                        </a:lnTo>
                        <a:lnTo>
                          <a:pt x="28" y="108"/>
                        </a:lnTo>
                        <a:lnTo>
                          <a:pt x="144" y="108"/>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39" name="Freeform 176"/>
                  <p:cNvSpPr/>
                  <p:nvPr/>
                </p:nvSpPr>
                <p:spPr bwMode="auto">
                  <a:xfrm>
                    <a:off x="2757" y="4222"/>
                    <a:ext cx="148" cy="108"/>
                  </a:xfrm>
                  <a:custGeom>
                    <a:avLst/>
                    <a:gdLst>
                      <a:gd name="T0" fmla="*/ 112 w 148"/>
                      <a:gd name="T1" fmla="*/ 0 h 108"/>
                      <a:gd name="T2" fmla="*/ 0 w 148"/>
                      <a:gd name="T3" fmla="*/ 0 h 108"/>
                      <a:gd name="T4" fmla="*/ 32 w 148"/>
                      <a:gd name="T5" fmla="*/ 108 h 108"/>
                      <a:gd name="T6" fmla="*/ 148 w 148"/>
                      <a:gd name="T7" fmla="*/ 108 h 108"/>
                      <a:gd name="T8" fmla="*/ 112 w 148"/>
                      <a:gd name="T9" fmla="*/ 0 h 108"/>
                    </a:gdLst>
                    <a:ahLst/>
                    <a:cxnLst>
                      <a:cxn ang="0">
                        <a:pos x="T0" y="T1"/>
                      </a:cxn>
                      <a:cxn ang="0">
                        <a:pos x="T2" y="T3"/>
                      </a:cxn>
                      <a:cxn ang="0">
                        <a:pos x="T4" y="T5"/>
                      </a:cxn>
                      <a:cxn ang="0">
                        <a:pos x="T6" y="T7"/>
                      </a:cxn>
                      <a:cxn ang="0">
                        <a:pos x="T8" y="T9"/>
                      </a:cxn>
                    </a:cxnLst>
                    <a:rect l="0" t="0" r="r" b="b"/>
                    <a:pathLst>
                      <a:path w="148" h="108">
                        <a:moveTo>
                          <a:pt x="112" y="0"/>
                        </a:moveTo>
                        <a:lnTo>
                          <a:pt x="0" y="0"/>
                        </a:lnTo>
                        <a:lnTo>
                          <a:pt x="32" y="108"/>
                        </a:lnTo>
                        <a:lnTo>
                          <a:pt x="148"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0" name="Freeform 177"/>
                  <p:cNvSpPr/>
                  <p:nvPr/>
                </p:nvSpPr>
                <p:spPr bwMode="auto">
                  <a:xfrm>
                    <a:off x="2757" y="4222"/>
                    <a:ext cx="148" cy="108"/>
                  </a:xfrm>
                  <a:custGeom>
                    <a:avLst/>
                    <a:gdLst>
                      <a:gd name="T0" fmla="*/ 112 w 148"/>
                      <a:gd name="T1" fmla="*/ 0 h 108"/>
                      <a:gd name="T2" fmla="*/ 0 w 148"/>
                      <a:gd name="T3" fmla="*/ 0 h 108"/>
                      <a:gd name="T4" fmla="*/ 32 w 148"/>
                      <a:gd name="T5" fmla="*/ 108 h 108"/>
                      <a:gd name="T6" fmla="*/ 148 w 148"/>
                      <a:gd name="T7" fmla="*/ 108 h 108"/>
                      <a:gd name="T8" fmla="*/ 112 w 148"/>
                      <a:gd name="T9" fmla="*/ 0 h 108"/>
                    </a:gdLst>
                    <a:ahLst/>
                    <a:cxnLst>
                      <a:cxn ang="0">
                        <a:pos x="T0" y="T1"/>
                      </a:cxn>
                      <a:cxn ang="0">
                        <a:pos x="T2" y="T3"/>
                      </a:cxn>
                      <a:cxn ang="0">
                        <a:pos x="T4" y="T5"/>
                      </a:cxn>
                      <a:cxn ang="0">
                        <a:pos x="T6" y="T7"/>
                      </a:cxn>
                      <a:cxn ang="0">
                        <a:pos x="T8" y="T9"/>
                      </a:cxn>
                    </a:cxnLst>
                    <a:rect l="0" t="0" r="r" b="b"/>
                    <a:pathLst>
                      <a:path w="148" h="108">
                        <a:moveTo>
                          <a:pt x="112" y="0"/>
                        </a:moveTo>
                        <a:lnTo>
                          <a:pt x="0" y="0"/>
                        </a:lnTo>
                        <a:lnTo>
                          <a:pt x="32" y="108"/>
                        </a:lnTo>
                        <a:lnTo>
                          <a:pt x="148"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1" name="Freeform 178"/>
                  <p:cNvSpPr/>
                  <p:nvPr/>
                </p:nvSpPr>
                <p:spPr bwMode="auto">
                  <a:xfrm>
                    <a:off x="2891" y="4222"/>
                    <a:ext cx="152" cy="108"/>
                  </a:xfrm>
                  <a:custGeom>
                    <a:avLst/>
                    <a:gdLst>
                      <a:gd name="T0" fmla="*/ 114 w 152"/>
                      <a:gd name="T1" fmla="*/ 0 h 108"/>
                      <a:gd name="T2" fmla="*/ 0 w 152"/>
                      <a:gd name="T3" fmla="*/ 0 h 108"/>
                      <a:gd name="T4" fmla="*/ 36 w 152"/>
                      <a:gd name="T5" fmla="*/ 108 h 108"/>
                      <a:gd name="T6" fmla="*/ 152 w 152"/>
                      <a:gd name="T7" fmla="*/ 108 h 108"/>
                      <a:gd name="T8" fmla="*/ 114 w 152"/>
                      <a:gd name="T9" fmla="*/ 0 h 108"/>
                    </a:gdLst>
                    <a:ahLst/>
                    <a:cxnLst>
                      <a:cxn ang="0">
                        <a:pos x="T0" y="T1"/>
                      </a:cxn>
                      <a:cxn ang="0">
                        <a:pos x="T2" y="T3"/>
                      </a:cxn>
                      <a:cxn ang="0">
                        <a:pos x="T4" y="T5"/>
                      </a:cxn>
                      <a:cxn ang="0">
                        <a:pos x="T6" y="T7"/>
                      </a:cxn>
                      <a:cxn ang="0">
                        <a:pos x="T8" y="T9"/>
                      </a:cxn>
                    </a:cxnLst>
                    <a:rect l="0" t="0" r="r" b="b"/>
                    <a:pathLst>
                      <a:path w="152" h="108">
                        <a:moveTo>
                          <a:pt x="114" y="0"/>
                        </a:moveTo>
                        <a:lnTo>
                          <a:pt x="0" y="0"/>
                        </a:lnTo>
                        <a:lnTo>
                          <a:pt x="36" y="108"/>
                        </a:lnTo>
                        <a:lnTo>
                          <a:pt x="152" y="108"/>
                        </a:lnTo>
                        <a:lnTo>
                          <a:pt x="114"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2" name="Freeform 179"/>
                  <p:cNvSpPr/>
                  <p:nvPr/>
                </p:nvSpPr>
                <p:spPr bwMode="auto">
                  <a:xfrm>
                    <a:off x="2891" y="4222"/>
                    <a:ext cx="152" cy="108"/>
                  </a:xfrm>
                  <a:custGeom>
                    <a:avLst/>
                    <a:gdLst>
                      <a:gd name="T0" fmla="*/ 114 w 152"/>
                      <a:gd name="T1" fmla="*/ 0 h 108"/>
                      <a:gd name="T2" fmla="*/ 0 w 152"/>
                      <a:gd name="T3" fmla="*/ 0 h 108"/>
                      <a:gd name="T4" fmla="*/ 36 w 152"/>
                      <a:gd name="T5" fmla="*/ 108 h 108"/>
                      <a:gd name="T6" fmla="*/ 152 w 152"/>
                      <a:gd name="T7" fmla="*/ 108 h 108"/>
                      <a:gd name="T8" fmla="*/ 114 w 152"/>
                      <a:gd name="T9" fmla="*/ 0 h 108"/>
                    </a:gdLst>
                    <a:ahLst/>
                    <a:cxnLst>
                      <a:cxn ang="0">
                        <a:pos x="T0" y="T1"/>
                      </a:cxn>
                      <a:cxn ang="0">
                        <a:pos x="T2" y="T3"/>
                      </a:cxn>
                      <a:cxn ang="0">
                        <a:pos x="T4" y="T5"/>
                      </a:cxn>
                      <a:cxn ang="0">
                        <a:pos x="T6" y="T7"/>
                      </a:cxn>
                      <a:cxn ang="0">
                        <a:pos x="T8" y="T9"/>
                      </a:cxn>
                    </a:cxnLst>
                    <a:rect l="0" t="0" r="r" b="b"/>
                    <a:pathLst>
                      <a:path w="152" h="108">
                        <a:moveTo>
                          <a:pt x="114" y="0"/>
                        </a:moveTo>
                        <a:lnTo>
                          <a:pt x="0" y="0"/>
                        </a:lnTo>
                        <a:lnTo>
                          <a:pt x="36" y="108"/>
                        </a:lnTo>
                        <a:lnTo>
                          <a:pt x="152" y="108"/>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3" name="Freeform 180"/>
                  <p:cNvSpPr/>
                  <p:nvPr/>
                </p:nvSpPr>
                <p:spPr bwMode="auto">
                  <a:xfrm>
                    <a:off x="3027" y="4222"/>
                    <a:ext cx="156" cy="108"/>
                  </a:xfrm>
                  <a:custGeom>
                    <a:avLst/>
                    <a:gdLst>
                      <a:gd name="T0" fmla="*/ 112 w 156"/>
                      <a:gd name="T1" fmla="*/ 0 h 108"/>
                      <a:gd name="T2" fmla="*/ 0 w 156"/>
                      <a:gd name="T3" fmla="*/ 0 h 108"/>
                      <a:gd name="T4" fmla="*/ 40 w 156"/>
                      <a:gd name="T5" fmla="*/ 108 h 108"/>
                      <a:gd name="T6" fmla="*/ 156 w 156"/>
                      <a:gd name="T7" fmla="*/ 108 h 108"/>
                      <a:gd name="T8" fmla="*/ 112 w 156"/>
                      <a:gd name="T9" fmla="*/ 0 h 108"/>
                    </a:gdLst>
                    <a:ahLst/>
                    <a:cxnLst>
                      <a:cxn ang="0">
                        <a:pos x="T0" y="T1"/>
                      </a:cxn>
                      <a:cxn ang="0">
                        <a:pos x="T2" y="T3"/>
                      </a:cxn>
                      <a:cxn ang="0">
                        <a:pos x="T4" y="T5"/>
                      </a:cxn>
                      <a:cxn ang="0">
                        <a:pos x="T6" y="T7"/>
                      </a:cxn>
                      <a:cxn ang="0">
                        <a:pos x="T8" y="T9"/>
                      </a:cxn>
                    </a:cxnLst>
                    <a:rect l="0" t="0" r="r" b="b"/>
                    <a:pathLst>
                      <a:path w="156" h="108">
                        <a:moveTo>
                          <a:pt x="112" y="0"/>
                        </a:moveTo>
                        <a:lnTo>
                          <a:pt x="0" y="0"/>
                        </a:lnTo>
                        <a:lnTo>
                          <a:pt x="40" y="108"/>
                        </a:lnTo>
                        <a:lnTo>
                          <a:pt x="156"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4" name="Freeform 181"/>
                  <p:cNvSpPr/>
                  <p:nvPr/>
                </p:nvSpPr>
                <p:spPr bwMode="auto">
                  <a:xfrm>
                    <a:off x="3027" y="4222"/>
                    <a:ext cx="156" cy="108"/>
                  </a:xfrm>
                  <a:custGeom>
                    <a:avLst/>
                    <a:gdLst>
                      <a:gd name="T0" fmla="*/ 112 w 156"/>
                      <a:gd name="T1" fmla="*/ 0 h 108"/>
                      <a:gd name="T2" fmla="*/ 0 w 156"/>
                      <a:gd name="T3" fmla="*/ 0 h 108"/>
                      <a:gd name="T4" fmla="*/ 40 w 156"/>
                      <a:gd name="T5" fmla="*/ 108 h 108"/>
                      <a:gd name="T6" fmla="*/ 156 w 156"/>
                      <a:gd name="T7" fmla="*/ 108 h 108"/>
                      <a:gd name="T8" fmla="*/ 112 w 156"/>
                      <a:gd name="T9" fmla="*/ 0 h 108"/>
                    </a:gdLst>
                    <a:ahLst/>
                    <a:cxnLst>
                      <a:cxn ang="0">
                        <a:pos x="T0" y="T1"/>
                      </a:cxn>
                      <a:cxn ang="0">
                        <a:pos x="T2" y="T3"/>
                      </a:cxn>
                      <a:cxn ang="0">
                        <a:pos x="T4" y="T5"/>
                      </a:cxn>
                      <a:cxn ang="0">
                        <a:pos x="T6" y="T7"/>
                      </a:cxn>
                      <a:cxn ang="0">
                        <a:pos x="T8" y="T9"/>
                      </a:cxn>
                    </a:cxnLst>
                    <a:rect l="0" t="0" r="r" b="b"/>
                    <a:pathLst>
                      <a:path w="156" h="108">
                        <a:moveTo>
                          <a:pt x="112" y="0"/>
                        </a:moveTo>
                        <a:lnTo>
                          <a:pt x="0" y="0"/>
                        </a:lnTo>
                        <a:lnTo>
                          <a:pt x="40" y="108"/>
                        </a:lnTo>
                        <a:lnTo>
                          <a:pt x="156"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5" name="Freeform 182"/>
                  <p:cNvSpPr/>
                  <p:nvPr/>
                </p:nvSpPr>
                <p:spPr bwMode="auto">
                  <a:xfrm>
                    <a:off x="3161" y="4222"/>
                    <a:ext cx="160" cy="108"/>
                  </a:xfrm>
                  <a:custGeom>
                    <a:avLst/>
                    <a:gdLst>
                      <a:gd name="T0" fmla="*/ 112 w 160"/>
                      <a:gd name="T1" fmla="*/ 0 h 108"/>
                      <a:gd name="T2" fmla="*/ 0 w 160"/>
                      <a:gd name="T3" fmla="*/ 0 h 108"/>
                      <a:gd name="T4" fmla="*/ 44 w 160"/>
                      <a:gd name="T5" fmla="*/ 108 h 108"/>
                      <a:gd name="T6" fmla="*/ 160 w 160"/>
                      <a:gd name="T7" fmla="*/ 108 h 108"/>
                      <a:gd name="T8" fmla="*/ 112 w 160"/>
                      <a:gd name="T9" fmla="*/ 0 h 108"/>
                    </a:gdLst>
                    <a:ahLst/>
                    <a:cxnLst>
                      <a:cxn ang="0">
                        <a:pos x="T0" y="T1"/>
                      </a:cxn>
                      <a:cxn ang="0">
                        <a:pos x="T2" y="T3"/>
                      </a:cxn>
                      <a:cxn ang="0">
                        <a:pos x="T4" y="T5"/>
                      </a:cxn>
                      <a:cxn ang="0">
                        <a:pos x="T6" y="T7"/>
                      </a:cxn>
                      <a:cxn ang="0">
                        <a:pos x="T8" y="T9"/>
                      </a:cxn>
                    </a:cxnLst>
                    <a:rect l="0" t="0" r="r" b="b"/>
                    <a:pathLst>
                      <a:path w="160" h="108">
                        <a:moveTo>
                          <a:pt x="112" y="0"/>
                        </a:moveTo>
                        <a:lnTo>
                          <a:pt x="0" y="0"/>
                        </a:lnTo>
                        <a:lnTo>
                          <a:pt x="44" y="108"/>
                        </a:lnTo>
                        <a:lnTo>
                          <a:pt x="160"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6" name="Freeform 183"/>
                  <p:cNvSpPr/>
                  <p:nvPr/>
                </p:nvSpPr>
                <p:spPr bwMode="auto">
                  <a:xfrm>
                    <a:off x="3161" y="4222"/>
                    <a:ext cx="160" cy="108"/>
                  </a:xfrm>
                  <a:custGeom>
                    <a:avLst/>
                    <a:gdLst>
                      <a:gd name="T0" fmla="*/ 112 w 160"/>
                      <a:gd name="T1" fmla="*/ 0 h 108"/>
                      <a:gd name="T2" fmla="*/ 0 w 160"/>
                      <a:gd name="T3" fmla="*/ 0 h 108"/>
                      <a:gd name="T4" fmla="*/ 44 w 160"/>
                      <a:gd name="T5" fmla="*/ 108 h 108"/>
                      <a:gd name="T6" fmla="*/ 160 w 160"/>
                      <a:gd name="T7" fmla="*/ 108 h 108"/>
                      <a:gd name="T8" fmla="*/ 112 w 160"/>
                      <a:gd name="T9" fmla="*/ 0 h 108"/>
                    </a:gdLst>
                    <a:ahLst/>
                    <a:cxnLst>
                      <a:cxn ang="0">
                        <a:pos x="T0" y="T1"/>
                      </a:cxn>
                      <a:cxn ang="0">
                        <a:pos x="T2" y="T3"/>
                      </a:cxn>
                      <a:cxn ang="0">
                        <a:pos x="T4" y="T5"/>
                      </a:cxn>
                      <a:cxn ang="0">
                        <a:pos x="T6" y="T7"/>
                      </a:cxn>
                      <a:cxn ang="0">
                        <a:pos x="T8" y="T9"/>
                      </a:cxn>
                    </a:cxnLst>
                    <a:rect l="0" t="0" r="r" b="b"/>
                    <a:pathLst>
                      <a:path w="160" h="108">
                        <a:moveTo>
                          <a:pt x="112" y="0"/>
                        </a:moveTo>
                        <a:lnTo>
                          <a:pt x="0" y="0"/>
                        </a:lnTo>
                        <a:lnTo>
                          <a:pt x="44" y="108"/>
                        </a:lnTo>
                        <a:lnTo>
                          <a:pt x="160"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7" name="Freeform 184"/>
                  <p:cNvSpPr/>
                  <p:nvPr/>
                </p:nvSpPr>
                <p:spPr bwMode="auto">
                  <a:xfrm>
                    <a:off x="3297" y="4222"/>
                    <a:ext cx="164" cy="108"/>
                  </a:xfrm>
                  <a:custGeom>
                    <a:avLst/>
                    <a:gdLst>
                      <a:gd name="T0" fmla="*/ 112 w 164"/>
                      <a:gd name="T1" fmla="*/ 0 h 108"/>
                      <a:gd name="T2" fmla="*/ 0 w 164"/>
                      <a:gd name="T3" fmla="*/ 0 h 108"/>
                      <a:gd name="T4" fmla="*/ 48 w 164"/>
                      <a:gd name="T5" fmla="*/ 108 h 108"/>
                      <a:gd name="T6" fmla="*/ 164 w 164"/>
                      <a:gd name="T7" fmla="*/ 108 h 108"/>
                      <a:gd name="T8" fmla="*/ 112 w 164"/>
                      <a:gd name="T9" fmla="*/ 0 h 108"/>
                    </a:gdLst>
                    <a:ahLst/>
                    <a:cxnLst>
                      <a:cxn ang="0">
                        <a:pos x="T0" y="T1"/>
                      </a:cxn>
                      <a:cxn ang="0">
                        <a:pos x="T2" y="T3"/>
                      </a:cxn>
                      <a:cxn ang="0">
                        <a:pos x="T4" y="T5"/>
                      </a:cxn>
                      <a:cxn ang="0">
                        <a:pos x="T6" y="T7"/>
                      </a:cxn>
                      <a:cxn ang="0">
                        <a:pos x="T8" y="T9"/>
                      </a:cxn>
                    </a:cxnLst>
                    <a:rect l="0" t="0" r="r" b="b"/>
                    <a:pathLst>
                      <a:path w="164" h="108">
                        <a:moveTo>
                          <a:pt x="112" y="0"/>
                        </a:moveTo>
                        <a:lnTo>
                          <a:pt x="0" y="0"/>
                        </a:lnTo>
                        <a:lnTo>
                          <a:pt x="48" y="108"/>
                        </a:lnTo>
                        <a:lnTo>
                          <a:pt x="164" y="108"/>
                        </a:lnTo>
                        <a:lnTo>
                          <a:pt x="112" y="0"/>
                        </a:lnTo>
                        <a:close/>
                      </a:path>
                    </a:pathLst>
                  </a:custGeom>
                  <a:solidFill>
                    <a:srgbClr val="A5A5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8" name="Freeform 185"/>
                  <p:cNvSpPr/>
                  <p:nvPr/>
                </p:nvSpPr>
                <p:spPr bwMode="auto">
                  <a:xfrm>
                    <a:off x="3297" y="4222"/>
                    <a:ext cx="164" cy="108"/>
                  </a:xfrm>
                  <a:custGeom>
                    <a:avLst/>
                    <a:gdLst>
                      <a:gd name="T0" fmla="*/ 112 w 164"/>
                      <a:gd name="T1" fmla="*/ 0 h 108"/>
                      <a:gd name="T2" fmla="*/ 0 w 164"/>
                      <a:gd name="T3" fmla="*/ 0 h 108"/>
                      <a:gd name="T4" fmla="*/ 48 w 164"/>
                      <a:gd name="T5" fmla="*/ 108 h 108"/>
                      <a:gd name="T6" fmla="*/ 164 w 164"/>
                      <a:gd name="T7" fmla="*/ 108 h 108"/>
                      <a:gd name="T8" fmla="*/ 112 w 164"/>
                      <a:gd name="T9" fmla="*/ 0 h 108"/>
                    </a:gdLst>
                    <a:ahLst/>
                    <a:cxnLst>
                      <a:cxn ang="0">
                        <a:pos x="T0" y="T1"/>
                      </a:cxn>
                      <a:cxn ang="0">
                        <a:pos x="T2" y="T3"/>
                      </a:cxn>
                      <a:cxn ang="0">
                        <a:pos x="T4" y="T5"/>
                      </a:cxn>
                      <a:cxn ang="0">
                        <a:pos x="T6" y="T7"/>
                      </a:cxn>
                      <a:cxn ang="0">
                        <a:pos x="T8" y="T9"/>
                      </a:cxn>
                    </a:cxnLst>
                    <a:rect l="0" t="0" r="r" b="b"/>
                    <a:pathLst>
                      <a:path w="164" h="108">
                        <a:moveTo>
                          <a:pt x="112" y="0"/>
                        </a:moveTo>
                        <a:lnTo>
                          <a:pt x="0" y="0"/>
                        </a:lnTo>
                        <a:lnTo>
                          <a:pt x="48" y="108"/>
                        </a:lnTo>
                        <a:lnTo>
                          <a:pt x="164" y="108"/>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49" name="Freeform 186"/>
                  <p:cNvSpPr/>
                  <p:nvPr/>
                </p:nvSpPr>
                <p:spPr bwMode="auto">
                  <a:xfrm>
                    <a:off x="272" y="3928"/>
                    <a:ext cx="152" cy="108"/>
                  </a:xfrm>
                  <a:custGeom>
                    <a:avLst/>
                    <a:gdLst>
                      <a:gd name="T0" fmla="*/ 108 w 152"/>
                      <a:gd name="T1" fmla="*/ 108 h 108"/>
                      <a:gd name="T2" fmla="*/ 0 w 152"/>
                      <a:gd name="T3" fmla="*/ 108 h 108"/>
                      <a:gd name="T4" fmla="*/ 48 w 152"/>
                      <a:gd name="T5" fmla="*/ 0 h 108"/>
                      <a:gd name="T6" fmla="*/ 152 w 152"/>
                      <a:gd name="T7" fmla="*/ 0 h 108"/>
                      <a:gd name="T8" fmla="*/ 108 w 152"/>
                      <a:gd name="T9" fmla="*/ 108 h 108"/>
                    </a:gdLst>
                    <a:ahLst/>
                    <a:cxnLst>
                      <a:cxn ang="0">
                        <a:pos x="T0" y="T1"/>
                      </a:cxn>
                      <a:cxn ang="0">
                        <a:pos x="T2" y="T3"/>
                      </a:cxn>
                      <a:cxn ang="0">
                        <a:pos x="T4" y="T5"/>
                      </a:cxn>
                      <a:cxn ang="0">
                        <a:pos x="T6" y="T7"/>
                      </a:cxn>
                      <a:cxn ang="0">
                        <a:pos x="T8" y="T9"/>
                      </a:cxn>
                    </a:cxnLst>
                    <a:rect l="0" t="0" r="r" b="b"/>
                    <a:pathLst>
                      <a:path w="152" h="108">
                        <a:moveTo>
                          <a:pt x="108" y="108"/>
                        </a:moveTo>
                        <a:lnTo>
                          <a:pt x="0" y="108"/>
                        </a:lnTo>
                        <a:lnTo>
                          <a:pt x="48" y="0"/>
                        </a:lnTo>
                        <a:lnTo>
                          <a:pt x="152"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0" name="Freeform 187"/>
                  <p:cNvSpPr/>
                  <p:nvPr/>
                </p:nvSpPr>
                <p:spPr bwMode="auto">
                  <a:xfrm>
                    <a:off x="212" y="4064"/>
                    <a:ext cx="290" cy="108"/>
                  </a:xfrm>
                  <a:custGeom>
                    <a:avLst/>
                    <a:gdLst>
                      <a:gd name="T0" fmla="*/ 250 w 290"/>
                      <a:gd name="T1" fmla="*/ 108 h 108"/>
                      <a:gd name="T2" fmla="*/ 0 w 290"/>
                      <a:gd name="T3" fmla="*/ 108 h 108"/>
                      <a:gd name="T4" fmla="*/ 48 w 290"/>
                      <a:gd name="T5" fmla="*/ 0 h 108"/>
                      <a:gd name="T6" fmla="*/ 290 w 290"/>
                      <a:gd name="T7" fmla="*/ 0 h 108"/>
                      <a:gd name="T8" fmla="*/ 250 w 290"/>
                      <a:gd name="T9" fmla="*/ 108 h 108"/>
                    </a:gdLst>
                    <a:ahLst/>
                    <a:cxnLst>
                      <a:cxn ang="0">
                        <a:pos x="T0" y="T1"/>
                      </a:cxn>
                      <a:cxn ang="0">
                        <a:pos x="T2" y="T3"/>
                      </a:cxn>
                      <a:cxn ang="0">
                        <a:pos x="T4" y="T5"/>
                      </a:cxn>
                      <a:cxn ang="0">
                        <a:pos x="T6" y="T7"/>
                      </a:cxn>
                      <a:cxn ang="0">
                        <a:pos x="T8" y="T9"/>
                      </a:cxn>
                    </a:cxnLst>
                    <a:rect l="0" t="0" r="r" b="b"/>
                    <a:pathLst>
                      <a:path w="290" h="108">
                        <a:moveTo>
                          <a:pt x="250" y="108"/>
                        </a:moveTo>
                        <a:lnTo>
                          <a:pt x="0" y="108"/>
                        </a:lnTo>
                        <a:lnTo>
                          <a:pt x="48" y="0"/>
                        </a:lnTo>
                        <a:lnTo>
                          <a:pt x="290" y="0"/>
                        </a:lnTo>
                        <a:lnTo>
                          <a:pt x="25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1" name="Freeform 188"/>
                  <p:cNvSpPr/>
                  <p:nvPr/>
                </p:nvSpPr>
                <p:spPr bwMode="auto">
                  <a:xfrm>
                    <a:off x="150" y="4214"/>
                    <a:ext cx="302" cy="108"/>
                  </a:xfrm>
                  <a:custGeom>
                    <a:avLst/>
                    <a:gdLst>
                      <a:gd name="T0" fmla="*/ 262 w 302"/>
                      <a:gd name="T1" fmla="*/ 108 h 108"/>
                      <a:gd name="T2" fmla="*/ 0 w 302"/>
                      <a:gd name="T3" fmla="*/ 108 h 108"/>
                      <a:gd name="T4" fmla="*/ 48 w 302"/>
                      <a:gd name="T5" fmla="*/ 0 h 108"/>
                      <a:gd name="T6" fmla="*/ 302 w 302"/>
                      <a:gd name="T7" fmla="*/ 0 h 108"/>
                      <a:gd name="T8" fmla="*/ 262 w 302"/>
                      <a:gd name="T9" fmla="*/ 108 h 108"/>
                    </a:gdLst>
                    <a:ahLst/>
                    <a:cxnLst>
                      <a:cxn ang="0">
                        <a:pos x="T0" y="T1"/>
                      </a:cxn>
                      <a:cxn ang="0">
                        <a:pos x="T2" y="T3"/>
                      </a:cxn>
                      <a:cxn ang="0">
                        <a:pos x="T4" y="T5"/>
                      </a:cxn>
                      <a:cxn ang="0">
                        <a:pos x="T6" y="T7"/>
                      </a:cxn>
                      <a:cxn ang="0">
                        <a:pos x="T8" y="T9"/>
                      </a:cxn>
                    </a:cxnLst>
                    <a:rect l="0" t="0" r="r" b="b"/>
                    <a:pathLst>
                      <a:path w="302" h="108">
                        <a:moveTo>
                          <a:pt x="262" y="108"/>
                        </a:moveTo>
                        <a:lnTo>
                          <a:pt x="0" y="108"/>
                        </a:lnTo>
                        <a:lnTo>
                          <a:pt x="48" y="0"/>
                        </a:lnTo>
                        <a:lnTo>
                          <a:pt x="302" y="0"/>
                        </a:lnTo>
                        <a:lnTo>
                          <a:pt x="26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2" name="Freeform 189"/>
                  <p:cNvSpPr/>
                  <p:nvPr/>
                </p:nvSpPr>
                <p:spPr bwMode="auto">
                  <a:xfrm>
                    <a:off x="400" y="3928"/>
                    <a:ext cx="148" cy="108"/>
                  </a:xfrm>
                  <a:custGeom>
                    <a:avLst/>
                    <a:gdLst>
                      <a:gd name="T0" fmla="*/ 108 w 148"/>
                      <a:gd name="T1" fmla="*/ 108 h 108"/>
                      <a:gd name="T2" fmla="*/ 0 w 148"/>
                      <a:gd name="T3" fmla="*/ 108 h 108"/>
                      <a:gd name="T4" fmla="*/ 44 w 148"/>
                      <a:gd name="T5" fmla="*/ 0 h 108"/>
                      <a:gd name="T6" fmla="*/ 148 w 148"/>
                      <a:gd name="T7" fmla="*/ 0 h 108"/>
                      <a:gd name="T8" fmla="*/ 108 w 148"/>
                      <a:gd name="T9" fmla="*/ 108 h 108"/>
                    </a:gdLst>
                    <a:ahLst/>
                    <a:cxnLst>
                      <a:cxn ang="0">
                        <a:pos x="T0" y="T1"/>
                      </a:cxn>
                      <a:cxn ang="0">
                        <a:pos x="T2" y="T3"/>
                      </a:cxn>
                      <a:cxn ang="0">
                        <a:pos x="T4" y="T5"/>
                      </a:cxn>
                      <a:cxn ang="0">
                        <a:pos x="T6" y="T7"/>
                      </a:cxn>
                      <a:cxn ang="0">
                        <a:pos x="T8" y="T9"/>
                      </a:cxn>
                    </a:cxnLst>
                    <a:rect l="0" t="0" r="r" b="b"/>
                    <a:pathLst>
                      <a:path w="148" h="108">
                        <a:moveTo>
                          <a:pt x="108" y="108"/>
                        </a:moveTo>
                        <a:lnTo>
                          <a:pt x="0" y="108"/>
                        </a:lnTo>
                        <a:lnTo>
                          <a:pt x="44" y="0"/>
                        </a:lnTo>
                        <a:lnTo>
                          <a:pt x="148"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3" name="Freeform 190"/>
                  <p:cNvSpPr/>
                  <p:nvPr/>
                </p:nvSpPr>
                <p:spPr bwMode="auto">
                  <a:xfrm>
                    <a:off x="528" y="3928"/>
                    <a:ext cx="144" cy="108"/>
                  </a:xfrm>
                  <a:custGeom>
                    <a:avLst/>
                    <a:gdLst>
                      <a:gd name="T0" fmla="*/ 108 w 144"/>
                      <a:gd name="T1" fmla="*/ 108 h 108"/>
                      <a:gd name="T2" fmla="*/ 0 w 144"/>
                      <a:gd name="T3" fmla="*/ 108 h 108"/>
                      <a:gd name="T4" fmla="*/ 40 w 144"/>
                      <a:gd name="T5" fmla="*/ 0 h 108"/>
                      <a:gd name="T6" fmla="*/ 144 w 144"/>
                      <a:gd name="T7" fmla="*/ 0 h 108"/>
                      <a:gd name="T8" fmla="*/ 108 w 144"/>
                      <a:gd name="T9" fmla="*/ 108 h 108"/>
                    </a:gdLst>
                    <a:ahLst/>
                    <a:cxnLst>
                      <a:cxn ang="0">
                        <a:pos x="T0" y="T1"/>
                      </a:cxn>
                      <a:cxn ang="0">
                        <a:pos x="T2" y="T3"/>
                      </a:cxn>
                      <a:cxn ang="0">
                        <a:pos x="T4" y="T5"/>
                      </a:cxn>
                      <a:cxn ang="0">
                        <a:pos x="T6" y="T7"/>
                      </a:cxn>
                      <a:cxn ang="0">
                        <a:pos x="T8" y="T9"/>
                      </a:cxn>
                    </a:cxnLst>
                    <a:rect l="0" t="0" r="r" b="b"/>
                    <a:pathLst>
                      <a:path w="144" h="108">
                        <a:moveTo>
                          <a:pt x="108" y="108"/>
                        </a:moveTo>
                        <a:lnTo>
                          <a:pt x="0" y="108"/>
                        </a:lnTo>
                        <a:lnTo>
                          <a:pt x="40" y="0"/>
                        </a:lnTo>
                        <a:lnTo>
                          <a:pt x="144"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4" name="Freeform 191"/>
                  <p:cNvSpPr/>
                  <p:nvPr/>
                </p:nvSpPr>
                <p:spPr bwMode="auto">
                  <a:xfrm>
                    <a:off x="656" y="3928"/>
                    <a:ext cx="140" cy="108"/>
                  </a:xfrm>
                  <a:custGeom>
                    <a:avLst/>
                    <a:gdLst>
                      <a:gd name="T0" fmla="*/ 108 w 140"/>
                      <a:gd name="T1" fmla="*/ 108 h 108"/>
                      <a:gd name="T2" fmla="*/ 0 w 140"/>
                      <a:gd name="T3" fmla="*/ 108 h 108"/>
                      <a:gd name="T4" fmla="*/ 36 w 140"/>
                      <a:gd name="T5" fmla="*/ 0 h 108"/>
                      <a:gd name="T6" fmla="*/ 140 w 140"/>
                      <a:gd name="T7" fmla="*/ 0 h 108"/>
                      <a:gd name="T8" fmla="*/ 108 w 140"/>
                      <a:gd name="T9" fmla="*/ 108 h 108"/>
                    </a:gdLst>
                    <a:ahLst/>
                    <a:cxnLst>
                      <a:cxn ang="0">
                        <a:pos x="T0" y="T1"/>
                      </a:cxn>
                      <a:cxn ang="0">
                        <a:pos x="T2" y="T3"/>
                      </a:cxn>
                      <a:cxn ang="0">
                        <a:pos x="T4" y="T5"/>
                      </a:cxn>
                      <a:cxn ang="0">
                        <a:pos x="T6" y="T7"/>
                      </a:cxn>
                      <a:cxn ang="0">
                        <a:pos x="T8" y="T9"/>
                      </a:cxn>
                    </a:cxnLst>
                    <a:rect l="0" t="0" r="r" b="b"/>
                    <a:pathLst>
                      <a:path w="140" h="108">
                        <a:moveTo>
                          <a:pt x="108" y="108"/>
                        </a:moveTo>
                        <a:lnTo>
                          <a:pt x="0" y="108"/>
                        </a:lnTo>
                        <a:lnTo>
                          <a:pt x="36" y="0"/>
                        </a:lnTo>
                        <a:lnTo>
                          <a:pt x="140"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5" name="Freeform 192"/>
                  <p:cNvSpPr/>
                  <p:nvPr/>
                </p:nvSpPr>
                <p:spPr bwMode="auto">
                  <a:xfrm>
                    <a:off x="784" y="3928"/>
                    <a:ext cx="136" cy="108"/>
                  </a:xfrm>
                  <a:custGeom>
                    <a:avLst/>
                    <a:gdLst>
                      <a:gd name="T0" fmla="*/ 108 w 136"/>
                      <a:gd name="T1" fmla="*/ 108 h 108"/>
                      <a:gd name="T2" fmla="*/ 0 w 136"/>
                      <a:gd name="T3" fmla="*/ 108 h 108"/>
                      <a:gd name="T4" fmla="*/ 32 w 136"/>
                      <a:gd name="T5" fmla="*/ 0 h 108"/>
                      <a:gd name="T6" fmla="*/ 136 w 136"/>
                      <a:gd name="T7" fmla="*/ 0 h 108"/>
                      <a:gd name="T8" fmla="*/ 108 w 136"/>
                      <a:gd name="T9" fmla="*/ 108 h 108"/>
                    </a:gdLst>
                    <a:ahLst/>
                    <a:cxnLst>
                      <a:cxn ang="0">
                        <a:pos x="T0" y="T1"/>
                      </a:cxn>
                      <a:cxn ang="0">
                        <a:pos x="T2" y="T3"/>
                      </a:cxn>
                      <a:cxn ang="0">
                        <a:pos x="T4" y="T5"/>
                      </a:cxn>
                      <a:cxn ang="0">
                        <a:pos x="T6" y="T7"/>
                      </a:cxn>
                      <a:cxn ang="0">
                        <a:pos x="T8" y="T9"/>
                      </a:cxn>
                    </a:cxnLst>
                    <a:rect l="0" t="0" r="r" b="b"/>
                    <a:pathLst>
                      <a:path w="136" h="108">
                        <a:moveTo>
                          <a:pt x="108" y="108"/>
                        </a:moveTo>
                        <a:lnTo>
                          <a:pt x="0" y="108"/>
                        </a:lnTo>
                        <a:lnTo>
                          <a:pt x="32" y="0"/>
                        </a:lnTo>
                        <a:lnTo>
                          <a:pt x="136"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6" name="Freeform 193"/>
                  <p:cNvSpPr/>
                  <p:nvPr/>
                </p:nvSpPr>
                <p:spPr bwMode="auto">
                  <a:xfrm>
                    <a:off x="912" y="3928"/>
                    <a:ext cx="130" cy="108"/>
                  </a:xfrm>
                  <a:custGeom>
                    <a:avLst/>
                    <a:gdLst>
                      <a:gd name="T0" fmla="*/ 108 w 130"/>
                      <a:gd name="T1" fmla="*/ 108 h 108"/>
                      <a:gd name="T2" fmla="*/ 0 w 130"/>
                      <a:gd name="T3" fmla="*/ 108 h 108"/>
                      <a:gd name="T4" fmla="*/ 28 w 130"/>
                      <a:gd name="T5" fmla="*/ 0 h 108"/>
                      <a:gd name="T6" fmla="*/ 130 w 130"/>
                      <a:gd name="T7" fmla="*/ 0 h 108"/>
                      <a:gd name="T8" fmla="*/ 108 w 130"/>
                      <a:gd name="T9" fmla="*/ 108 h 108"/>
                    </a:gdLst>
                    <a:ahLst/>
                    <a:cxnLst>
                      <a:cxn ang="0">
                        <a:pos x="T0" y="T1"/>
                      </a:cxn>
                      <a:cxn ang="0">
                        <a:pos x="T2" y="T3"/>
                      </a:cxn>
                      <a:cxn ang="0">
                        <a:pos x="T4" y="T5"/>
                      </a:cxn>
                      <a:cxn ang="0">
                        <a:pos x="T6" y="T7"/>
                      </a:cxn>
                      <a:cxn ang="0">
                        <a:pos x="T8" y="T9"/>
                      </a:cxn>
                    </a:cxnLst>
                    <a:rect l="0" t="0" r="r" b="b"/>
                    <a:pathLst>
                      <a:path w="130" h="108">
                        <a:moveTo>
                          <a:pt x="108" y="108"/>
                        </a:moveTo>
                        <a:lnTo>
                          <a:pt x="0" y="108"/>
                        </a:lnTo>
                        <a:lnTo>
                          <a:pt x="28" y="0"/>
                        </a:lnTo>
                        <a:lnTo>
                          <a:pt x="130"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7" name="Freeform 194"/>
                  <p:cNvSpPr/>
                  <p:nvPr/>
                </p:nvSpPr>
                <p:spPr bwMode="auto">
                  <a:xfrm>
                    <a:off x="1040" y="3928"/>
                    <a:ext cx="126" cy="108"/>
                  </a:xfrm>
                  <a:custGeom>
                    <a:avLst/>
                    <a:gdLst>
                      <a:gd name="T0" fmla="*/ 108 w 126"/>
                      <a:gd name="T1" fmla="*/ 108 h 108"/>
                      <a:gd name="T2" fmla="*/ 0 w 126"/>
                      <a:gd name="T3" fmla="*/ 108 h 108"/>
                      <a:gd name="T4" fmla="*/ 24 w 126"/>
                      <a:gd name="T5" fmla="*/ 0 h 108"/>
                      <a:gd name="T6" fmla="*/ 126 w 126"/>
                      <a:gd name="T7" fmla="*/ 0 h 108"/>
                      <a:gd name="T8" fmla="*/ 108 w 126"/>
                      <a:gd name="T9" fmla="*/ 108 h 108"/>
                    </a:gdLst>
                    <a:ahLst/>
                    <a:cxnLst>
                      <a:cxn ang="0">
                        <a:pos x="T0" y="T1"/>
                      </a:cxn>
                      <a:cxn ang="0">
                        <a:pos x="T2" y="T3"/>
                      </a:cxn>
                      <a:cxn ang="0">
                        <a:pos x="T4" y="T5"/>
                      </a:cxn>
                      <a:cxn ang="0">
                        <a:pos x="T6" y="T7"/>
                      </a:cxn>
                      <a:cxn ang="0">
                        <a:pos x="T8" y="T9"/>
                      </a:cxn>
                    </a:cxnLst>
                    <a:rect l="0" t="0" r="r" b="b"/>
                    <a:pathLst>
                      <a:path w="126" h="108">
                        <a:moveTo>
                          <a:pt x="108" y="108"/>
                        </a:moveTo>
                        <a:lnTo>
                          <a:pt x="0" y="108"/>
                        </a:lnTo>
                        <a:lnTo>
                          <a:pt x="24" y="0"/>
                        </a:lnTo>
                        <a:lnTo>
                          <a:pt x="126" y="0"/>
                        </a:lnTo>
                        <a:lnTo>
                          <a:pt x="10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8" name="Freeform 195"/>
                  <p:cNvSpPr/>
                  <p:nvPr/>
                </p:nvSpPr>
                <p:spPr bwMode="auto">
                  <a:xfrm>
                    <a:off x="1168" y="3928"/>
                    <a:ext cx="122" cy="108"/>
                  </a:xfrm>
                  <a:custGeom>
                    <a:avLst/>
                    <a:gdLst>
                      <a:gd name="T0" fmla="*/ 106 w 122"/>
                      <a:gd name="T1" fmla="*/ 108 h 108"/>
                      <a:gd name="T2" fmla="*/ 0 w 122"/>
                      <a:gd name="T3" fmla="*/ 108 h 108"/>
                      <a:gd name="T4" fmla="*/ 20 w 122"/>
                      <a:gd name="T5" fmla="*/ 0 h 108"/>
                      <a:gd name="T6" fmla="*/ 122 w 122"/>
                      <a:gd name="T7" fmla="*/ 0 h 108"/>
                      <a:gd name="T8" fmla="*/ 106 w 122"/>
                      <a:gd name="T9" fmla="*/ 108 h 108"/>
                    </a:gdLst>
                    <a:ahLst/>
                    <a:cxnLst>
                      <a:cxn ang="0">
                        <a:pos x="T0" y="T1"/>
                      </a:cxn>
                      <a:cxn ang="0">
                        <a:pos x="T2" y="T3"/>
                      </a:cxn>
                      <a:cxn ang="0">
                        <a:pos x="T4" y="T5"/>
                      </a:cxn>
                      <a:cxn ang="0">
                        <a:pos x="T6" y="T7"/>
                      </a:cxn>
                      <a:cxn ang="0">
                        <a:pos x="T8" y="T9"/>
                      </a:cxn>
                    </a:cxnLst>
                    <a:rect l="0" t="0" r="r" b="b"/>
                    <a:pathLst>
                      <a:path w="122" h="108">
                        <a:moveTo>
                          <a:pt x="106" y="108"/>
                        </a:moveTo>
                        <a:lnTo>
                          <a:pt x="0" y="108"/>
                        </a:lnTo>
                        <a:lnTo>
                          <a:pt x="20" y="0"/>
                        </a:lnTo>
                        <a:lnTo>
                          <a:pt x="122" y="0"/>
                        </a:lnTo>
                        <a:lnTo>
                          <a:pt x="10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59" name="Freeform 196"/>
                  <p:cNvSpPr/>
                  <p:nvPr/>
                </p:nvSpPr>
                <p:spPr bwMode="auto">
                  <a:xfrm>
                    <a:off x="1296" y="3928"/>
                    <a:ext cx="118" cy="108"/>
                  </a:xfrm>
                  <a:custGeom>
                    <a:avLst/>
                    <a:gdLst>
                      <a:gd name="T0" fmla="*/ 106 w 118"/>
                      <a:gd name="T1" fmla="*/ 108 h 108"/>
                      <a:gd name="T2" fmla="*/ 0 w 118"/>
                      <a:gd name="T3" fmla="*/ 108 h 108"/>
                      <a:gd name="T4" fmla="*/ 16 w 118"/>
                      <a:gd name="T5" fmla="*/ 0 h 108"/>
                      <a:gd name="T6" fmla="*/ 118 w 118"/>
                      <a:gd name="T7" fmla="*/ 0 h 108"/>
                      <a:gd name="T8" fmla="*/ 106 w 118"/>
                      <a:gd name="T9" fmla="*/ 108 h 108"/>
                    </a:gdLst>
                    <a:ahLst/>
                    <a:cxnLst>
                      <a:cxn ang="0">
                        <a:pos x="T0" y="T1"/>
                      </a:cxn>
                      <a:cxn ang="0">
                        <a:pos x="T2" y="T3"/>
                      </a:cxn>
                      <a:cxn ang="0">
                        <a:pos x="T4" y="T5"/>
                      </a:cxn>
                      <a:cxn ang="0">
                        <a:pos x="T6" y="T7"/>
                      </a:cxn>
                      <a:cxn ang="0">
                        <a:pos x="T8" y="T9"/>
                      </a:cxn>
                    </a:cxnLst>
                    <a:rect l="0" t="0" r="r" b="b"/>
                    <a:pathLst>
                      <a:path w="118" h="108">
                        <a:moveTo>
                          <a:pt x="106" y="108"/>
                        </a:moveTo>
                        <a:lnTo>
                          <a:pt x="0" y="108"/>
                        </a:lnTo>
                        <a:lnTo>
                          <a:pt x="16" y="0"/>
                        </a:lnTo>
                        <a:lnTo>
                          <a:pt x="118" y="0"/>
                        </a:lnTo>
                        <a:lnTo>
                          <a:pt x="10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0" name="Freeform 197"/>
                  <p:cNvSpPr/>
                  <p:nvPr/>
                </p:nvSpPr>
                <p:spPr bwMode="auto">
                  <a:xfrm>
                    <a:off x="1424" y="3928"/>
                    <a:ext cx="114" cy="108"/>
                  </a:xfrm>
                  <a:custGeom>
                    <a:avLst/>
                    <a:gdLst>
                      <a:gd name="T0" fmla="*/ 106 w 114"/>
                      <a:gd name="T1" fmla="*/ 108 h 108"/>
                      <a:gd name="T2" fmla="*/ 0 w 114"/>
                      <a:gd name="T3" fmla="*/ 108 h 108"/>
                      <a:gd name="T4" fmla="*/ 10 w 114"/>
                      <a:gd name="T5" fmla="*/ 0 h 108"/>
                      <a:gd name="T6" fmla="*/ 114 w 114"/>
                      <a:gd name="T7" fmla="*/ 0 h 108"/>
                      <a:gd name="T8" fmla="*/ 106 w 114"/>
                      <a:gd name="T9" fmla="*/ 108 h 108"/>
                    </a:gdLst>
                    <a:ahLst/>
                    <a:cxnLst>
                      <a:cxn ang="0">
                        <a:pos x="T0" y="T1"/>
                      </a:cxn>
                      <a:cxn ang="0">
                        <a:pos x="T2" y="T3"/>
                      </a:cxn>
                      <a:cxn ang="0">
                        <a:pos x="T4" y="T5"/>
                      </a:cxn>
                      <a:cxn ang="0">
                        <a:pos x="T6" y="T7"/>
                      </a:cxn>
                      <a:cxn ang="0">
                        <a:pos x="T8" y="T9"/>
                      </a:cxn>
                    </a:cxnLst>
                    <a:rect l="0" t="0" r="r" b="b"/>
                    <a:pathLst>
                      <a:path w="114" h="108">
                        <a:moveTo>
                          <a:pt x="106" y="108"/>
                        </a:moveTo>
                        <a:lnTo>
                          <a:pt x="0" y="108"/>
                        </a:lnTo>
                        <a:lnTo>
                          <a:pt x="10" y="0"/>
                        </a:lnTo>
                        <a:lnTo>
                          <a:pt x="114" y="0"/>
                        </a:lnTo>
                        <a:lnTo>
                          <a:pt x="10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1" name="Freeform 198"/>
                  <p:cNvSpPr/>
                  <p:nvPr/>
                </p:nvSpPr>
                <p:spPr bwMode="auto">
                  <a:xfrm>
                    <a:off x="1552" y="3928"/>
                    <a:ext cx="110" cy="108"/>
                  </a:xfrm>
                  <a:custGeom>
                    <a:avLst/>
                    <a:gdLst>
                      <a:gd name="T0" fmla="*/ 106 w 110"/>
                      <a:gd name="T1" fmla="*/ 108 h 108"/>
                      <a:gd name="T2" fmla="*/ 0 w 110"/>
                      <a:gd name="T3" fmla="*/ 108 h 108"/>
                      <a:gd name="T4" fmla="*/ 6 w 110"/>
                      <a:gd name="T5" fmla="*/ 0 h 108"/>
                      <a:gd name="T6" fmla="*/ 110 w 110"/>
                      <a:gd name="T7" fmla="*/ 0 h 108"/>
                      <a:gd name="T8" fmla="*/ 106 w 110"/>
                      <a:gd name="T9" fmla="*/ 108 h 108"/>
                    </a:gdLst>
                    <a:ahLst/>
                    <a:cxnLst>
                      <a:cxn ang="0">
                        <a:pos x="T0" y="T1"/>
                      </a:cxn>
                      <a:cxn ang="0">
                        <a:pos x="T2" y="T3"/>
                      </a:cxn>
                      <a:cxn ang="0">
                        <a:pos x="T4" y="T5"/>
                      </a:cxn>
                      <a:cxn ang="0">
                        <a:pos x="T6" y="T7"/>
                      </a:cxn>
                      <a:cxn ang="0">
                        <a:pos x="T8" y="T9"/>
                      </a:cxn>
                    </a:cxnLst>
                    <a:rect l="0" t="0" r="r" b="b"/>
                    <a:pathLst>
                      <a:path w="110" h="108">
                        <a:moveTo>
                          <a:pt x="106" y="108"/>
                        </a:moveTo>
                        <a:lnTo>
                          <a:pt x="0" y="108"/>
                        </a:lnTo>
                        <a:lnTo>
                          <a:pt x="6" y="0"/>
                        </a:lnTo>
                        <a:lnTo>
                          <a:pt x="110" y="0"/>
                        </a:lnTo>
                        <a:lnTo>
                          <a:pt x="10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2" name="Freeform 199"/>
                  <p:cNvSpPr/>
                  <p:nvPr/>
                </p:nvSpPr>
                <p:spPr bwMode="auto">
                  <a:xfrm>
                    <a:off x="1680" y="3928"/>
                    <a:ext cx="106" cy="108"/>
                  </a:xfrm>
                  <a:custGeom>
                    <a:avLst/>
                    <a:gdLst>
                      <a:gd name="T0" fmla="*/ 106 w 106"/>
                      <a:gd name="T1" fmla="*/ 108 h 108"/>
                      <a:gd name="T2" fmla="*/ 0 w 106"/>
                      <a:gd name="T3" fmla="*/ 108 h 108"/>
                      <a:gd name="T4" fmla="*/ 2 w 106"/>
                      <a:gd name="T5" fmla="*/ 0 h 108"/>
                      <a:gd name="T6" fmla="*/ 106 w 106"/>
                      <a:gd name="T7" fmla="*/ 0 h 108"/>
                      <a:gd name="T8" fmla="*/ 106 w 106"/>
                      <a:gd name="T9" fmla="*/ 108 h 108"/>
                    </a:gdLst>
                    <a:ahLst/>
                    <a:cxnLst>
                      <a:cxn ang="0">
                        <a:pos x="T0" y="T1"/>
                      </a:cxn>
                      <a:cxn ang="0">
                        <a:pos x="T2" y="T3"/>
                      </a:cxn>
                      <a:cxn ang="0">
                        <a:pos x="T4" y="T5"/>
                      </a:cxn>
                      <a:cxn ang="0">
                        <a:pos x="T6" y="T7"/>
                      </a:cxn>
                      <a:cxn ang="0">
                        <a:pos x="T8" y="T9"/>
                      </a:cxn>
                    </a:cxnLst>
                    <a:rect l="0" t="0" r="r" b="b"/>
                    <a:pathLst>
                      <a:path w="106" h="108">
                        <a:moveTo>
                          <a:pt x="106" y="108"/>
                        </a:moveTo>
                        <a:lnTo>
                          <a:pt x="0" y="108"/>
                        </a:lnTo>
                        <a:lnTo>
                          <a:pt x="2" y="0"/>
                        </a:lnTo>
                        <a:lnTo>
                          <a:pt x="106" y="0"/>
                        </a:lnTo>
                        <a:lnTo>
                          <a:pt x="10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3" name="Freeform 200"/>
                  <p:cNvSpPr/>
                  <p:nvPr/>
                </p:nvSpPr>
                <p:spPr bwMode="auto">
                  <a:xfrm>
                    <a:off x="1806" y="3928"/>
                    <a:ext cx="109" cy="108"/>
                  </a:xfrm>
                  <a:custGeom>
                    <a:avLst/>
                    <a:gdLst>
                      <a:gd name="T0" fmla="*/ 109 w 109"/>
                      <a:gd name="T1" fmla="*/ 108 h 108"/>
                      <a:gd name="T2" fmla="*/ 2 w 109"/>
                      <a:gd name="T3" fmla="*/ 108 h 108"/>
                      <a:gd name="T4" fmla="*/ 0 w 109"/>
                      <a:gd name="T5" fmla="*/ 0 h 108"/>
                      <a:gd name="T6" fmla="*/ 105 w 109"/>
                      <a:gd name="T7" fmla="*/ 0 h 108"/>
                      <a:gd name="T8" fmla="*/ 109 w 109"/>
                      <a:gd name="T9" fmla="*/ 108 h 108"/>
                    </a:gdLst>
                    <a:ahLst/>
                    <a:cxnLst>
                      <a:cxn ang="0">
                        <a:pos x="T0" y="T1"/>
                      </a:cxn>
                      <a:cxn ang="0">
                        <a:pos x="T2" y="T3"/>
                      </a:cxn>
                      <a:cxn ang="0">
                        <a:pos x="T4" y="T5"/>
                      </a:cxn>
                      <a:cxn ang="0">
                        <a:pos x="T6" y="T7"/>
                      </a:cxn>
                      <a:cxn ang="0">
                        <a:pos x="T8" y="T9"/>
                      </a:cxn>
                    </a:cxnLst>
                    <a:rect l="0" t="0" r="r" b="b"/>
                    <a:pathLst>
                      <a:path w="109" h="108">
                        <a:moveTo>
                          <a:pt x="109" y="108"/>
                        </a:moveTo>
                        <a:lnTo>
                          <a:pt x="2" y="108"/>
                        </a:lnTo>
                        <a:lnTo>
                          <a:pt x="0" y="0"/>
                        </a:lnTo>
                        <a:lnTo>
                          <a:pt x="105" y="0"/>
                        </a:lnTo>
                        <a:lnTo>
                          <a:pt x="109"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4" name="Freeform 201"/>
                  <p:cNvSpPr/>
                  <p:nvPr/>
                </p:nvSpPr>
                <p:spPr bwMode="auto">
                  <a:xfrm>
                    <a:off x="1931" y="3928"/>
                    <a:ext cx="112" cy="108"/>
                  </a:xfrm>
                  <a:custGeom>
                    <a:avLst/>
                    <a:gdLst>
                      <a:gd name="T0" fmla="*/ 112 w 112"/>
                      <a:gd name="T1" fmla="*/ 108 h 108"/>
                      <a:gd name="T2" fmla="*/ 6 w 112"/>
                      <a:gd name="T3" fmla="*/ 108 h 108"/>
                      <a:gd name="T4" fmla="*/ 0 w 112"/>
                      <a:gd name="T5" fmla="*/ 0 h 108"/>
                      <a:gd name="T6" fmla="*/ 104 w 112"/>
                      <a:gd name="T7" fmla="*/ 0 h 108"/>
                      <a:gd name="T8" fmla="*/ 112 w 112"/>
                      <a:gd name="T9" fmla="*/ 108 h 108"/>
                    </a:gdLst>
                    <a:ahLst/>
                    <a:cxnLst>
                      <a:cxn ang="0">
                        <a:pos x="T0" y="T1"/>
                      </a:cxn>
                      <a:cxn ang="0">
                        <a:pos x="T2" y="T3"/>
                      </a:cxn>
                      <a:cxn ang="0">
                        <a:pos x="T4" y="T5"/>
                      </a:cxn>
                      <a:cxn ang="0">
                        <a:pos x="T6" y="T7"/>
                      </a:cxn>
                      <a:cxn ang="0">
                        <a:pos x="T8" y="T9"/>
                      </a:cxn>
                    </a:cxnLst>
                    <a:rect l="0" t="0" r="r" b="b"/>
                    <a:pathLst>
                      <a:path w="112" h="108">
                        <a:moveTo>
                          <a:pt x="112" y="108"/>
                        </a:moveTo>
                        <a:lnTo>
                          <a:pt x="6" y="108"/>
                        </a:lnTo>
                        <a:lnTo>
                          <a:pt x="0" y="0"/>
                        </a:lnTo>
                        <a:lnTo>
                          <a:pt x="104"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5" name="Freeform 202"/>
                  <p:cNvSpPr/>
                  <p:nvPr/>
                </p:nvSpPr>
                <p:spPr bwMode="auto">
                  <a:xfrm>
                    <a:off x="2055" y="3928"/>
                    <a:ext cx="116" cy="108"/>
                  </a:xfrm>
                  <a:custGeom>
                    <a:avLst/>
                    <a:gdLst>
                      <a:gd name="T0" fmla="*/ 116 w 116"/>
                      <a:gd name="T1" fmla="*/ 108 h 108"/>
                      <a:gd name="T2" fmla="*/ 10 w 116"/>
                      <a:gd name="T3" fmla="*/ 108 h 108"/>
                      <a:gd name="T4" fmla="*/ 0 w 116"/>
                      <a:gd name="T5" fmla="*/ 0 h 108"/>
                      <a:gd name="T6" fmla="*/ 102 w 116"/>
                      <a:gd name="T7" fmla="*/ 0 h 108"/>
                      <a:gd name="T8" fmla="*/ 116 w 116"/>
                      <a:gd name="T9" fmla="*/ 108 h 108"/>
                    </a:gdLst>
                    <a:ahLst/>
                    <a:cxnLst>
                      <a:cxn ang="0">
                        <a:pos x="T0" y="T1"/>
                      </a:cxn>
                      <a:cxn ang="0">
                        <a:pos x="T2" y="T3"/>
                      </a:cxn>
                      <a:cxn ang="0">
                        <a:pos x="T4" y="T5"/>
                      </a:cxn>
                      <a:cxn ang="0">
                        <a:pos x="T6" y="T7"/>
                      </a:cxn>
                      <a:cxn ang="0">
                        <a:pos x="T8" y="T9"/>
                      </a:cxn>
                    </a:cxnLst>
                    <a:rect l="0" t="0" r="r" b="b"/>
                    <a:pathLst>
                      <a:path w="116" h="108">
                        <a:moveTo>
                          <a:pt x="116" y="108"/>
                        </a:moveTo>
                        <a:lnTo>
                          <a:pt x="10" y="108"/>
                        </a:lnTo>
                        <a:lnTo>
                          <a:pt x="0" y="0"/>
                        </a:lnTo>
                        <a:lnTo>
                          <a:pt x="102"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6" name="Freeform 203"/>
                  <p:cNvSpPr/>
                  <p:nvPr/>
                </p:nvSpPr>
                <p:spPr bwMode="auto">
                  <a:xfrm>
                    <a:off x="2179" y="3928"/>
                    <a:ext cx="120" cy="108"/>
                  </a:xfrm>
                  <a:custGeom>
                    <a:avLst/>
                    <a:gdLst>
                      <a:gd name="T0" fmla="*/ 120 w 120"/>
                      <a:gd name="T1" fmla="*/ 108 h 108"/>
                      <a:gd name="T2" fmla="*/ 14 w 120"/>
                      <a:gd name="T3" fmla="*/ 108 h 108"/>
                      <a:gd name="T4" fmla="*/ 0 w 120"/>
                      <a:gd name="T5" fmla="*/ 0 h 108"/>
                      <a:gd name="T6" fmla="*/ 102 w 120"/>
                      <a:gd name="T7" fmla="*/ 0 h 108"/>
                      <a:gd name="T8" fmla="*/ 120 w 120"/>
                      <a:gd name="T9" fmla="*/ 108 h 108"/>
                    </a:gdLst>
                    <a:ahLst/>
                    <a:cxnLst>
                      <a:cxn ang="0">
                        <a:pos x="T0" y="T1"/>
                      </a:cxn>
                      <a:cxn ang="0">
                        <a:pos x="T2" y="T3"/>
                      </a:cxn>
                      <a:cxn ang="0">
                        <a:pos x="T4" y="T5"/>
                      </a:cxn>
                      <a:cxn ang="0">
                        <a:pos x="T6" y="T7"/>
                      </a:cxn>
                      <a:cxn ang="0">
                        <a:pos x="T8" y="T9"/>
                      </a:cxn>
                    </a:cxnLst>
                    <a:rect l="0" t="0" r="r" b="b"/>
                    <a:pathLst>
                      <a:path w="120" h="108">
                        <a:moveTo>
                          <a:pt x="120" y="108"/>
                        </a:moveTo>
                        <a:lnTo>
                          <a:pt x="14" y="108"/>
                        </a:lnTo>
                        <a:lnTo>
                          <a:pt x="0" y="0"/>
                        </a:lnTo>
                        <a:lnTo>
                          <a:pt x="102" y="0"/>
                        </a:lnTo>
                        <a:lnTo>
                          <a:pt x="12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367" name="Freeform 204"/>
                  <p:cNvSpPr/>
                  <p:nvPr/>
                </p:nvSpPr>
                <p:spPr bwMode="auto">
                  <a:xfrm>
                    <a:off x="2303" y="3928"/>
                    <a:ext cx="124" cy="108"/>
                  </a:xfrm>
                  <a:custGeom>
                    <a:avLst/>
                    <a:gdLst>
                      <a:gd name="T0" fmla="*/ 124 w 124"/>
                      <a:gd name="T1" fmla="*/ 108 h 108"/>
                      <a:gd name="T2" fmla="*/ 18 w 124"/>
                      <a:gd name="T3" fmla="*/ 108 h 108"/>
                      <a:gd name="T4" fmla="*/ 0 w 124"/>
                      <a:gd name="T5" fmla="*/ 0 h 108"/>
                      <a:gd name="T6" fmla="*/ 102 w 124"/>
                      <a:gd name="T7" fmla="*/ 0 h 108"/>
                      <a:gd name="T8" fmla="*/ 124 w 124"/>
                      <a:gd name="T9" fmla="*/ 108 h 108"/>
                    </a:gdLst>
                    <a:ahLst/>
                    <a:cxnLst>
                      <a:cxn ang="0">
                        <a:pos x="T0" y="T1"/>
                      </a:cxn>
                      <a:cxn ang="0">
                        <a:pos x="T2" y="T3"/>
                      </a:cxn>
                      <a:cxn ang="0">
                        <a:pos x="T4" y="T5"/>
                      </a:cxn>
                      <a:cxn ang="0">
                        <a:pos x="T6" y="T7"/>
                      </a:cxn>
                      <a:cxn ang="0">
                        <a:pos x="T8" y="T9"/>
                      </a:cxn>
                    </a:cxnLst>
                    <a:rect l="0" t="0" r="r" b="b"/>
                    <a:pathLst>
                      <a:path w="124" h="108">
                        <a:moveTo>
                          <a:pt x="124" y="108"/>
                        </a:moveTo>
                        <a:lnTo>
                          <a:pt x="18" y="108"/>
                        </a:lnTo>
                        <a:lnTo>
                          <a:pt x="0" y="0"/>
                        </a:lnTo>
                        <a:lnTo>
                          <a:pt x="102" y="0"/>
                        </a:lnTo>
                        <a:lnTo>
                          <a:pt x="12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grpSp>
            <p:sp>
              <p:nvSpPr>
                <p:cNvPr id="54" name="Freeform 206"/>
                <p:cNvSpPr/>
                <p:nvPr/>
              </p:nvSpPr>
              <p:spPr bwMode="auto">
                <a:xfrm>
                  <a:off x="6932264" y="5098627"/>
                  <a:ext cx="180073" cy="149599"/>
                </a:xfrm>
                <a:custGeom>
                  <a:avLst/>
                  <a:gdLst>
                    <a:gd name="T0" fmla="*/ 130 w 130"/>
                    <a:gd name="T1" fmla="*/ 108 h 108"/>
                    <a:gd name="T2" fmla="*/ 24 w 130"/>
                    <a:gd name="T3" fmla="*/ 108 h 108"/>
                    <a:gd name="T4" fmla="*/ 0 w 130"/>
                    <a:gd name="T5" fmla="*/ 0 h 108"/>
                    <a:gd name="T6" fmla="*/ 104 w 130"/>
                    <a:gd name="T7" fmla="*/ 0 h 108"/>
                    <a:gd name="T8" fmla="*/ 130 w 130"/>
                    <a:gd name="T9" fmla="*/ 108 h 108"/>
                  </a:gdLst>
                  <a:ahLst/>
                  <a:cxnLst>
                    <a:cxn ang="0">
                      <a:pos x="T0" y="T1"/>
                    </a:cxn>
                    <a:cxn ang="0">
                      <a:pos x="T2" y="T3"/>
                    </a:cxn>
                    <a:cxn ang="0">
                      <a:pos x="T4" y="T5"/>
                    </a:cxn>
                    <a:cxn ang="0">
                      <a:pos x="T6" y="T7"/>
                    </a:cxn>
                    <a:cxn ang="0">
                      <a:pos x="T8" y="T9"/>
                    </a:cxn>
                  </a:cxnLst>
                  <a:rect l="0" t="0" r="r" b="b"/>
                  <a:pathLst>
                    <a:path w="130" h="108">
                      <a:moveTo>
                        <a:pt x="130" y="108"/>
                      </a:moveTo>
                      <a:lnTo>
                        <a:pt x="24" y="108"/>
                      </a:lnTo>
                      <a:lnTo>
                        <a:pt x="0" y="0"/>
                      </a:lnTo>
                      <a:lnTo>
                        <a:pt x="104" y="0"/>
                      </a:lnTo>
                      <a:lnTo>
                        <a:pt x="13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55" name="Freeform 207"/>
                <p:cNvSpPr/>
                <p:nvPr/>
              </p:nvSpPr>
              <p:spPr bwMode="auto">
                <a:xfrm>
                  <a:off x="7104025" y="5098627"/>
                  <a:ext cx="185614" cy="149599"/>
                </a:xfrm>
                <a:custGeom>
                  <a:avLst/>
                  <a:gdLst>
                    <a:gd name="T0" fmla="*/ 134 w 134"/>
                    <a:gd name="T1" fmla="*/ 108 h 108"/>
                    <a:gd name="T2" fmla="*/ 28 w 134"/>
                    <a:gd name="T3" fmla="*/ 108 h 108"/>
                    <a:gd name="T4" fmla="*/ 0 w 134"/>
                    <a:gd name="T5" fmla="*/ 0 h 108"/>
                    <a:gd name="T6" fmla="*/ 104 w 134"/>
                    <a:gd name="T7" fmla="*/ 0 h 108"/>
                    <a:gd name="T8" fmla="*/ 134 w 134"/>
                    <a:gd name="T9" fmla="*/ 108 h 108"/>
                  </a:gdLst>
                  <a:ahLst/>
                  <a:cxnLst>
                    <a:cxn ang="0">
                      <a:pos x="T0" y="T1"/>
                    </a:cxn>
                    <a:cxn ang="0">
                      <a:pos x="T2" y="T3"/>
                    </a:cxn>
                    <a:cxn ang="0">
                      <a:pos x="T4" y="T5"/>
                    </a:cxn>
                    <a:cxn ang="0">
                      <a:pos x="T6" y="T7"/>
                    </a:cxn>
                    <a:cxn ang="0">
                      <a:pos x="T8" y="T9"/>
                    </a:cxn>
                  </a:cxnLst>
                  <a:rect l="0" t="0" r="r" b="b"/>
                  <a:pathLst>
                    <a:path w="134" h="108">
                      <a:moveTo>
                        <a:pt x="134" y="108"/>
                      </a:moveTo>
                      <a:lnTo>
                        <a:pt x="28" y="108"/>
                      </a:lnTo>
                      <a:lnTo>
                        <a:pt x="0" y="0"/>
                      </a:lnTo>
                      <a:lnTo>
                        <a:pt x="104" y="0"/>
                      </a:lnTo>
                      <a:lnTo>
                        <a:pt x="13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56" name="Freeform 208"/>
                <p:cNvSpPr/>
                <p:nvPr/>
              </p:nvSpPr>
              <p:spPr bwMode="auto">
                <a:xfrm>
                  <a:off x="7275787" y="5098627"/>
                  <a:ext cx="191154" cy="149599"/>
                </a:xfrm>
                <a:custGeom>
                  <a:avLst/>
                  <a:gdLst>
                    <a:gd name="T0" fmla="*/ 138 w 138"/>
                    <a:gd name="T1" fmla="*/ 108 h 108"/>
                    <a:gd name="T2" fmla="*/ 32 w 138"/>
                    <a:gd name="T3" fmla="*/ 108 h 108"/>
                    <a:gd name="T4" fmla="*/ 0 w 138"/>
                    <a:gd name="T5" fmla="*/ 0 h 108"/>
                    <a:gd name="T6" fmla="*/ 104 w 138"/>
                    <a:gd name="T7" fmla="*/ 0 h 108"/>
                    <a:gd name="T8" fmla="*/ 138 w 138"/>
                    <a:gd name="T9" fmla="*/ 108 h 108"/>
                  </a:gdLst>
                  <a:ahLst/>
                  <a:cxnLst>
                    <a:cxn ang="0">
                      <a:pos x="T0" y="T1"/>
                    </a:cxn>
                    <a:cxn ang="0">
                      <a:pos x="T2" y="T3"/>
                    </a:cxn>
                    <a:cxn ang="0">
                      <a:pos x="T4" y="T5"/>
                    </a:cxn>
                    <a:cxn ang="0">
                      <a:pos x="T6" y="T7"/>
                    </a:cxn>
                    <a:cxn ang="0">
                      <a:pos x="T8" y="T9"/>
                    </a:cxn>
                  </a:cxnLst>
                  <a:rect l="0" t="0" r="r" b="b"/>
                  <a:pathLst>
                    <a:path w="138" h="108">
                      <a:moveTo>
                        <a:pt x="138" y="108"/>
                      </a:moveTo>
                      <a:lnTo>
                        <a:pt x="32" y="108"/>
                      </a:lnTo>
                      <a:lnTo>
                        <a:pt x="0" y="0"/>
                      </a:lnTo>
                      <a:lnTo>
                        <a:pt x="104" y="0"/>
                      </a:lnTo>
                      <a:lnTo>
                        <a:pt x="13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57" name="Freeform 209"/>
                <p:cNvSpPr/>
                <p:nvPr/>
              </p:nvSpPr>
              <p:spPr bwMode="auto">
                <a:xfrm>
                  <a:off x="7447549" y="5098627"/>
                  <a:ext cx="196695" cy="149599"/>
                </a:xfrm>
                <a:custGeom>
                  <a:avLst/>
                  <a:gdLst>
                    <a:gd name="T0" fmla="*/ 142 w 142"/>
                    <a:gd name="T1" fmla="*/ 108 h 108"/>
                    <a:gd name="T2" fmla="*/ 36 w 142"/>
                    <a:gd name="T3" fmla="*/ 108 h 108"/>
                    <a:gd name="T4" fmla="*/ 0 w 142"/>
                    <a:gd name="T5" fmla="*/ 0 h 108"/>
                    <a:gd name="T6" fmla="*/ 104 w 142"/>
                    <a:gd name="T7" fmla="*/ 0 h 108"/>
                    <a:gd name="T8" fmla="*/ 142 w 142"/>
                    <a:gd name="T9" fmla="*/ 108 h 108"/>
                  </a:gdLst>
                  <a:ahLst/>
                  <a:cxnLst>
                    <a:cxn ang="0">
                      <a:pos x="T0" y="T1"/>
                    </a:cxn>
                    <a:cxn ang="0">
                      <a:pos x="T2" y="T3"/>
                    </a:cxn>
                    <a:cxn ang="0">
                      <a:pos x="T4" y="T5"/>
                    </a:cxn>
                    <a:cxn ang="0">
                      <a:pos x="T6" y="T7"/>
                    </a:cxn>
                    <a:cxn ang="0">
                      <a:pos x="T8" y="T9"/>
                    </a:cxn>
                  </a:cxnLst>
                  <a:rect l="0" t="0" r="r" b="b"/>
                  <a:pathLst>
                    <a:path w="142" h="108">
                      <a:moveTo>
                        <a:pt x="142" y="108"/>
                      </a:moveTo>
                      <a:lnTo>
                        <a:pt x="36" y="108"/>
                      </a:lnTo>
                      <a:lnTo>
                        <a:pt x="0" y="0"/>
                      </a:lnTo>
                      <a:lnTo>
                        <a:pt x="104" y="0"/>
                      </a:lnTo>
                      <a:lnTo>
                        <a:pt x="14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58" name="Freeform 210"/>
                <p:cNvSpPr/>
                <p:nvPr/>
              </p:nvSpPr>
              <p:spPr bwMode="auto">
                <a:xfrm>
                  <a:off x="7619311" y="5098627"/>
                  <a:ext cx="202236" cy="149599"/>
                </a:xfrm>
                <a:custGeom>
                  <a:avLst/>
                  <a:gdLst>
                    <a:gd name="T0" fmla="*/ 146 w 146"/>
                    <a:gd name="T1" fmla="*/ 108 h 108"/>
                    <a:gd name="T2" fmla="*/ 40 w 146"/>
                    <a:gd name="T3" fmla="*/ 108 h 108"/>
                    <a:gd name="T4" fmla="*/ 0 w 146"/>
                    <a:gd name="T5" fmla="*/ 0 h 108"/>
                    <a:gd name="T6" fmla="*/ 104 w 146"/>
                    <a:gd name="T7" fmla="*/ 0 h 108"/>
                    <a:gd name="T8" fmla="*/ 146 w 146"/>
                    <a:gd name="T9" fmla="*/ 108 h 108"/>
                  </a:gdLst>
                  <a:ahLst/>
                  <a:cxnLst>
                    <a:cxn ang="0">
                      <a:pos x="T0" y="T1"/>
                    </a:cxn>
                    <a:cxn ang="0">
                      <a:pos x="T2" y="T3"/>
                    </a:cxn>
                    <a:cxn ang="0">
                      <a:pos x="T4" y="T5"/>
                    </a:cxn>
                    <a:cxn ang="0">
                      <a:pos x="T6" y="T7"/>
                    </a:cxn>
                    <a:cxn ang="0">
                      <a:pos x="T8" y="T9"/>
                    </a:cxn>
                  </a:cxnLst>
                  <a:rect l="0" t="0" r="r" b="b"/>
                  <a:pathLst>
                    <a:path w="146" h="108">
                      <a:moveTo>
                        <a:pt x="146" y="108"/>
                      </a:moveTo>
                      <a:lnTo>
                        <a:pt x="40" y="108"/>
                      </a:lnTo>
                      <a:lnTo>
                        <a:pt x="0" y="0"/>
                      </a:lnTo>
                      <a:lnTo>
                        <a:pt x="104" y="0"/>
                      </a:lnTo>
                      <a:lnTo>
                        <a:pt x="14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59" name="Freeform 211"/>
                <p:cNvSpPr/>
                <p:nvPr/>
              </p:nvSpPr>
              <p:spPr bwMode="auto">
                <a:xfrm>
                  <a:off x="7791073" y="5098627"/>
                  <a:ext cx="207776" cy="149599"/>
                </a:xfrm>
                <a:custGeom>
                  <a:avLst/>
                  <a:gdLst>
                    <a:gd name="T0" fmla="*/ 150 w 150"/>
                    <a:gd name="T1" fmla="*/ 108 h 108"/>
                    <a:gd name="T2" fmla="*/ 44 w 150"/>
                    <a:gd name="T3" fmla="*/ 108 h 108"/>
                    <a:gd name="T4" fmla="*/ 0 w 150"/>
                    <a:gd name="T5" fmla="*/ 0 h 108"/>
                    <a:gd name="T6" fmla="*/ 102 w 150"/>
                    <a:gd name="T7" fmla="*/ 0 h 108"/>
                    <a:gd name="T8" fmla="*/ 150 w 150"/>
                    <a:gd name="T9" fmla="*/ 108 h 108"/>
                  </a:gdLst>
                  <a:ahLst/>
                  <a:cxnLst>
                    <a:cxn ang="0">
                      <a:pos x="T0" y="T1"/>
                    </a:cxn>
                    <a:cxn ang="0">
                      <a:pos x="T2" y="T3"/>
                    </a:cxn>
                    <a:cxn ang="0">
                      <a:pos x="T4" y="T5"/>
                    </a:cxn>
                    <a:cxn ang="0">
                      <a:pos x="T6" y="T7"/>
                    </a:cxn>
                    <a:cxn ang="0">
                      <a:pos x="T8" y="T9"/>
                    </a:cxn>
                  </a:cxnLst>
                  <a:rect l="0" t="0" r="r" b="b"/>
                  <a:pathLst>
                    <a:path w="150" h="108">
                      <a:moveTo>
                        <a:pt x="150" y="108"/>
                      </a:moveTo>
                      <a:lnTo>
                        <a:pt x="44" y="108"/>
                      </a:lnTo>
                      <a:lnTo>
                        <a:pt x="0" y="0"/>
                      </a:lnTo>
                      <a:lnTo>
                        <a:pt x="102" y="0"/>
                      </a:lnTo>
                      <a:lnTo>
                        <a:pt x="15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0" name="Freeform 212"/>
                <p:cNvSpPr/>
                <p:nvPr/>
              </p:nvSpPr>
              <p:spPr bwMode="auto">
                <a:xfrm>
                  <a:off x="7962835" y="5098627"/>
                  <a:ext cx="213317" cy="149599"/>
                </a:xfrm>
                <a:custGeom>
                  <a:avLst/>
                  <a:gdLst>
                    <a:gd name="T0" fmla="*/ 154 w 154"/>
                    <a:gd name="T1" fmla="*/ 108 h 108"/>
                    <a:gd name="T2" fmla="*/ 48 w 154"/>
                    <a:gd name="T3" fmla="*/ 108 h 108"/>
                    <a:gd name="T4" fmla="*/ 0 w 154"/>
                    <a:gd name="T5" fmla="*/ 0 h 108"/>
                    <a:gd name="T6" fmla="*/ 102 w 154"/>
                    <a:gd name="T7" fmla="*/ 0 h 108"/>
                    <a:gd name="T8" fmla="*/ 154 w 154"/>
                    <a:gd name="T9" fmla="*/ 108 h 108"/>
                  </a:gdLst>
                  <a:ahLst/>
                  <a:cxnLst>
                    <a:cxn ang="0">
                      <a:pos x="T0" y="T1"/>
                    </a:cxn>
                    <a:cxn ang="0">
                      <a:pos x="T2" y="T3"/>
                    </a:cxn>
                    <a:cxn ang="0">
                      <a:pos x="T4" y="T5"/>
                    </a:cxn>
                    <a:cxn ang="0">
                      <a:pos x="T6" y="T7"/>
                    </a:cxn>
                    <a:cxn ang="0">
                      <a:pos x="T8" y="T9"/>
                    </a:cxn>
                  </a:cxnLst>
                  <a:rect l="0" t="0" r="r" b="b"/>
                  <a:pathLst>
                    <a:path w="154" h="108">
                      <a:moveTo>
                        <a:pt x="154" y="108"/>
                      </a:moveTo>
                      <a:lnTo>
                        <a:pt x="48" y="108"/>
                      </a:lnTo>
                      <a:lnTo>
                        <a:pt x="0" y="0"/>
                      </a:lnTo>
                      <a:lnTo>
                        <a:pt x="102" y="0"/>
                      </a:lnTo>
                      <a:lnTo>
                        <a:pt x="15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1" name="Freeform 213"/>
                <p:cNvSpPr/>
                <p:nvPr/>
              </p:nvSpPr>
              <p:spPr bwMode="auto">
                <a:xfrm>
                  <a:off x="8134597" y="5098627"/>
                  <a:ext cx="218858" cy="149599"/>
                </a:xfrm>
                <a:custGeom>
                  <a:avLst/>
                  <a:gdLst>
                    <a:gd name="T0" fmla="*/ 158 w 158"/>
                    <a:gd name="T1" fmla="*/ 108 h 108"/>
                    <a:gd name="T2" fmla="*/ 52 w 158"/>
                    <a:gd name="T3" fmla="*/ 108 h 108"/>
                    <a:gd name="T4" fmla="*/ 0 w 158"/>
                    <a:gd name="T5" fmla="*/ 0 h 108"/>
                    <a:gd name="T6" fmla="*/ 102 w 158"/>
                    <a:gd name="T7" fmla="*/ 0 h 108"/>
                    <a:gd name="T8" fmla="*/ 158 w 158"/>
                    <a:gd name="T9" fmla="*/ 108 h 108"/>
                  </a:gdLst>
                  <a:ahLst/>
                  <a:cxnLst>
                    <a:cxn ang="0">
                      <a:pos x="T0" y="T1"/>
                    </a:cxn>
                    <a:cxn ang="0">
                      <a:pos x="T2" y="T3"/>
                    </a:cxn>
                    <a:cxn ang="0">
                      <a:pos x="T4" y="T5"/>
                    </a:cxn>
                    <a:cxn ang="0">
                      <a:pos x="T6" y="T7"/>
                    </a:cxn>
                    <a:cxn ang="0">
                      <a:pos x="T8" y="T9"/>
                    </a:cxn>
                  </a:cxnLst>
                  <a:rect l="0" t="0" r="r" b="b"/>
                  <a:pathLst>
                    <a:path w="158" h="108">
                      <a:moveTo>
                        <a:pt x="158" y="108"/>
                      </a:moveTo>
                      <a:lnTo>
                        <a:pt x="52" y="108"/>
                      </a:lnTo>
                      <a:lnTo>
                        <a:pt x="0" y="0"/>
                      </a:lnTo>
                      <a:lnTo>
                        <a:pt x="102" y="0"/>
                      </a:lnTo>
                      <a:lnTo>
                        <a:pt x="15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2" name="Freeform 214"/>
                <p:cNvSpPr/>
                <p:nvPr/>
              </p:nvSpPr>
              <p:spPr bwMode="auto">
                <a:xfrm>
                  <a:off x="3686794" y="5688712"/>
                  <a:ext cx="229939" cy="149599"/>
                </a:xfrm>
                <a:custGeom>
                  <a:avLst/>
                  <a:gdLst>
                    <a:gd name="T0" fmla="*/ 122 w 166"/>
                    <a:gd name="T1" fmla="*/ 108 h 108"/>
                    <a:gd name="T2" fmla="*/ 0 w 166"/>
                    <a:gd name="T3" fmla="*/ 108 h 108"/>
                    <a:gd name="T4" fmla="*/ 50 w 166"/>
                    <a:gd name="T5" fmla="*/ 0 h 108"/>
                    <a:gd name="T6" fmla="*/ 166 w 166"/>
                    <a:gd name="T7" fmla="*/ 0 h 108"/>
                    <a:gd name="T8" fmla="*/ 122 w 166"/>
                    <a:gd name="T9" fmla="*/ 108 h 108"/>
                  </a:gdLst>
                  <a:ahLst/>
                  <a:cxnLst>
                    <a:cxn ang="0">
                      <a:pos x="T0" y="T1"/>
                    </a:cxn>
                    <a:cxn ang="0">
                      <a:pos x="T2" y="T3"/>
                    </a:cxn>
                    <a:cxn ang="0">
                      <a:pos x="T4" y="T5"/>
                    </a:cxn>
                    <a:cxn ang="0">
                      <a:pos x="T6" y="T7"/>
                    </a:cxn>
                    <a:cxn ang="0">
                      <a:pos x="T8" y="T9"/>
                    </a:cxn>
                  </a:cxnLst>
                  <a:rect l="0" t="0" r="r" b="b"/>
                  <a:pathLst>
                    <a:path w="166" h="108">
                      <a:moveTo>
                        <a:pt x="122" y="108"/>
                      </a:moveTo>
                      <a:lnTo>
                        <a:pt x="0" y="108"/>
                      </a:lnTo>
                      <a:lnTo>
                        <a:pt x="50" y="0"/>
                      </a:lnTo>
                      <a:lnTo>
                        <a:pt x="166" y="0"/>
                      </a:lnTo>
                      <a:lnTo>
                        <a:pt x="12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3" name="Freeform 215"/>
                <p:cNvSpPr/>
                <p:nvPr/>
              </p:nvSpPr>
              <p:spPr bwMode="auto">
                <a:xfrm>
                  <a:off x="3889030" y="5688712"/>
                  <a:ext cx="221628" cy="149599"/>
                </a:xfrm>
                <a:custGeom>
                  <a:avLst/>
                  <a:gdLst>
                    <a:gd name="T0" fmla="*/ 120 w 160"/>
                    <a:gd name="T1" fmla="*/ 108 h 108"/>
                    <a:gd name="T2" fmla="*/ 0 w 160"/>
                    <a:gd name="T3" fmla="*/ 108 h 108"/>
                    <a:gd name="T4" fmla="*/ 44 w 160"/>
                    <a:gd name="T5" fmla="*/ 0 h 108"/>
                    <a:gd name="T6" fmla="*/ 160 w 160"/>
                    <a:gd name="T7" fmla="*/ 0 h 108"/>
                    <a:gd name="T8" fmla="*/ 120 w 160"/>
                    <a:gd name="T9" fmla="*/ 108 h 108"/>
                  </a:gdLst>
                  <a:ahLst/>
                  <a:cxnLst>
                    <a:cxn ang="0">
                      <a:pos x="T0" y="T1"/>
                    </a:cxn>
                    <a:cxn ang="0">
                      <a:pos x="T2" y="T3"/>
                    </a:cxn>
                    <a:cxn ang="0">
                      <a:pos x="T4" y="T5"/>
                    </a:cxn>
                    <a:cxn ang="0">
                      <a:pos x="T6" y="T7"/>
                    </a:cxn>
                    <a:cxn ang="0">
                      <a:pos x="T8" y="T9"/>
                    </a:cxn>
                  </a:cxnLst>
                  <a:rect l="0" t="0" r="r" b="b"/>
                  <a:pathLst>
                    <a:path w="160" h="108">
                      <a:moveTo>
                        <a:pt x="120" y="108"/>
                      </a:moveTo>
                      <a:lnTo>
                        <a:pt x="0" y="108"/>
                      </a:lnTo>
                      <a:lnTo>
                        <a:pt x="44" y="0"/>
                      </a:lnTo>
                      <a:lnTo>
                        <a:pt x="160" y="0"/>
                      </a:lnTo>
                      <a:lnTo>
                        <a:pt x="12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4" name="Freeform 216"/>
                <p:cNvSpPr/>
                <p:nvPr/>
              </p:nvSpPr>
              <p:spPr bwMode="auto">
                <a:xfrm>
                  <a:off x="4088495" y="5688712"/>
                  <a:ext cx="216088" cy="149599"/>
                </a:xfrm>
                <a:custGeom>
                  <a:avLst/>
                  <a:gdLst>
                    <a:gd name="T0" fmla="*/ 120 w 156"/>
                    <a:gd name="T1" fmla="*/ 108 h 108"/>
                    <a:gd name="T2" fmla="*/ 0 w 156"/>
                    <a:gd name="T3" fmla="*/ 108 h 108"/>
                    <a:gd name="T4" fmla="*/ 40 w 156"/>
                    <a:gd name="T5" fmla="*/ 0 h 108"/>
                    <a:gd name="T6" fmla="*/ 156 w 156"/>
                    <a:gd name="T7" fmla="*/ 0 h 108"/>
                    <a:gd name="T8" fmla="*/ 120 w 156"/>
                    <a:gd name="T9" fmla="*/ 108 h 108"/>
                  </a:gdLst>
                  <a:ahLst/>
                  <a:cxnLst>
                    <a:cxn ang="0">
                      <a:pos x="T0" y="T1"/>
                    </a:cxn>
                    <a:cxn ang="0">
                      <a:pos x="T2" y="T3"/>
                    </a:cxn>
                    <a:cxn ang="0">
                      <a:pos x="T4" y="T5"/>
                    </a:cxn>
                    <a:cxn ang="0">
                      <a:pos x="T6" y="T7"/>
                    </a:cxn>
                    <a:cxn ang="0">
                      <a:pos x="T8" y="T9"/>
                    </a:cxn>
                  </a:cxnLst>
                  <a:rect l="0" t="0" r="r" b="b"/>
                  <a:pathLst>
                    <a:path w="156" h="108">
                      <a:moveTo>
                        <a:pt x="120" y="108"/>
                      </a:moveTo>
                      <a:lnTo>
                        <a:pt x="0" y="108"/>
                      </a:lnTo>
                      <a:lnTo>
                        <a:pt x="40" y="0"/>
                      </a:lnTo>
                      <a:lnTo>
                        <a:pt x="156" y="0"/>
                      </a:lnTo>
                      <a:lnTo>
                        <a:pt x="12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5" name="Freeform 217"/>
                <p:cNvSpPr/>
                <p:nvPr/>
              </p:nvSpPr>
              <p:spPr bwMode="auto">
                <a:xfrm>
                  <a:off x="4287961" y="5688712"/>
                  <a:ext cx="210547" cy="149599"/>
                </a:xfrm>
                <a:custGeom>
                  <a:avLst/>
                  <a:gdLst>
                    <a:gd name="T0" fmla="*/ 120 w 152"/>
                    <a:gd name="T1" fmla="*/ 108 h 108"/>
                    <a:gd name="T2" fmla="*/ 0 w 152"/>
                    <a:gd name="T3" fmla="*/ 108 h 108"/>
                    <a:gd name="T4" fmla="*/ 36 w 152"/>
                    <a:gd name="T5" fmla="*/ 0 h 108"/>
                    <a:gd name="T6" fmla="*/ 152 w 152"/>
                    <a:gd name="T7" fmla="*/ 0 h 108"/>
                    <a:gd name="T8" fmla="*/ 120 w 152"/>
                    <a:gd name="T9" fmla="*/ 108 h 108"/>
                  </a:gdLst>
                  <a:ahLst/>
                  <a:cxnLst>
                    <a:cxn ang="0">
                      <a:pos x="T0" y="T1"/>
                    </a:cxn>
                    <a:cxn ang="0">
                      <a:pos x="T2" y="T3"/>
                    </a:cxn>
                    <a:cxn ang="0">
                      <a:pos x="T4" y="T5"/>
                    </a:cxn>
                    <a:cxn ang="0">
                      <a:pos x="T6" y="T7"/>
                    </a:cxn>
                    <a:cxn ang="0">
                      <a:pos x="T8" y="T9"/>
                    </a:cxn>
                  </a:cxnLst>
                  <a:rect l="0" t="0" r="r" b="b"/>
                  <a:pathLst>
                    <a:path w="152" h="108">
                      <a:moveTo>
                        <a:pt x="120" y="108"/>
                      </a:moveTo>
                      <a:lnTo>
                        <a:pt x="0" y="108"/>
                      </a:lnTo>
                      <a:lnTo>
                        <a:pt x="36" y="0"/>
                      </a:lnTo>
                      <a:lnTo>
                        <a:pt x="152" y="0"/>
                      </a:lnTo>
                      <a:lnTo>
                        <a:pt x="12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6" name="Freeform 218"/>
                <p:cNvSpPr/>
                <p:nvPr/>
              </p:nvSpPr>
              <p:spPr bwMode="auto">
                <a:xfrm>
                  <a:off x="4487426" y="5688712"/>
                  <a:ext cx="207776" cy="149599"/>
                </a:xfrm>
                <a:custGeom>
                  <a:avLst/>
                  <a:gdLst>
                    <a:gd name="T0" fmla="*/ 122 w 150"/>
                    <a:gd name="T1" fmla="*/ 108 h 108"/>
                    <a:gd name="T2" fmla="*/ 0 w 150"/>
                    <a:gd name="T3" fmla="*/ 108 h 108"/>
                    <a:gd name="T4" fmla="*/ 32 w 150"/>
                    <a:gd name="T5" fmla="*/ 0 h 108"/>
                    <a:gd name="T6" fmla="*/ 150 w 150"/>
                    <a:gd name="T7" fmla="*/ 0 h 108"/>
                    <a:gd name="T8" fmla="*/ 122 w 150"/>
                    <a:gd name="T9" fmla="*/ 108 h 108"/>
                  </a:gdLst>
                  <a:ahLst/>
                  <a:cxnLst>
                    <a:cxn ang="0">
                      <a:pos x="T0" y="T1"/>
                    </a:cxn>
                    <a:cxn ang="0">
                      <a:pos x="T2" y="T3"/>
                    </a:cxn>
                    <a:cxn ang="0">
                      <a:pos x="T4" y="T5"/>
                    </a:cxn>
                    <a:cxn ang="0">
                      <a:pos x="T6" y="T7"/>
                    </a:cxn>
                    <a:cxn ang="0">
                      <a:pos x="T8" y="T9"/>
                    </a:cxn>
                  </a:cxnLst>
                  <a:rect l="0" t="0" r="r" b="b"/>
                  <a:pathLst>
                    <a:path w="150" h="108">
                      <a:moveTo>
                        <a:pt x="122" y="108"/>
                      </a:moveTo>
                      <a:lnTo>
                        <a:pt x="0" y="108"/>
                      </a:lnTo>
                      <a:lnTo>
                        <a:pt x="32" y="0"/>
                      </a:lnTo>
                      <a:lnTo>
                        <a:pt x="150" y="0"/>
                      </a:lnTo>
                      <a:lnTo>
                        <a:pt x="12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7" name="Freeform 219"/>
                <p:cNvSpPr/>
                <p:nvPr/>
              </p:nvSpPr>
              <p:spPr bwMode="auto">
                <a:xfrm>
                  <a:off x="4689662" y="5688712"/>
                  <a:ext cx="199465" cy="149599"/>
                </a:xfrm>
                <a:custGeom>
                  <a:avLst/>
                  <a:gdLst>
                    <a:gd name="T0" fmla="*/ 120 w 144"/>
                    <a:gd name="T1" fmla="*/ 108 h 108"/>
                    <a:gd name="T2" fmla="*/ 0 w 144"/>
                    <a:gd name="T3" fmla="*/ 108 h 108"/>
                    <a:gd name="T4" fmla="*/ 26 w 144"/>
                    <a:gd name="T5" fmla="*/ 0 h 108"/>
                    <a:gd name="T6" fmla="*/ 144 w 144"/>
                    <a:gd name="T7" fmla="*/ 0 h 108"/>
                    <a:gd name="T8" fmla="*/ 120 w 144"/>
                    <a:gd name="T9" fmla="*/ 108 h 108"/>
                  </a:gdLst>
                  <a:ahLst/>
                  <a:cxnLst>
                    <a:cxn ang="0">
                      <a:pos x="T0" y="T1"/>
                    </a:cxn>
                    <a:cxn ang="0">
                      <a:pos x="T2" y="T3"/>
                    </a:cxn>
                    <a:cxn ang="0">
                      <a:pos x="T4" y="T5"/>
                    </a:cxn>
                    <a:cxn ang="0">
                      <a:pos x="T6" y="T7"/>
                    </a:cxn>
                    <a:cxn ang="0">
                      <a:pos x="T8" y="T9"/>
                    </a:cxn>
                  </a:cxnLst>
                  <a:rect l="0" t="0" r="r" b="b"/>
                  <a:pathLst>
                    <a:path w="144" h="108">
                      <a:moveTo>
                        <a:pt x="120" y="108"/>
                      </a:moveTo>
                      <a:lnTo>
                        <a:pt x="0" y="108"/>
                      </a:lnTo>
                      <a:lnTo>
                        <a:pt x="26" y="0"/>
                      </a:lnTo>
                      <a:lnTo>
                        <a:pt x="144" y="0"/>
                      </a:lnTo>
                      <a:lnTo>
                        <a:pt x="12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8" name="Freeform 220"/>
                <p:cNvSpPr/>
                <p:nvPr/>
              </p:nvSpPr>
              <p:spPr bwMode="auto">
                <a:xfrm>
                  <a:off x="4897439" y="5688712"/>
                  <a:ext cx="2552881" cy="149599"/>
                </a:xfrm>
                <a:custGeom>
                  <a:avLst/>
                  <a:gdLst>
                    <a:gd name="T0" fmla="*/ 1843 w 1843"/>
                    <a:gd name="T1" fmla="*/ 108 h 108"/>
                    <a:gd name="T2" fmla="*/ 0 w 1843"/>
                    <a:gd name="T3" fmla="*/ 108 h 108"/>
                    <a:gd name="T4" fmla="*/ 22 w 1843"/>
                    <a:gd name="T5" fmla="*/ 0 h 108"/>
                    <a:gd name="T6" fmla="*/ 1813 w 1843"/>
                    <a:gd name="T7" fmla="*/ 0 h 108"/>
                    <a:gd name="T8" fmla="*/ 1843 w 1843"/>
                    <a:gd name="T9" fmla="*/ 108 h 108"/>
                  </a:gdLst>
                  <a:ahLst/>
                  <a:cxnLst>
                    <a:cxn ang="0">
                      <a:pos x="T0" y="T1"/>
                    </a:cxn>
                    <a:cxn ang="0">
                      <a:pos x="T2" y="T3"/>
                    </a:cxn>
                    <a:cxn ang="0">
                      <a:pos x="T4" y="T5"/>
                    </a:cxn>
                    <a:cxn ang="0">
                      <a:pos x="T6" y="T7"/>
                    </a:cxn>
                    <a:cxn ang="0">
                      <a:pos x="T8" y="T9"/>
                    </a:cxn>
                  </a:cxnLst>
                  <a:rect l="0" t="0" r="r" b="b"/>
                  <a:pathLst>
                    <a:path w="1843" h="108">
                      <a:moveTo>
                        <a:pt x="1843" y="108"/>
                      </a:moveTo>
                      <a:lnTo>
                        <a:pt x="0" y="108"/>
                      </a:lnTo>
                      <a:lnTo>
                        <a:pt x="22" y="0"/>
                      </a:lnTo>
                      <a:lnTo>
                        <a:pt x="1813" y="0"/>
                      </a:lnTo>
                      <a:lnTo>
                        <a:pt x="1843"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69" name="Freeform 221"/>
                <p:cNvSpPr/>
                <p:nvPr/>
              </p:nvSpPr>
              <p:spPr bwMode="auto">
                <a:xfrm>
                  <a:off x="7447549" y="5688712"/>
                  <a:ext cx="210547" cy="149599"/>
                </a:xfrm>
                <a:custGeom>
                  <a:avLst/>
                  <a:gdLst>
                    <a:gd name="T0" fmla="*/ 152 w 152"/>
                    <a:gd name="T1" fmla="*/ 108 h 108"/>
                    <a:gd name="T2" fmla="*/ 32 w 152"/>
                    <a:gd name="T3" fmla="*/ 108 h 108"/>
                    <a:gd name="T4" fmla="*/ 0 w 152"/>
                    <a:gd name="T5" fmla="*/ 0 h 108"/>
                    <a:gd name="T6" fmla="*/ 118 w 152"/>
                    <a:gd name="T7" fmla="*/ 0 h 108"/>
                    <a:gd name="T8" fmla="*/ 152 w 152"/>
                    <a:gd name="T9" fmla="*/ 108 h 108"/>
                  </a:gdLst>
                  <a:ahLst/>
                  <a:cxnLst>
                    <a:cxn ang="0">
                      <a:pos x="T0" y="T1"/>
                    </a:cxn>
                    <a:cxn ang="0">
                      <a:pos x="T2" y="T3"/>
                    </a:cxn>
                    <a:cxn ang="0">
                      <a:pos x="T4" y="T5"/>
                    </a:cxn>
                    <a:cxn ang="0">
                      <a:pos x="T6" y="T7"/>
                    </a:cxn>
                    <a:cxn ang="0">
                      <a:pos x="T8" y="T9"/>
                    </a:cxn>
                  </a:cxnLst>
                  <a:rect l="0" t="0" r="r" b="b"/>
                  <a:pathLst>
                    <a:path w="152" h="108">
                      <a:moveTo>
                        <a:pt x="152" y="108"/>
                      </a:moveTo>
                      <a:lnTo>
                        <a:pt x="32" y="108"/>
                      </a:lnTo>
                      <a:lnTo>
                        <a:pt x="0" y="0"/>
                      </a:lnTo>
                      <a:lnTo>
                        <a:pt x="118" y="0"/>
                      </a:lnTo>
                      <a:lnTo>
                        <a:pt x="15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0" name="Freeform 222"/>
                <p:cNvSpPr/>
                <p:nvPr/>
              </p:nvSpPr>
              <p:spPr bwMode="auto">
                <a:xfrm>
                  <a:off x="7641474" y="5688712"/>
                  <a:ext cx="216088" cy="149599"/>
                </a:xfrm>
                <a:custGeom>
                  <a:avLst/>
                  <a:gdLst>
                    <a:gd name="T0" fmla="*/ 156 w 156"/>
                    <a:gd name="T1" fmla="*/ 108 h 108"/>
                    <a:gd name="T2" fmla="*/ 36 w 156"/>
                    <a:gd name="T3" fmla="*/ 108 h 108"/>
                    <a:gd name="T4" fmla="*/ 0 w 156"/>
                    <a:gd name="T5" fmla="*/ 0 h 108"/>
                    <a:gd name="T6" fmla="*/ 118 w 156"/>
                    <a:gd name="T7" fmla="*/ 0 h 108"/>
                    <a:gd name="T8" fmla="*/ 156 w 156"/>
                    <a:gd name="T9" fmla="*/ 108 h 108"/>
                  </a:gdLst>
                  <a:ahLst/>
                  <a:cxnLst>
                    <a:cxn ang="0">
                      <a:pos x="T0" y="T1"/>
                    </a:cxn>
                    <a:cxn ang="0">
                      <a:pos x="T2" y="T3"/>
                    </a:cxn>
                    <a:cxn ang="0">
                      <a:pos x="T4" y="T5"/>
                    </a:cxn>
                    <a:cxn ang="0">
                      <a:pos x="T6" y="T7"/>
                    </a:cxn>
                    <a:cxn ang="0">
                      <a:pos x="T8" y="T9"/>
                    </a:cxn>
                  </a:cxnLst>
                  <a:rect l="0" t="0" r="r" b="b"/>
                  <a:pathLst>
                    <a:path w="156" h="108">
                      <a:moveTo>
                        <a:pt x="156" y="108"/>
                      </a:moveTo>
                      <a:lnTo>
                        <a:pt x="36" y="108"/>
                      </a:lnTo>
                      <a:lnTo>
                        <a:pt x="0" y="0"/>
                      </a:lnTo>
                      <a:lnTo>
                        <a:pt x="118" y="0"/>
                      </a:lnTo>
                      <a:lnTo>
                        <a:pt x="15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1" name="Freeform 223"/>
                <p:cNvSpPr/>
                <p:nvPr/>
              </p:nvSpPr>
              <p:spPr bwMode="auto">
                <a:xfrm>
                  <a:off x="7835399" y="5688712"/>
                  <a:ext cx="224399" cy="149599"/>
                </a:xfrm>
                <a:custGeom>
                  <a:avLst/>
                  <a:gdLst>
                    <a:gd name="T0" fmla="*/ 162 w 162"/>
                    <a:gd name="T1" fmla="*/ 108 h 108"/>
                    <a:gd name="T2" fmla="*/ 40 w 162"/>
                    <a:gd name="T3" fmla="*/ 108 h 108"/>
                    <a:gd name="T4" fmla="*/ 0 w 162"/>
                    <a:gd name="T5" fmla="*/ 0 h 108"/>
                    <a:gd name="T6" fmla="*/ 118 w 162"/>
                    <a:gd name="T7" fmla="*/ 0 h 108"/>
                    <a:gd name="T8" fmla="*/ 162 w 162"/>
                    <a:gd name="T9" fmla="*/ 108 h 108"/>
                  </a:gdLst>
                  <a:ahLst/>
                  <a:cxnLst>
                    <a:cxn ang="0">
                      <a:pos x="T0" y="T1"/>
                    </a:cxn>
                    <a:cxn ang="0">
                      <a:pos x="T2" y="T3"/>
                    </a:cxn>
                    <a:cxn ang="0">
                      <a:pos x="T4" y="T5"/>
                    </a:cxn>
                    <a:cxn ang="0">
                      <a:pos x="T6" y="T7"/>
                    </a:cxn>
                    <a:cxn ang="0">
                      <a:pos x="T8" y="T9"/>
                    </a:cxn>
                  </a:cxnLst>
                  <a:rect l="0" t="0" r="r" b="b"/>
                  <a:pathLst>
                    <a:path w="162" h="108">
                      <a:moveTo>
                        <a:pt x="162" y="108"/>
                      </a:moveTo>
                      <a:lnTo>
                        <a:pt x="40" y="108"/>
                      </a:lnTo>
                      <a:lnTo>
                        <a:pt x="0" y="0"/>
                      </a:lnTo>
                      <a:lnTo>
                        <a:pt x="118" y="0"/>
                      </a:lnTo>
                      <a:lnTo>
                        <a:pt x="16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2" name="Freeform 224"/>
                <p:cNvSpPr/>
                <p:nvPr/>
              </p:nvSpPr>
              <p:spPr bwMode="auto">
                <a:xfrm>
                  <a:off x="8032094" y="5688712"/>
                  <a:ext cx="227169" cy="149599"/>
                </a:xfrm>
                <a:custGeom>
                  <a:avLst/>
                  <a:gdLst>
                    <a:gd name="T0" fmla="*/ 164 w 164"/>
                    <a:gd name="T1" fmla="*/ 108 h 108"/>
                    <a:gd name="T2" fmla="*/ 44 w 164"/>
                    <a:gd name="T3" fmla="*/ 108 h 108"/>
                    <a:gd name="T4" fmla="*/ 0 w 164"/>
                    <a:gd name="T5" fmla="*/ 0 h 108"/>
                    <a:gd name="T6" fmla="*/ 116 w 164"/>
                    <a:gd name="T7" fmla="*/ 0 h 108"/>
                    <a:gd name="T8" fmla="*/ 164 w 164"/>
                    <a:gd name="T9" fmla="*/ 108 h 108"/>
                  </a:gdLst>
                  <a:ahLst/>
                  <a:cxnLst>
                    <a:cxn ang="0">
                      <a:pos x="T0" y="T1"/>
                    </a:cxn>
                    <a:cxn ang="0">
                      <a:pos x="T2" y="T3"/>
                    </a:cxn>
                    <a:cxn ang="0">
                      <a:pos x="T4" y="T5"/>
                    </a:cxn>
                    <a:cxn ang="0">
                      <a:pos x="T6" y="T7"/>
                    </a:cxn>
                    <a:cxn ang="0">
                      <a:pos x="T8" y="T9"/>
                    </a:cxn>
                  </a:cxnLst>
                  <a:rect l="0" t="0" r="r" b="b"/>
                  <a:pathLst>
                    <a:path w="164" h="108">
                      <a:moveTo>
                        <a:pt x="164" y="108"/>
                      </a:moveTo>
                      <a:lnTo>
                        <a:pt x="44" y="108"/>
                      </a:lnTo>
                      <a:lnTo>
                        <a:pt x="0" y="0"/>
                      </a:lnTo>
                      <a:lnTo>
                        <a:pt x="116" y="0"/>
                      </a:lnTo>
                      <a:lnTo>
                        <a:pt x="16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3" name="Freeform 225"/>
                <p:cNvSpPr/>
                <p:nvPr/>
              </p:nvSpPr>
              <p:spPr bwMode="auto">
                <a:xfrm>
                  <a:off x="8226019" y="5688712"/>
                  <a:ext cx="232710" cy="149599"/>
                </a:xfrm>
                <a:custGeom>
                  <a:avLst/>
                  <a:gdLst>
                    <a:gd name="T0" fmla="*/ 168 w 168"/>
                    <a:gd name="T1" fmla="*/ 108 h 108"/>
                    <a:gd name="T2" fmla="*/ 48 w 168"/>
                    <a:gd name="T3" fmla="*/ 108 h 108"/>
                    <a:gd name="T4" fmla="*/ 0 w 168"/>
                    <a:gd name="T5" fmla="*/ 0 h 108"/>
                    <a:gd name="T6" fmla="*/ 116 w 168"/>
                    <a:gd name="T7" fmla="*/ 0 h 108"/>
                    <a:gd name="T8" fmla="*/ 168 w 168"/>
                    <a:gd name="T9" fmla="*/ 108 h 108"/>
                  </a:gdLst>
                  <a:ahLst/>
                  <a:cxnLst>
                    <a:cxn ang="0">
                      <a:pos x="T0" y="T1"/>
                    </a:cxn>
                    <a:cxn ang="0">
                      <a:pos x="T2" y="T3"/>
                    </a:cxn>
                    <a:cxn ang="0">
                      <a:pos x="T4" y="T5"/>
                    </a:cxn>
                    <a:cxn ang="0">
                      <a:pos x="T6" y="T7"/>
                    </a:cxn>
                    <a:cxn ang="0">
                      <a:pos x="T8" y="T9"/>
                    </a:cxn>
                  </a:cxnLst>
                  <a:rect l="0" t="0" r="r" b="b"/>
                  <a:pathLst>
                    <a:path w="168" h="108">
                      <a:moveTo>
                        <a:pt x="168" y="108"/>
                      </a:moveTo>
                      <a:lnTo>
                        <a:pt x="48" y="108"/>
                      </a:lnTo>
                      <a:lnTo>
                        <a:pt x="0" y="0"/>
                      </a:lnTo>
                      <a:lnTo>
                        <a:pt x="116" y="0"/>
                      </a:lnTo>
                      <a:lnTo>
                        <a:pt x="16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4" name="Freeform 226"/>
                <p:cNvSpPr/>
                <p:nvPr/>
              </p:nvSpPr>
              <p:spPr bwMode="auto">
                <a:xfrm>
                  <a:off x="8419943" y="5688712"/>
                  <a:ext cx="238250" cy="149599"/>
                </a:xfrm>
                <a:custGeom>
                  <a:avLst/>
                  <a:gdLst>
                    <a:gd name="T0" fmla="*/ 172 w 172"/>
                    <a:gd name="T1" fmla="*/ 108 h 108"/>
                    <a:gd name="T2" fmla="*/ 52 w 172"/>
                    <a:gd name="T3" fmla="*/ 108 h 108"/>
                    <a:gd name="T4" fmla="*/ 0 w 172"/>
                    <a:gd name="T5" fmla="*/ 0 h 108"/>
                    <a:gd name="T6" fmla="*/ 116 w 172"/>
                    <a:gd name="T7" fmla="*/ 0 h 108"/>
                    <a:gd name="T8" fmla="*/ 172 w 172"/>
                    <a:gd name="T9" fmla="*/ 108 h 108"/>
                  </a:gdLst>
                  <a:ahLst/>
                  <a:cxnLst>
                    <a:cxn ang="0">
                      <a:pos x="T0" y="T1"/>
                    </a:cxn>
                    <a:cxn ang="0">
                      <a:pos x="T2" y="T3"/>
                    </a:cxn>
                    <a:cxn ang="0">
                      <a:pos x="T4" y="T5"/>
                    </a:cxn>
                    <a:cxn ang="0">
                      <a:pos x="T6" y="T7"/>
                    </a:cxn>
                    <a:cxn ang="0">
                      <a:pos x="T8" y="T9"/>
                    </a:cxn>
                  </a:cxnLst>
                  <a:rect l="0" t="0" r="r" b="b"/>
                  <a:pathLst>
                    <a:path w="172" h="108">
                      <a:moveTo>
                        <a:pt x="172" y="108"/>
                      </a:moveTo>
                      <a:lnTo>
                        <a:pt x="52" y="108"/>
                      </a:lnTo>
                      <a:lnTo>
                        <a:pt x="0" y="0"/>
                      </a:lnTo>
                      <a:lnTo>
                        <a:pt x="116" y="0"/>
                      </a:lnTo>
                      <a:lnTo>
                        <a:pt x="17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5" name="Freeform 227"/>
                <p:cNvSpPr/>
                <p:nvPr/>
              </p:nvSpPr>
              <p:spPr bwMode="auto">
                <a:xfrm>
                  <a:off x="4235324" y="5287011"/>
                  <a:ext cx="205006" cy="149599"/>
                </a:xfrm>
                <a:custGeom>
                  <a:avLst/>
                  <a:gdLst>
                    <a:gd name="T0" fmla="*/ 112 w 148"/>
                    <a:gd name="T1" fmla="*/ 108 h 108"/>
                    <a:gd name="T2" fmla="*/ 0 w 148"/>
                    <a:gd name="T3" fmla="*/ 108 h 108"/>
                    <a:gd name="T4" fmla="*/ 40 w 148"/>
                    <a:gd name="T5" fmla="*/ 0 h 108"/>
                    <a:gd name="T6" fmla="*/ 148 w 148"/>
                    <a:gd name="T7" fmla="*/ 0 h 108"/>
                    <a:gd name="T8" fmla="*/ 112 w 148"/>
                    <a:gd name="T9" fmla="*/ 108 h 108"/>
                  </a:gdLst>
                  <a:ahLst/>
                  <a:cxnLst>
                    <a:cxn ang="0">
                      <a:pos x="T0" y="T1"/>
                    </a:cxn>
                    <a:cxn ang="0">
                      <a:pos x="T2" y="T3"/>
                    </a:cxn>
                    <a:cxn ang="0">
                      <a:pos x="T4" y="T5"/>
                    </a:cxn>
                    <a:cxn ang="0">
                      <a:pos x="T6" y="T7"/>
                    </a:cxn>
                    <a:cxn ang="0">
                      <a:pos x="T8" y="T9"/>
                    </a:cxn>
                  </a:cxnLst>
                  <a:rect l="0" t="0" r="r" b="b"/>
                  <a:pathLst>
                    <a:path w="148" h="108">
                      <a:moveTo>
                        <a:pt x="112" y="108"/>
                      </a:moveTo>
                      <a:lnTo>
                        <a:pt x="0" y="108"/>
                      </a:lnTo>
                      <a:lnTo>
                        <a:pt x="40" y="0"/>
                      </a:lnTo>
                      <a:lnTo>
                        <a:pt x="148"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6" name="Freeform 228"/>
                <p:cNvSpPr/>
                <p:nvPr/>
              </p:nvSpPr>
              <p:spPr bwMode="auto">
                <a:xfrm>
                  <a:off x="4420938" y="5287011"/>
                  <a:ext cx="196695" cy="149599"/>
                </a:xfrm>
                <a:custGeom>
                  <a:avLst/>
                  <a:gdLst>
                    <a:gd name="T0" fmla="*/ 110 w 142"/>
                    <a:gd name="T1" fmla="*/ 108 h 108"/>
                    <a:gd name="T2" fmla="*/ 0 w 142"/>
                    <a:gd name="T3" fmla="*/ 108 h 108"/>
                    <a:gd name="T4" fmla="*/ 36 w 142"/>
                    <a:gd name="T5" fmla="*/ 0 h 108"/>
                    <a:gd name="T6" fmla="*/ 142 w 142"/>
                    <a:gd name="T7" fmla="*/ 0 h 108"/>
                    <a:gd name="T8" fmla="*/ 110 w 142"/>
                    <a:gd name="T9" fmla="*/ 108 h 108"/>
                  </a:gdLst>
                  <a:ahLst/>
                  <a:cxnLst>
                    <a:cxn ang="0">
                      <a:pos x="T0" y="T1"/>
                    </a:cxn>
                    <a:cxn ang="0">
                      <a:pos x="T2" y="T3"/>
                    </a:cxn>
                    <a:cxn ang="0">
                      <a:pos x="T4" y="T5"/>
                    </a:cxn>
                    <a:cxn ang="0">
                      <a:pos x="T6" y="T7"/>
                    </a:cxn>
                    <a:cxn ang="0">
                      <a:pos x="T8" y="T9"/>
                    </a:cxn>
                  </a:cxnLst>
                  <a:rect l="0" t="0" r="r" b="b"/>
                  <a:pathLst>
                    <a:path w="142" h="108">
                      <a:moveTo>
                        <a:pt x="110" y="108"/>
                      </a:moveTo>
                      <a:lnTo>
                        <a:pt x="0" y="108"/>
                      </a:lnTo>
                      <a:lnTo>
                        <a:pt x="36" y="0"/>
                      </a:lnTo>
                      <a:lnTo>
                        <a:pt x="142" y="0"/>
                      </a:lnTo>
                      <a:lnTo>
                        <a:pt x="11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7" name="Freeform 229"/>
                <p:cNvSpPr/>
                <p:nvPr/>
              </p:nvSpPr>
              <p:spPr bwMode="auto">
                <a:xfrm>
                  <a:off x="4603781" y="5287011"/>
                  <a:ext cx="193925" cy="149599"/>
                </a:xfrm>
                <a:custGeom>
                  <a:avLst/>
                  <a:gdLst>
                    <a:gd name="T0" fmla="*/ 112 w 140"/>
                    <a:gd name="T1" fmla="*/ 108 h 108"/>
                    <a:gd name="T2" fmla="*/ 0 w 140"/>
                    <a:gd name="T3" fmla="*/ 108 h 108"/>
                    <a:gd name="T4" fmla="*/ 32 w 140"/>
                    <a:gd name="T5" fmla="*/ 0 h 108"/>
                    <a:gd name="T6" fmla="*/ 140 w 140"/>
                    <a:gd name="T7" fmla="*/ 0 h 108"/>
                    <a:gd name="T8" fmla="*/ 112 w 140"/>
                    <a:gd name="T9" fmla="*/ 108 h 108"/>
                  </a:gdLst>
                  <a:ahLst/>
                  <a:cxnLst>
                    <a:cxn ang="0">
                      <a:pos x="T0" y="T1"/>
                    </a:cxn>
                    <a:cxn ang="0">
                      <a:pos x="T2" y="T3"/>
                    </a:cxn>
                    <a:cxn ang="0">
                      <a:pos x="T4" y="T5"/>
                    </a:cxn>
                    <a:cxn ang="0">
                      <a:pos x="T6" y="T7"/>
                    </a:cxn>
                    <a:cxn ang="0">
                      <a:pos x="T8" y="T9"/>
                    </a:cxn>
                  </a:cxnLst>
                  <a:rect l="0" t="0" r="r" b="b"/>
                  <a:pathLst>
                    <a:path w="140" h="108">
                      <a:moveTo>
                        <a:pt x="112" y="108"/>
                      </a:moveTo>
                      <a:lnTo>
                        <a:pt x="0" y="108"/>
                      </a:lnTo>
                      <a:lnTo>
                        <a:pt x="32" y="0"/>
                      </a:lnTo>
                      <a:lnTo>
                        <a:pt x="140"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8" name="Freeform 230"/>
                <p:cNvSpPr/>
                <p:nvPr/>
              </p:nvSpPr>
              <p:spPr bwMode="auto">
                <a:xfrm>
                  <a:off x="4789395" y="5287011"/>
                  <a:ext cx="185614" cy="149599"/>
                </a:xfrm>
                <a:custGeom>
                  <a:avLst/>
                  <a:gdLst>
                    <a:gd name="T0" fmla="*/ 112 w 134"/>
                    <a:gd name="T1" fmla="*/ 108 h 108"/>
                    <a:gd name="T2" fmla="*/ 0 w 134"/>
                    <a:gd name="T3" fmla="*/ 108 h 108"/>
                    <a:gd name="T4" fmla="*/ 28 w 134"/>
                    <a:gd name="T5" fmla="*/ 0 h 108"/>
                    <a:gd name="T6" fmla="*/ 134 w 134"/>
                    <a:gd name="T7" fmla="*/ 0 h 108"/>
                    <a:gd name="T8" fmla="*/ 112 w 134"/>
                    <a:gd name="T9" fmla="*/ 108 h 108"/>
                  </a:gdLst>
                  <a:ahLst/>
                  <a:cxnLst>
                    <a:cxn ang="0">
                      <a:pos x="T0" y="T1"/>
                    </a:cxn>
                    <a:cxn ang="0">
                      <a:pos x="T2" y="T3"/>
                    </a:cxn>
                    <a:cxn ang="0">
                      <a:pos x="T4" y="T5"/>
                    </a:cxn>
                    <a:cxn ang="0">
                      <a:pos x="T6" y="T7"/>
                    </a:cxn>
                    <a:cxn ang="0">
                      <a:pos x="T8" y="T9"/>
                    </a:cxn>
                  </a:cxnLst>
                  <a:rect l="0" t="0" r="r" b="b"/>
                  <a:pathLst>
                    <a:path w="134" h="108">
                      <a:moveTo>
                        <a:pt x="112" y="108"/>
                      </a:moveTo>
                      <a:lnTo>
                        <a:pt x="0" y="108"/>
                      </a:lnTo>
                      <a:lnTo>
                        <a:pt x="28" y="0"/>
                      </a:lnTo>
                      <a:lnTo>
                        <a:pt x="134"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79" name="Freeform 231"/>
                <p:cNvSpPr/>
                <p:nvPr/>
              </p:nvSpPr>
              <p:spPr bwMode="auto">
                <a:xfrm>
                  <a:off x="4975009" y="5287011"/>
                  <a:ext cx="180073" cy="149599"/>
                </a:xfrm>
                <a:custGeom>
                  <a:avLst/>
                  <a:gdLst>
                    <a:gd name="T0" fmla="*/ 110 w 130"/>
                    <a:gd name="T1" fmla="*/ 108 h 108"/>
                    <a:gd name="T2" fmla="*/ 0 w 130"/>
                    <a:gd name="T3" fmla="*/ 108 h 108"/>
                    <a:gd name="T4" fmla="*/ 22 w 130"/>
                    <a:gd name="T5" fmla="*/ 0 h 108"/>
                    <a:gd name="T6" fmla="*/ 130 w 130"/>
                    <a:gd name="T7" fmla="*/ 0 h 108"/>
                    <a:gd name="T8" fmla="*/ 110 w 130"/>
                    <a:gd name="T9" fmla="*/ 108 h 108"/>
                  </a:gdLst>
                  <a:ahLst/>
                  <a:cxnLst>
                    <a:cxn ang="0">
                      <a:pos x="T0" y="T1"/>
                    </a:cxn>
                    <a:cxn ang="0">
                      <a:pos x="T2" y="T3"/>
                    </a:cxn>
                    <a:cxn ang="0">
                      <a:pos x="T4" y="T5"/>
                    </a:cxn>
                    <a:cxn ang="0">
                      <a:pos x="T6" y="T7"/>
                    </a:cxn>
                    <a:cxn ang="0">
                      <a:pos x="T8" y="T9"/>
                    </a:cxn>
                  </a:cxnLst>
                  <a:rect l="0" t="0" r="r" b="b"/>
                  <a:pathLst>
                    <a:path w="130" h="108">
                      <a:moveTo>
                        <a:pt x="110" y="108"/>
                      </a:moveTo>
                      <a:lnTo>
                        <a:pt x="0" y="108"/>
                      </a:lnTo>
                      <a:lnTo>
                        <a:pt x="22" y="0"/>
                      </a:lnTo>
                      <a:lnTo>
                        <a:pt x="130" y="0"/>
                      </a:lnTo>
                      <a:lnTo>
                        <a:pt x="11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0" name="Freeform 232"/>
                <p:cNvSpPr/>
                <p:nvPr/>
              </p:nvSpPr>
              <p:spPr bwMode="auto">
                <a:xfrm>
                  <a:off x="5157852" y="5287011"/>
                  <a:ext cx="174532" cy="149599"/>
                </a:xfrm>
                <a:custGeom>
                  <a:avLst/>
                  <a:gdLst>
                    <a:gd name="T0" fmla="*/ 112 w 126"/>
                    <a:gd name="T1" fmla="*/ 108 h 108"/>
                    <a:gd name="T2" fmla="*/ 0 w 126"/>
                    <a:gd name="T3" fmla="*/ 108 h 108"/>
                    <a:gd name="T4" fmla="*/ 20 w 126"/>
                    <a:gd name="T5" fmla="*/ 0 h 108"/>
                    <a:gd name="T6" fmla="*/ 126 w 126"/>
                    <a:gd name="T7" fmla="*/ 0 h 108"/>
                    <a:gd name="T8" fmla="*/ 112 w 126"/>
                    <a:gd name="T9" fmla="*/ 108 h 108"/>
                  </a:gdLst>
                  <a:ahLst/>
                  <a:cxnLst>
                    <a:cxn ang="0">
                      <a:pos x="T0" y="T1"/>
                    </a:cxn>
                    <a:cxn ang="0">
                      <a:pos x="T2" y="T3"/>
                    </a:cxn>
                    <a:cxn ang="0">
                      <a:pos x="T4" y="T5"/>
                    </a:cxn>
                    <a:cxn ang="0">
                      <a:pos x="T6" y="T7"/>
                    </a:cxn>
                    <a:cxn ang="0">
                      <a:pos x="T8" y="T9"/>
                    </a:cxn>
                  </a:cxnLst>
                  <a:rect l="0" t="0" r="r" b="b"/>
                  <a:pathLst>
                    <a:path w="126" h="108">
                      <a:moveTo>
                        <a:pt x="112" y="108"/>
                      </a:moveTo>
                      <a:lnTo>
                        <a:pt x="0" y="108"/>
                      </a:lnTo>
                      <a:lnTo>
                        <a:pt x="20" y="0"/>
                      </a:lnTo>
                      <a:lnTo>
                        <a:pt x="126"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1" name="Freeform 233"/>
                <p:cNvSpPr/>
                <p:nvPr/>
              </p:nvSpPr>
              <p:spPr bwMode="auto">
                <a:xfrm>
                  <a:off x="5343466" y="5287011"/>
                  <a:ext cx="168992" cy="149599"/>
                </a:xfrm>
                <a:custGeom>
                  <a:avLst/>
                  <a:gdLst>
                    <a:gd name="T0" fmla="*/ 110 w 122"/>
                    <a:gd name="T1" fmla="*/ 108 h 108"/>
                    <a:gd name="T2" fmla="*/ 0 w 122"/>
                    <a:gd name="T3" fmla="*/ 108 h 108"/>
                    <a:gd name="T4" fmla="*/ 14 w 122"/>
                    <a:gd name="T5" fmla="*/ 0 h 108"/>
                    <a:gd name="T6" fmla="*/ 122 w 122"/>
                    <a:gd name="T7" fmla="*/ 0 h 108"/>
                    <a:gd name="T8" fmla="*/ 110 w 122"/>
                    <a:gd name="T9" fmla="*/ 108 h 108"/>
                  </a:gdLst>
                  <a:ahLst/>
                  <a:cxnLst>
                    <a:cxn ang="0">
                      <a:pos x="T0" y="T1"/>
                    </a:cxn>
                    <a:cxn ang="0">
                      <a:pos x="T2" y="T3"/>
                    </a:cxn>
                    <a:cxn ang="0">
                      <a:pos x="T4" y="T5"/>
                    </a:cxn>
                    <a:cxn ang="0">
                      <a:pos x="T6" y="T7"/>
                    </a:cxn>
                    <a:cxn ang="0">
                      <a:pos x="T8" y="T9"/>
                    </a:cxn>
                  </a:cxnLst>
                  <a:rect l="0" t="0" r="r" b="b"/>
                  <a:pathLst>
                    <a:path w="122" h="108">
                      <a:moveTo>
                        <a:pt x="110" y="108"/>
                      </a:moveTo>
                      <a:lnTo>
                        <a:pt x="0" y="108"/>
                      </a:lnTo>
                      <a:lnTo>
                        <a:pt x="14" y="0"/>
                      </a:lnTo>
                      <a:lnTo>
                        <a:pt x="122" y="0"/>
                      </a:lnTo>
                      <a:lnTo>
                        <a:pt x="11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Freeform 234"/>
                <p:cNvSpPr/>
                <p:nvPr/>
              </p:nvSpPr>
              <p:spPr bwMode="auto">
                <a:xfrm>
                  <a:off x="5529079" y="5287011"/>
                  <a:ext cx="163451" cy="149599"/>
                </a:xfrm>
                <a:custGeom>
                  <a:avLst/>
                  <a:gdLst>
                    <a:gd name="T0" fmla="*/ 110 w 118"/>
                    <a:gd name="T1" fmla="*/ 108 h 108"/>
                    <a:gd name="T2" fmla="*/ 0 w 118"/>
                    <a:gd name="T3" fmla="*/ 108 h 108"/>
                    <a:gd name="T4" fmla="*/ 10 w 118"/>
                    <a:gd name="T5" fmla="*/ 0 h 108"/>
                    <a:gd name="T6" fmla="*/ 118 w 118"/>
                    <a:gd name="T7" fmla="*/ 0 h 108"/>
                    <a:gd name="T8" fmla="*/ 110 w 118"/>
                    <a:gd name="T9" fmla="*/ 108 h 108"/>
                  </a:gdLst>
                  <a:ahLst/>
                  <a:cxnLst>
                    <a:cxn ang="0">
                      <a:pos x="T0" y="T1"/>
                    </a:cxn>
                    <a:cxn ang="0">
                      <a:pos x="T2" y="T3"/>
                    </a:cxn>
                    <a:cxn ang="0">
                      <a:pos x="T4" y="T5"/>
                    </a:cxn>
                    <a:cxn ang="0">
                      <a:pos x="T6" y="T7"/>
                    </a:cxn>
                    <a:cxn ang="0">
                      <a:pos x="T8" y="T9"/>
                    </a:cxn>
                  </a:cxnLst>
                  <a:rect l="0" t="0" r="r" b="b"/>
                  <a:pathLst>
                    <a:path w="118" h="108">
                      <a:moveTo>
                        <a:pt x="110" y="108"/>
                      </a:moveTo>
                      <a:lnTo>
                        <a:pt x="0" y="108"/>
                      </a:lnTo>
                      <a:lnTo>
                        <a:pt x="10" y="0"/>
                      </a:lnTo>
                      <a:lnTo>
                        <a:pt x="118" y="0"/>
                      </a:lnTo>
                      <a:lnTo>
                        <a:pt x="11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3" name="Freeform 235"/>
                <p:cNvSpPr/>
                <p:nvPr/>
              </p:nvSpPr>
              <p:spPr bwMode="auto">
                <a:xfrm>
                  <a:off x="5711923" y="5287011"/>
                  <a:ext cx="157910" cy="149599"/>
                </a:xfrm>
                <a:custGeom>
                  <a:avLst/>
                  <a:gdLst>
                    <a:gd name="T0" fmla="*/ 112 w 114"/>
                    <a:gd name="T1" fmla="*/ 108 h 108"/>
                    <a:gd name="T2" fmla="*/ 0 w 114"/>
                    <a:gd name="T3" fmla="*/ 108 h 108"/>
                    <a:gd name="T4" fmla="*/ 6 w 114"/>
                    <a:gd name="T5" fmla="*/ 0 h 108"/>
                    <a:gd name="T6" fmla="*/ 114 w 114"/>
                    <a:gd name="T7" fmla="*/ 0 h 108"/>
                    <a:gd name="T8" fmla="*/ 112 w 114"/>
                    <a:gd name="T9" fmla="*/ 108 h 108"/>
                  </a:gdLst>
                  <a:ahLst/>
                  <a:cxnLst>
                    <a:cxn ang="0">
                      <a:pos x="T0" y="T1"/>
                    </a:cxn>
                    <a:cxn ang="0">
                      <a:pos x="T2" y="T3"/>
                    </a:cxn>
                    <a:cxn ang="0">
                      <a:pos x="T4" y="T5"/>
                    </a:cxn>
                    <a:cxn ang="0">
                      <a:pos x="T6" y="T7"/>
                    </a:cxn>
                    <a:cxn ang="0">
                      <a:pos x="T8" y="T9"/>
                    </a:cxn>
                  </a:cxnLst>
                  <a:rect l="0" t="0" r="r" b="b"/>
                  <a:pathLst>
                    <a:path w="114" h="108">
                      <a:moveTo>
                        <a:pt x="112" y="108"/>
                      </a:moveTo>
                      <a:lnTo>
                        <a:pt x="0" y="108"/>
                      </a:lnTo>
                      <a:lnTo>
                        <a:pt x="6" y="0"/>
                      </a:lnTo>
                      <a:lnTo>
                        <a:pt x="114" y="0"/>
                      </a:lnTo>
                      <a:lnTo>
                        <a:pt x="11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4" name="Freeform 236"/>
                <p:cNvSpPr/>
                <p:nvPr/>
              </p:nvSpPr>
              <p:spPr bwMode="auto">
                <a:xfrm>
                  <a:off x="5897536" y="5287011"/>
                  <a:ext cx="152369" cy="149599"/>
                </a:xfrm>
                <a:custGeom>
                  <a:avLst/>
                  <a:gdLst>
                    <a:gd name="T0" fmla="*/ 110 w 110"/>
                    <a:gd name="T1" fmla="*/ 108 h 108"/>
                    <a:gd name="T2" fmla="*/ 0 w 110"/>
                    <a:gd name="T3" fmla="*/ 108 h 108"/>
                    <a:gd name="T4" fmla="*/ 2 w 110"/>
                    <a:gd name="T5" fmla="*/ 0 h 108"/>
                    <a:gd name="T6" fmla="*/ 110 w 110"/>
                    <a:gd name="T7" fmla="*/ 0 h 108"/>
                    <a:gd name="T8" fmla="*/ 110 w 110"/>
                    <a:gd name="T9" fmla="*/ 108 h 108"/>
                  </a:gdLst>
                  <a:ahLst/>
                  <a:cxnLst>
                    <a:cxn ang="0">
                      <a:pos x="T0" y="T1"/>
                    </a:cxn>
                    <a:cxn ang="0">
                      <a:pos x="T2" y="T3"/>
                    </a:cxn>
                    <a:cxn ang="0">
                      <a:pos x="T4" y="T5"/>
                    </a:cxn>
                    <a:cxn ang="0">
                      <a:pos x="T6" y="T7"/>
                    </a:cxn>
                    <a:cxn ang="0">
                      <a:pos x="T8" y="T9"/>
                    </a:cxn>
                  </a:cxnLst>
                  <a:rect l="0" t="0" r="r" b="b"/>
                  <a:pathLst>
                    <a:path w="110" h="108">
                      <a:moveTo>
                        <a:pt x="110" y="108"/>
                      </a:moveTo>
                      <a:lnTo>
                        <a:pt x="0" y="108"/>
                      </a:lnTo>
                      <a:lnTo>
                        <a:pt x="2" y="0"/>
                      </a:lnTo>
                      <a:lnTo>
                        <a:pt x="110" y="0"/>
                      </a:lnTo>
                      <a:lnTo>
                        <a:pt x="11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5" name="Freeform 237"/>
                <p:cNvSpPr/>
                <p:nvPr/>
              </p:nvSpPr>
              <p:spPr bwMode="auto">
                <a:xfrm>
                  <a:off x="6077609" y="5287011"/>
                  <a:ext cx="159296" cy="149599"/>
                </a:xfrm>
                <a:custGeom>
                  <a:avLst/>
                  <a:gdLst>
                    <a:gd name="T0" fmla="*/ 115 w 115"/>
                    <a:gd name="T1" fmla="*/ 108 h 108"/>
                    <a:gd name="T2" fmla="*/ 2 w 115"/>
                    <a:gd name="T3" fmla="*/ 108 h 108"/>
                    <a:gd name="T4" fmla="*/ 0 w 115"/>
                    <a:gd name="T5" fmla="*/ 0 h 108"/>
                    <a:gd name="T6" fmla="*/ 109 w 115"/>
                    <a:gd name="T7" fmla="*/ 0 h 108"/>
                    <a:gd name="T8" fmla="*/ 115 w 115"/>
                    <a:gd name="T9" fmla="*/ 108 h 108"/>
                  </a:gdLst>
                  <a:ahLst/>
                  <a:cxnLst>
                    <a:cxn ang="0">
                      <a:pos x="T0" y="T1"/>
                    </a:cxn>
                    <a:cxn ang="0">
                      <a:pos x="T2" y="T3"/>
                    </a:cxn>
                    <a:cxn ang="0">
                      <a:pos x="T4" y="T5"/>
                    </a:cxn>
                    <a:cxn ang="0">
                      <a:pos x="T6" y="T7"/>
                    </a:cxn>
                    <a:cxn ang="0">
                      <a:pos x="T8" y="T9"/>
                    </a:cxn>
                  </a:cxnLst>
                  <a:rect l="0" t="0" r="r" b="b"/>
                  <a:pathLst>
                    <a:path w="115" h="108">
                      <a:moveTo>
                        <a:pt x="115" y="108"/>
                      </a:moveTo>
                      <a:lnTo>
                        <a:pt x="2" y="108"/>
                      </a:lnTo>
                      <a:lnTo>
                        <a:pt x="0" y="0"/>
                      </a:lnTo>
                      <a:lnTo>
                        <a:pt x="109" y="0"/>
                      </a:lnTo>
                      <a:lnTo>
                        <a:pt x="115"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6" name="Freeform 238"/>
                <p:cNvSpPr/>
                <p:nvPr/>
              </p:nvSpPr>
              <p:spPr bwMode="auto">
                <a:xfrm>
                  <a:off x="6259068" y="5287011"/>
                  <a:ext cx="163451" cy="149599"/>
                </a:xfrm>
                <a:custGeom>
                  <a:avLst/>
                  <a:gdLst>
                    <a:gd name="T0" fmla="*/ 118 w 118"/>
                    <a:gd name="T1" fmla="*/ 108 h 108"/>
                    <a:gd name="T2" fmla="*/ 6 w 118"/>
                    <a:gd name="T3" fmla="*/ 108 h 108"/>
                    <a:gd name="T4" fmla="*/ 0 w 118"/>
                    <a:gd name="T5" fmla="*/ 0 h 108"/>
                    <a:gd name="T6" fmla="*/ 108 w 118"/>
                    <a:gd name="T7" fmla="*/ 0 h 108"/>
                    <a:gd name="T8" fmla="*/ 118 w 118"/>
                    <a:gd name="T9" fmla="*/ 108 h 108"/>
                  </a:gdLst>
                  <a:ahLst/>
                  <a:cxnLst>
                    <a:cxn ang="0">
                      <a:pos x="T0" y="T1"/>
                    </a:cxn>
                    <a:cxn ang="0">
                      <a:pos x="T2" y="T3"/>
                    </a:cxn>
                    <a:cxn ang="0">
                      <a:pos x="T4" y="T5"/>
                    </a:cxn>
                    <a:cxn ang="0">
                      <a:pos x="T6" y="T7"/>
                    </a:cxn>
                    <a:cxn ang="0">
                      <a:pos x="T8" y="T9"/>
                    </a:cxn>
                  </a:cxnLst>
                  <a:rect l="0" t="0" r="r" b="b"/>
                  <a:pathLst>
                    <a:path w="118" h="108">
                      <a:moveTo>
                        <a:pt x="118" y="108"/>
                      </a:moveTo>
                      <a:lnTo>
                        <a:pt x="6" y="108"/>
                      </a:lnTo>
                      <a:lnTo>
                        <a:pt x="0" y="0"/>
                      </a:lnTo>
                      <a:lnTo>
                        <a:pt x="108" y="0"/>
                      </a:lnTo>
                      <a:lnTo>
                        <a:pt x="11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7" name="Freeform 239"/>
                <p:cNvSpPr/>
                <p:nvPr/>
              </p:nvSpPr>
              <p:spPr bwMode="auto">
                <a:xfrm>
                  <a:off x="6436370" y="5287011"/>
                  <a:ext cx="168992" cy="149599"/>
                </a:xfrm>
                <a:custGeom>
                  <a:avLst/>
                  <a:gdLst>
                    <a:gd name="T0" fmla="*/ 122 w 122"/>
                    <a:gd name="T1" fmla="*/ 108 h 108"/>
                    <a:gd name="T2" fmla="*/ 12 w 122"/>
                    <a:gd name="T3" fmla="*/ 108 h 108"/>
                    <a:gd name="T4" fmla="*/ 0 w 122"/>
                    <a:gd name="T5" fmla="*/ 0 h 108"/>
                    <a:gd name="T6" fmla="*/ 108 w 122"/>
                    <a:gd name="T7" fmla="*/ 0 h 108"/>
                    <a:gd name="T8" fmla="*/ 122 w 122"/>
                    <a:gd name="T9" fmla="*/ 108 h 108"/>
                  </a:gdLst>
                  <a:ahLst/>
                  <a:cxnLst>
                    <a:cxn ang="0">
                      <a:pos x="T0" y="T1"/>
                    </a:cxn>
                    <a:cxn ang="0">
                      <a:pos x="T2" y="T3"/>
                    </a:cxn>
                    <a:cxn ang="0">
                      <a:pos x="T4" y="T5"/>
                    </a:cxn>
                    <a:cxn ang="0">
                      <a:pos x="T6" y="T7"/>
                    </a:cxn>
                    <a:cxn ang="0">
                      <a:pos x="T8" y="T9"/>
                    </a:cxn>
                  </a:cxnLst>
                  <a:rect l="0" t="0" r="r" b="b"/>
                  <a:pathLst>
                    <a:path w="122" h="108">
                      <a:moveTo>
                        <a:pt x="122" y="108"/>
                      </a:moveTo>
                      <a:lnTo>
                        <a:pt x="12" y="108"/>
                      </a:lnTo>
                      <a:lnTo>
                        <a:pt x="0" y="0"/>
                      </a:lnTo>
                      <a:lnTo>
                        <a:pt x="108" y="0"/>
                      </a:lnTo>
                      <a:lnTo>
                        <a:pt x="12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8" name="Freeform 240"/>
                <p:cNvSpPr/>
                <p:nvPr/>
              </p:nvSpPr>
              <p:spPr bwMode="auto">
                <a:xfrm>
                  <a:off x="6616443" y="5287011"/>
                  <a:ext cx="174532" cy="149599"/>
                </a:xfrm>
                <a:custGeom>
                  <a:avLst/>
                  <a:gdLst>
                    <a:gd name="T0" fmla="*/ 126 w 126"/>
                    <a:gd name="T1" fmla="*/ 108 h 108"/>
                    <a:gd name="T2" fmla="*/ 14 w 126"/>
                    <a:gd name="T3" fmla="*/ 108 h 108"/>
                    <a:gd name="T4" fmla="*/ 0 w 126"/>
                    <a:gd name="T5" fmla="*/ 0 h 108"/>
                    <a:gd name="T6" fmla="*/ 108 w 126"/>
                    <a:gd name="T7" fmla="*/ 0 h 108"/>
                    <a:gd name="T8" fmla="*/ 126 w 126"/>
                    <a:gd name="T9" fmla="*/ 108 h 108"/>
                  </a:gdLst>
                  <a:ahLst/>
                  <a:cxnLst>
                    <a:cxn ang="0">
                      <a:pos x="T0" y="T1"/>
                    </a:cxn>
                    <a:cxn ang="0">
                      <a:pos x="T2" y="T3"/>
                    </a:cxn>
                    <a:cxn ang="0">
                      <a:pos x="T4" y="T5"/>
                    </a:cxn>
                    <a:cxn ang="0">
                      <a:pos x="T6" y="T7"/>
                    </a:cxn>
                    <a:cxn ang="0">
                      <a:pos x="T8" y="T9"/>
                    </a:cxn>
                  </a:cxnLst>
                  <a:rect l="0" t="0" r="r" b="b"/>
                  <a:pathLst>
                    <a:path w="126" h="108">
                      <a:moveTo>
                        <a:pt x="126" y="108"/>
                      </a:moveTo>
                      <a:lnTo>
                        <a:pt x="14" y="108"/>
                      </a:lnTo>
                      <a:lnTo>
                        <a:pt x="0" y="0"/>
                      </a:lnTo>
                      <a:lnTo>
                        <a:pt x="108" y="0"/>
                      </a:lnTo>
                      <a:lnTo>
                        <a:pt x="12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9" name="Freeform 241"/>
                <p:cNvSpPr/>
                <p:nvPr/>
              </p:nvSpPr>
              <p:spPr bwMode="auto">
                <a:xfrm>
                  <a:off x="6796516" y="5287011"/>
                  <a:ext cx="180073" cy="149599"/>
                </a:xfrm>
                <a:custGeom>
                  <a:avLst/>
                  <a:gdLst>
                    <a:gd name="T0" fmla="*/ 130 w 130"/>
                    <a:gd name="T1" fmla="*/ 108 h 108"/>
                    <a:gd name="T2" fmla="*/ 18 w 130"/>
                    <a:gd name="T3" fmla="*/ 108 h 108"/>
                    <a:gd name="T4" fmla="*/ 0 w 130"/>
                    <a:gd name="T5" fmla="*/ 0 h 108"/>
                    <a:gd name="T6" fmla="*/ 106 w 130"/>
                    <a:gd name="T7" fmla="*/ 0 h 108"/>
                    <a:gd name="T8" fmla="*/ 130 w 130"/>
                    <a:gd name="T9" fmla="*/ 108 h 108"/>
                  </a:gdLst>
                  <a:ahLst/>
                  <a:cxnLst>
                    <a:cxn ang="0">
                      <a:pos x="T0" y="T1"/>
                    </a:cxn>
                    <a:cxn ang="0">
                      <a:pos x="T2" y="T3"/>
                    </a:cxn>
                    <a:cxn ang="0">
                      <a:pos x="T4" y="T5"/>
                    </a:cxn>
                    <a:cxn ang="0">
                      <a:pos x="T6" y="T7"/>
                    </a:cxn>
                    <a:cxn ang="0">
                      <a:pos x="T8" y="T9"/>
                    </a:cxn>
                  </a:cxnLst>
                  <a:rect l="0" t="0" r="r" b="b"/>
                  <a:pathLst>
                    <a:path w="130" h="108">
                      <a:moveTo>
                        <a:pt x="130" y="108"/>
                      </a:moveTo>
                      <a:lnTo>
                        <a:pt x="18" y="108"/>
                      </a:lnTo>
                      <a:lnTo>
                        <a:pt x="0" y="0"/>
                      </a:lnTo>
                      <a:lnTo>
                        <a:pt x="106" y="0"/>
                      </a:lnTo>
                      <a:lnTo>
                        <a:pt x="13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0" name="Freeform 242"/>
                <p:cNvSpPr/>
                <p:nvPr/>
              </p:nvSpPr>
              <p:spPr bwMode="auto">
                <a:xfrm>
                  <a:off x="6973819" y="5287011"/>
                  <a:ext cx="185614" cy="149599"/>
                </a:xfrm>
                <a:custGeom>
                  <a:avLst/>
                  <a:gdLst>
                    <a:gd name="T0" fmla="*/ 134 w 134"/>
                    <a:gd name="T1" fmla="*/ 108 h 108"/>
                    <a:gd name="T2" fmla="*/ 24 w 134"/>
                    <a:gd name="T3" fmla="*/ 108 h 108"/>
                    <a:gd name="T4" fmla="*/ 0 w 134"/>
                    <a:gd name="T5" fmla="*/ 0 h 108"/>
                    <a:gd name="T6" fmla="*/ 108 w 134"/>
                    <a:gd name="T7" fmla="*/ 0 h 108"/>
                    <a:gd name="T8" fmla="*/ 134 w 134"/>
                    <a:gd name="T9" fmla="*/ 108 h 108"/>
                  </a:gdLst>
                  <a:ahLst/>
                  <a:cxnLst>
                    <a:cxn ang="0">
                      <a:pos x="T0" y="T1"/>
                    </a:cxn>
                    <a:cxn ang="0">
                      <a:pos x="T2" y="T3"/>
                    </a:cxn>
                    <a:cxn ang="0">
                      <a:pos x="T4" y="T5"/>
                    </a:cxn>
                    <a:cxn ang="0">
                      <a:pos x="T6" y="T7"/>
                    </a:cxn>
                    <a:cxn ang="0">
                      <a:pos x="T8" y="T9"/>
                    </a:cxn>
                  </a:cxnLst>
                  <a:rect l="0" t="0" r="r" b="b"/>
                  <a:pathLst>
                    <a:path w="134" h="108">
                      <a:moveTo>
                        <a:pt x="134" y="108"/>
                      </a:moveTo>
                      <a:lnTo>
                        <a:pt x="24" y="108"/>
                      </a:lnTo>
                      <a:lnTo>
                        <a:pt x="0" y="0"/>
                      </a:lnTo>
                      <a:lnTo>
                        <a:pt x="108" y="0"/>
                      </a:lnTo>
                      <a:lnTo>
                        <a:pt x="13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1" name="Freeform 243"/>
                <p:cNvSpPr/>
                <p:nvPr/>
              </p:nvSpPr>
              <p:spPr bwMode="auto">
                <a:xfrm>
                  <a:off x="7153892" y="5287011"/>
                  <a:ext cx="191154" cy="149599"/>
                </a:xfrm>
                <a:custGeom>
                  <a:avLst/>
                  <a:gdLst>
                    <a:gd name="T0" fmla="*/ 138 w 138"/>
                    <a:gd name="T1" fmla="*/ 108 h 108"/>
                    <a:gd name="T2" fmla="*/ 26 w 138"/>
                    <a:gd name="T3" fmla="*/ 108 h 108"/>
                    <a:gd name="T4" fmla="*/ 0 w 138"/>
                    <a:gd name="T5" fmla="*/ 0 h 108"/>
                    <a:gd name="T6" fmla="*/ 106 w 138"/>
                    <a:gd name="T7" fmla="*/ 0 h 108"/>
                    <a:gd name="T8" fmla="*/ 138 w 138"/>
                    <a:gd name="T9" fmla="*/ 108 h 108"/>
                  </a:gdLst>
                  <a:ahLst/>
                  <a:cxnLst>
                    <a:cxn ang="0">
                      <a:pos x="T0" y="T1"/>
                    </a:cxn>
                    <a:cxn ang="0">
                      <a:pos x="T2" y="T3"/>
                    </a:cxn>
                    <a:cxn ang="0">
                      <a:pos x="T4" y="T5"/>
                    </a:cxn>
                    <a:cxn ang="0">
                      <a:pos x="T6" y="T7"/>
                    </a:cxn>
                    <a:cxn ang="0">
                      <a:pos x="T8" y="T9"/>
                    </a:cxn>
                  </a:cxnLst>
                  <a:rect l="0" t="0" r="r" b="b"/>
                  <a:pathLst>
                    <a:path w="138" h="108">
                      <a:moveTo>
                        <a:pt x="138" y="108"/>
                      </a:moveTo>
                      <a:lnTo>
                        <a:pt x="26" y="108"/>
                      </a:lnTo>
                      <a:lnTo>
                        <a:pt x="0" y="0"/>
                      </a:lnTo>
                      <a:lnTo>
                        <a:pt x="106" y="0"/>
                      </a:lnTo>
                      <a:lnTo>
                        <a:pt x="13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2" name="Freeform 244"/>
                <p:cNvSpPr/>
                <p:nvPr/>
              </p:nvSpPr>
              <p:spPr bwMode="auto">
                <a:xfrm>
                  <a:off x="7331194" y="5287011"/>
                  <a:ext cx="196695" cy="149599"/>
                </a:xfrm>
                <a:custGeom>
                  <a:avLst/>
                  <a:gdLst>
                    <a:gd name="T0" fmla="*/ 142 w 142"/>
                    <a:gd name="T1" fmla="*/ 108 h 108"/>
                    <a:gd name="T2" fmla="*/ 32 w 142"/>
                    <a:gd name="T3" fmla="*/ 108 h 108"/>
                    <a:gd name="T4" fmla="*/ 0 w 142"/>
                    <a:gd name="T5" fmla="*/ 0 h 108"/>
                    <a:gd name="T6" fmla="*/ 108 w 142"/>
                    <a:gd name="T7" fmla="*/ 0 h 108"/>
                    <a:gd name="T8" fmla="*/ 142 w 142"/>
                    <a:gd name="T9" fmla="*/ 108 h 108"/>
                  </a:gdLst>
                  <a:ahLst/>
                  <a:cxnLst>
                    <a:cxn ang="0">
                      <a:pos x="T0" y="T1"/>
                    </a:cxn>
                    <a:cxn ang="0">
                      <a:pos x="T2" y="T3"/>
                    </a:cxn>
                    <a:cxn ang="0">
                      <a:pos x="T4" y="T5"/>
                    </a:cxn>
                    <a:cxn ang="0">
                      <a:pos x="T6" y="T7"/>
                    </a:cxn>
                    <a:cxn ang="0">
                      <a:pos x="T8" y="T9"/>
                    </a:cxn>
                  </a:cxnLst>
                  <a:rect l="0" t="0" r="r" b="b"/>
                  <a:pathLst>
                    <a:path w="142" h="108">
                      <a:moveTo>
                        <a:pt x="142" y="108"/>
                      </a:moveTo>
                      <a:lnTo>
                        <a:pt x="32" y="108"/>
                      </a:lnTo>
                      <a:lnTo>
                        <a:pt x="0" y="0"/>
                      </a:lnTo>
                      <a:lnTo>
                        <a:pt x="108" y="0"/>
                      </a:lnTo>
                      <a:lnTo>
                        <a:pt x="14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3" name="Freeform 245"/>
                <p:cNvSpPr/>
                <p:nvPr/>
              </p:nvSpPr>
              <p:spPr bwMode="auto">
                <a:xfrm>
                  <a:off x="7511267" y="5287011"/>
                  <a:ext cx="202236" cy="149599"/>
                </a:xfrm>
                <a:custGeom>
                  <a:avLst/>
                  <a:gdLst>
                    <a:gd name="T0" fmla="*/ 146 w 146"/>
                    <a:gd name="T1" fmla="*/ 108 h 108"/>
                    <a:gd name="T2" fmla="*/ 36 w 146"/>
                    <a:gd name="T3" fmla="*/ 108 h 108"/>
                    <a:gd name="T4" fmla="*/ 0 w 146"/>
                    <a:gd name="T5" fmla="*/ 0 h 108"/>
                    <a:gd name="T6" fmla="*/ 106 w 146"/>
                    <a:gd name="T7" fmla="*/ 0 h 108"/>
                    <a:gd name="T8" fmla="*/ 146 w 146"/>
                    <a:gd name="T9" fmla="*/ 108 h 108"/>
                  </a:gdLst>
                  <a:ahLst/>
                  <a:cxnLst>
                    <a:cxn ang="0">
                      <a:pos x="T0" y="T1"/>
                    </a:cxn>
                    <a:cxn ang="0">
                      <a:pos x="T2" y="T3"/>
                    </a:cxn>
                    <a:cxn ang="0">
                      <a:pos x="T4" y="T5"/>
                    </a:cxn>
                    <a:cxn ang="0">
                      <a:pos x="T6" y="T7"/>
                    </a:cxn>
                    <a:cxn ang="0">
                      <a:pos x="T8" y="T9"/>
                    </a:cxn>
                  </a:cxnLst>
                  <a:rect l="0" t="0" r="r" b="b"/>
                  <a:pathLst>
                    <a:path w="146" h="108">
                      <a:moveTo>
                        <a:pt x="146" y="108"/>
                      </a:moveTo>
                      <a:lnTo>
                        <a:pt x="36" y="108"/>
                      </a:lnTo>
                      <a:lnTo>
                        <a:pt x="0" y="0"/>
                      </a:lnTo>
                      <a:lnTo>
                        <a:pt x="106" y="0"/>
                      </a:lnTo>
                      <a:lnTo>
                        <a:pt x="14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4" name="Freeform 246"/>
                <p:cNvSpPr/>
                <p:nvPr/>
              </p:nvSpPr>
              <p:spPr bwMode="auto">
                <a:xfrm>
                  <a:off x="7688570" y="5287011"/>
                  <a:ext cx="210547" cy="149599"/>
                </a:xfrm>
                <a:custGeom>
                  <a:avLst/>
                  <a:gdLst>
                    <a:gd name="T0" fmla="*/ 152 w 152"/>
                    <a:gd name="T1" fmla="*/ 108 h 108"/>
                    <a:gd name="T2" fmla="*/ 40 w 152"/>
                    <a:gd name="T3" fmla="*/ 108 h 108"/>
                    <a:gd name="T4" fmla="*/ 0 w 152"/>
                    <a:gd name="T5" fmla="*/ 0 h 108"/>
                    <a:gd name="T6" fmla="*/ 108 w 152"/>
                    <a:gd name="T7" fmla="*/ 0 h 108"/>
                    <a:gd name="T8" fmla="*/ 152 w 152"/>
                    <a:gd name="T9" fmla="*/ 108 h 108"/>
                  </a:gdLst>
                  <a:ahLst/>
                  <a:cxnLst>
                    <a:cxn ang="0">
                      <a:pos x="T0" y="T1"/>
                    </a:cxn>
                    <a:cxn ang="0">
                      <a:pos x="T2" y="T3"/>
                    </a:cxn>
                    <a:cxn ang="0">
                      <a:pos x="T4" y="T5"/>
                    </a:cxn>
                    <a:cxn ang="0">
                      <a:pos x="T6" y="T7"/>
                    </a:cxn>
                    <a:cxn ang="0">
                      <a:pos x="T8" y="T9"/>
                    </a:cxn>
                  </a:cxnLst>
                  <a:rect l="0" t="0" r="r" b="b"/>
                  <a:pathLst>
                    <a:path w="152" h="108">
                      <a:moveTo>
                        <a:pt x="152" y="108"/>
                      </a:moveTo>
                      <a:lnTo>
                        <a:pt x="40" y="108"/>
                      </a:lnTo>
                      <a:lnTo>
                        <a:pt x="0" y="0"/>
                      </a:lnTo>
                      <a:lnTo>
                        <a:pt x="108" y="0"/>
                      </a:lnTo>
                      <a:lnTo>
                        <a:pt x="15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5" name="Freeform 247"/>
                <p:cNvSpPr/>
                <p:nvPr/>
              </p:nvSpPr>
              <p:spPr bwMode="auto">
                <a:xfrm>
                  <a:off x="7868643" y="5287011"/>
                  <a:ext cx="213317" cy="149599"/>
                </a:xfrm>
                <a:custGeom>
                  <a:avLst/>
                  <a:gdLst>
                    <a:gd name="T0" fmla="*/ 154 w 154"/>
                    <a:gd name="T1" fmla="*/ 108 h 108"/>
                    <a:gd name="T2" fmla="*/ 44 w 154"/>
                    <a:gd name="T3" fmla="*/ 108 h 108"/>
                    <a:gd name="T4" fmla="*/ 0 w 154"/>
                    <a:gd name="T5" fmla="*/ 0 h 108"/>
                    <a:gd name="T6" fmla="*/ 108 w 154"/>
                    <a:gd name="T7" fmla="*/ 0 h 108"/>
                    <a:gd name="T8" fmla="*/ 154 w 154"/>
                    <a:gd name="T9" fmla="*/ 108 h 108"/>
                  </a:gdLst>
                  <a:ahLst/>
                  <a:cxnLst>
                    <a:cxn ang="0">
                      <a:pos x="T0" y="T1"/>
                    </a:cxn>
                    <a:cxn ang="0">
                      <a:pos x="T2" y="T3"/>
                    </a:cxn>
                    <a:cxn ang="0">
                      <a:pos x="T4" y="T5"/>
                    </a:cxn>
                    <a:cxn ang="0">
                      <a:pos x="T6" y="T7"/>
                    </a:cxn>
                    <a:cxn ang="0">
                      <a:pos x="T8" y="T9"/>
                    </a:cxn>
                  </a:cxnLst>
                  <a:rect l="0" t="0" r="r" b="b"/>
                  <a:pathLst>
                    <a:path w="154" h="108">
                      <a:moveTo>
                        <a:pt x="154" y="108"/>
                      </a:moveTo>
                      <a:lnTo>
                        <a:pt x="44" y="108"/>
                      </a:lnTo>
                      <a:lnTo>
                        <a:pt x="0" y="0"/>
                      </a:lnTo>
                      <a:lnTo>
                        <a:pt x="108" y="0"/>
                      </a:lnTo>
                      <a:lnTo>
                        <a:pt x="15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6" name="Freeform 248"/>
                <p:cNvSpPr/>
                <p:nvPr/>
              </p:nvSpPr>
              <p:spPr bwMode="auto">
                <a:xfrm>
                  <a:off x="8045946" y="5287011"/>
                  <a:ext cx="221628" cy="149599"/>
                </a:xfrm>
                <a:custGeom>
                  <a:avLst/>
                  <a:gdLst>
                    <a:gd name="T0" fmla="*/ 160 w 160"/>
                    <a:gd name="T1" fmla="*/ 108 h 108"/>
                    <a:gd name="T2" fmla="*/ 48 w 160"/>
                    <a:gd name="T3" fmla="*/ 108 h 108"/>
                    <a:gd name="T4" fmla="*/ 0 w 160"/>
                    <a:gd name="T5" fmla="*/ 0 h 108"/>
                    <a:gd name="T6" fmla="*/ 108 w 160"/>
                    <a:gd name="T7" fmla="*/ 0 h 108"/>
                    <a:gd name="T8" fmla="*/ 160 w 160"/>
                    <a:gd name="T9" fmla="*/ 108 h 108"/>
                  </a:gdLst>
                  <a:ahLst/>
                  <a:cxnLst>
                    <a:cxn ang="0">
                      <a:pos x="T0" y="T1"/>
                    </a:cxn>
                    <a:cxn ang="0">
                      <a:pos x="T2" y="T3"/>
                    </a:cxn>
                    <a:cxn ang="0">
                      <a:pos x="T4" y="T5"/>
                    </a:cxn>
                    <a:cxn ang="0">
                      <a:pos x="T6" y="T7"/>
                    </a:cxn>
                    <a:cxn ang="0">
                      <a:pos x="T8" y="T9"/>
                    </a:cxn>
                  </a:cxnLst>
                  <a:rect l="0" t="0" r="r" b="b"/>
                  <a:pathLst>
                    <a:path w="160" h="108">
                      <a:moveTo>
                        <a:pt x="160" y="108"/>
                      </a:moveTo>
                      <a:lnTo>
                        <a:pt x="48" y="108"/>
                      </a:lnTo>
                      <a:lnTo>
                        <a:pt x="0" y="0"/>
                      </a:lnTo>
                      <a:lnTo>
                        <a:pt x="108" y="0"/>
                      </a:lnTo>
                      <a:lnTo>
                        <a:pt x="16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7" name="Freeform 249"/>
                <p:cNvSpPr/>
                <p:nvPr/>
              </p:nvSpPr>
              <p:spPr bwMode="auto">
                <a:xfrm>
                  <a:off x="8226019" y="5287011"/>
                  <a:ext cx="326902" cy="346294"/>
                </a:xfrm>
                <a:custGeom>
                  <a:avLst/>
                  <a:gdLst>
                    <a:gd name="T0" fmla="*/ 236 w 236"/>
                    <a:gd name="T1" fmla="*/ 250 h 250"/>
                    <a:gd name="T2" fmla="*/ 120 w 236"/>
                    <a:gd name="T3" fmla="*/ 250 h 250"/>
                    <a:gd name="T4" fmla="*/ 0 w 236"/>
                    <a:gd name="T5" fmla="*/ 0 h 250"/>
                    <a:gd name="T6" fmla="*/ 108 w 236"/>
                    <a:gd name="T7" fmla="*/ 0 h 250"/>
                    <a:gd name="T8" fmla="*/ 236 w 236"/>
                    <a:gd name="T9" fmla="*/ 250 h 250"/>
                  </a:gdLst>
                  <a:ahLst/>
                  <a:cxnLst>
                    <a:cxn ang="0">
                      <a:pos x="T0" y="T1"/>
                    </a:cxn>
                    <a:cxn ang="0">
                      <a:pos x="T2" y="T3"/>
                    </a:cxn>
                    <a:cxn ang="0">
                      <a:pos x="T4" y="T5"/>
                    </a:cxn>
                    <a:cxn ang="0">
                      <a:pos x="T6" y="T7"/>
                    </a:cxn>
                    <a:cxn ang="0">
                      <a:pos x="T8" y="T9"/>
                    </a:cxn>
                  </a:cxnLst>
                  <a:rect l="0" t="0" r="r" b="b"/>
                  <a:pathLst>
                    <a:path w="236" h="250">
                      <a:moveTo>
                        <a:pt x="236" y="250"/>
                      </a:moveTo>
                      <a:lnTo>
                        <a:pt x="120" y="250"/>
                      </a:lnTo>
                      <a:lnTo>
                        <a:pt x="0" y="0"/>
                      </a:lnTo>
                      <a:lnTo>
                        <a:pt x="108" y="0"/>
                      </a:lnTo>
                      <a:lnTo>
                        <a:pt x="236" y="250"/>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8" name="Freeform 250"/>
                <p:cNvSpPr/>
                <p:nvPr/>
              </p:nvSpPr>
              <p:spPr bwMode="auto">
                <a:xfrm>
                  <a:off x="4160525" y="5494788"/>
                  <a:ext cx="210547" cy="149599"/>
                </a:xfrm>
                <a:custGeom>
                  <a:avLst/>
                  <a:gdLst>
                    <a:gd name="T0" fmla="*/ 114 w 152"/>
                    <a:gd name="T1" fmla="*/ 108 h 108"/>
                    <a:gd name="T2" fmla="*/ 0 w 152"/>
                    <a:gd name="T3" fmla="*/ 108 h 108"/>
                    <a:gd name="T4" fmla="*/ 38 w 152"/>
                    <a:gd name="T5" fmla="*/ 0 h 108"/>
                    <a:gd name="T6" fmla="*/ 152 w 152"/>
                    <a:gd name="T7" fmla="*/ 0 h 108"/>
                    <a:gd name="T8" fmla="*/ 114 w 152"/>
                    <a:gd name="T9" fmla="*/ 108 h 108"/>
                  </a:gdLst>
                  <a:ahLst/>
                  <a:cxnLst>
                    <a:cxn ang="0">
                      <a:pos x="T0" y="T1"/>
                    </a:cxn>
                    <a:cxn ang="0">
                      <a:pos x="T2" y="T3"/>
                    </a:cxn>
                    <a:cxn ang="0">
                      <a:pos x="T4" y="T5"/>
                    </a:cxn>
                    <a:cxn ang="0">
                      <a:pos x="T6" y="T7"/>
                    </a:cxn>
                    <a:cxn ang="0">
                      <a:pos x="T8" y="T9"/>
                    </a:cxn>
                  </a:cxnLst>
                  <a:rect l="0" t="0" r="r" b="b"/>
                  <a:pathLst>
                    <a:path w="152" h="108">
                      <a:moveTo>
                        <a:pt x="114" y="108"/>
                      </a:moveTo>
                      <a:lnTo>
                        <a:pt x="0" y="108"/>
                      </a:lnTo>
                      <a:lnTo>
                        <a:pt x="38" y="0"/>
                      </a:lnTo>
                      <a:lnTo>
                        <a:pt x="152" y="0"/>
                      </a:lnTo>
                      <a:lnTo>
                        <a:pt x="11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9" name="Freeform 251"/>
                <p:cNvSpPr/>
                <p:nvPr/>
              </p:nvSpPr>
              <p:spPr bwMode="auto">
                <a:xfrm>
                  <a:off x="4351679" y="5494788"/>
                  <a:ext cx="205006" cy="149599"/>
                </a:xfrm>
                <a:custGeom>
                  <a:avLst/>
                  <a:gdLst>
                    <a:gd name="T0" fmla="*/ 116 w 148"/>
                    <a:gd name="T1" fmla="*/ 108 h 108"/>
                    <a:gd name="T2" fmla="*/ 0 w 148"/>
                    <a:gd name="T3" fmla="*/ 108 h 108"/>
                    <a:gd name="T4" fmla="*/ 36 w 148"/>
                    <a:gd name="T5" fmla="*/ 0 h 108"/>
                    <a:gd name="T6" fmla="*/ 148 w 148"/>
                    <a:gd name="T7" fmla="*/ 0 h 108"/>
                    <a:gd name="T8" fmla="*/ 116 w 148"/>
                    <a:gd name="T9" fmla="*/ 108 h 108"/>
                  </a:gdLst>
                  <a:ahLst/>
                  <a:cxnLst>
                    <a:cxn ang="0">
                      <a:pos x="T0" y="T1"/>
                    </a:cxn>
                    <a:cxn ang="0">
                      <a:pos x="T2" y="T3"/>
                    </a:cxn>
                    <a:cxn ang="0">
                      <a:pos x="T4" y="T5"/>
                    </a:cxn>
                    <a:cxn ang="0">
                      <a:pos x="T6" y="T7"/>
                    </a:cxn>
                    <a:cxn ang="0">
                      <a:pos x="T8" y="T9"/>
                    </a:cxn>
                  </a:cxnLst>
                  <a:rect l="0" t="0" r="r" b="b"/>
                  <a:pathLst>
                    <a:path w="148" h="108">
                      <a:moveTo>
                        <a:pt x="116" y="108"/>
                      </a:moveTo>
                      <a:lnTo>
                        <a:pt x="0" y="108"/>
                      </a:lnTo>
                      <a:lnTo>
                        <a:pt x="36" y="0"/>
                      </a:lnTo>
                      <a:lnTo>
                        <a:pt x="148"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0" name="Freeform 252"/>
                <p:cNvSpPr/>
                <p:nvPr/>
              </p:nvSpPr>
              <p:spPr bwMode="auto">
                <a:xfrm>
                  <a:off x="4545604" y="5494788"/>
                  <a:ext cx="199465" cy="149599"/>
                </a:xfrm>
                <a:custGeom>
                  <a:avLst/>
                  <a:gdLst>
                    <a:gd name="T0" fmla="*/ 116 w 144"/>
                    <a:gd name="T1" fmla="*/ 108 h 108"/>
                    <a:gd name="T2" fmla="*/ 0 w 144"/>
                    <a:gd name="T3" fmla="*/ 108 h 108"/>
                    <a:gd name="T4" fmla="*/ 30 w 144"/>
                    <a:gd name="T5" fmla="*/ 0 h 108"/>
                    <a:gd name="T6" fmla="*/ 144 w 144"/>
                    <a:gd name="T7" fmla="*/ 0 h 108"/>
                    <a:gd name="T8" fmla="*/ 116 w 144"/>
                    <a:gd name="T9" fmla="*/ 108 h 108"/>
                  </a:gdLst>
                  <a:ahLst/>
                  <a:cxnLst>
                    <a:cxn ang="0">
                      <a:pos x="T0" y="T1"/>
                    </a:cxn>
                    <a:cxn ang="0">
                      <a:pos x="T2" y="T3"/>
                    </a:cxn>
                    <a:cxn ang="0">
                      <a:pos x="T4" y="T5"/>
                    </a:cxn>
                    <a:cxn ang="0">
                      <a:pos x="T6" y="T7"/>
                    </a:cxn>
                    <a:cxn ang="0">
                      <a:pos x="T8" y="T9"/>
                    </a:cxn>
                  </a:cxnLst>
                  <a:rect l="0" t="0" r="r" b="b"/>
                  <a:pathLst>
                    <a:path w="144" h="108">
                      <a:moveTo>
                        <a:pt x="116" y="108"/>
                      </a:moveTo>
                      <a:lnTo>
                        <a:pt x="0" y="108"/>
                      </a:lnTo>
                      <a:lnTo>
                        <a:pt x="30" y="0"/>
                      </a:lnTo>
                      <a:lnTo>
                        <a:pt x="144"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1" name="Freeform 253"/>
                <p:cNvSpPr/>
                <p:nvPr/>
              </p:nvSpPr>
              <p:spPr bwMode="auto">
                <a:xfrm>
                  <a:off x="4736758" y="5494788"/>
                  <a:ext cx="193925" cy="149599"/>
                </a:xfrm>
                <a:custGeom>
                  <a:avLst/>
                  <a:gdLst>
                    <a:gd name="T0" fmla="*/ 116 w 140"/>
                    <a:gd name="T1" fmla="*/ 108 h 108"/>
                    <a:gd name="T2" fmla="*/ 0 w 140"/>
                    <a:gd name="T3" fmla="*/ 108 h 108"/>
                    <a:gd name="T4" fmla="*/ 28 w 140"/>
                    <a:gd name="T5" fmla="*/ 0 h 108"/>
                    <a:gd name="T6" fmla="*/ 140 w 140"/>
                    <a:gd name="T7" fmla="*/ 0 h 108"/>
                    <a:gd name="T8" fmla="*/ 116 w 140"/>
                    <a:gd name="T9" fmla="*/ 108 h 108"/>
                  </a:gdLst>
                  <a:ahLst/>
                  <a:cxnLst>
                    <a:cxn ang="0">
                      <a:pos x="T0" y="T1"/>
                    </a:cxn>
                    <a:cxn ang="0">
                      <a:pos x="T2" y="T3"/>
                    </a:cxn>
                    <a:cxn ang="0">
                      <a:pos x="T4" y="T5"/>
                    </a:cxn>
                    <a:cxn ang="0">
                      <a:pos x="T6" y="T7"/>
                    </a:cxn>
                    <a:cxn ang="0">
                      <a:pos x="T8" y="T9"/>
                    </a:cxn>
                  </a:cxnLst>
                  <a:rect l="0" t="0" r="r" b="b"/>
                  <a:pathLst>
                    <a:path w="140" h="108">
                      <a:moveTo>
                        <a:pt x="116" y="108"/>
                      </a:moveTo>
                      <a:lnTo>
                        <a:pt x="0" y="108"/>
                      </a:lnTo>
                      <a:lnTo>
                        <a:pt x="28" y="0"/>
                      </a:lnTo>
                      <a:lnTo>
                        <a:pt x="140"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2" name="Freeform 254"/>
                <p:cNvSpPr/>
                <p:nvPr/>
              </p:nvSpPr>
              <p:spPr bwMode="auto">
                <a:xfrm>
                  <a:off x="4930683" y="5494788"/>
                  <a:ext cx="185614" cy="149599"/>
                </a:xfrm>
                <a:custGeom>
                  <a:avLst/>
                  <a:gdLst>
                    <a:gd name="T0" fmla="*/ 116 w 134"/>
                    <a:gd name="T1" fmla="*/ 108 h 108"/>
                    <a:gd name="T2" fmla="*/ 0 w 134"/>
                    <a:gd name="T3" fmla="*/ 108 h 108"/>
                    <a:gd name="T4" fmla="*/ 22 w 134"/>
                    <a:gd name="T5" fmla="*/ 0 h 108"/>
                    <a:gd name="T6" fmla="*/ 134 w 134"/>
                    <a:gd name="T7" fmla="*/ 0 h 108"/>
                    <a:gd name="T8" fmla="*/ 116 w 134"/>
                    <a:gd name="T9" fmla="*/ 108 h 108"/>
                  </a:gdLst>
                  <a:ahLst/>
                  <a:cxnLst>
                    <a:cxn ang="0">
                      <a:pos x="T0" y="T1"/>
                    </a:cxn>
                    <a:cxn ang="0">
                      <a:pos x="T2" y="T3"/>
                    </a:cxn>
                    <a:cxn ang="0">
                      <a:pos x="T4" y="T5"/>
                    </a:cxn>
                    <a:cxn ang="0">
                      <a:pos x="T6" y="T7"/>
                    </a:cxn>
                    <a:cxn ang="0">
                      <a:pos x="T8" y="T9"/>
                    </a:cxn>
                  </a:cxnLst>
                  <a:rect l="0" t="0" r="r" b="b"/>
                  <a:pathLst>
                    <a:path w="134" h="108">
                      <a:moveTo>
                        <a:pt x="116" y="108"/>
                      </a:moveTo>
                      <a:lnTo>
                        <a:pt x="0" y="108"/>
                      </a:lnTo>
                      <a:lnTo>
                        <a:pt x="22" y="0"/>
                      </a:lnTo>
                      <a:lnTo>
                        <a:pt x="134"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3" name="Freeform 255"/>
                <p:cNvSpPr/>
                <p:nvPr/>
              </p:nvSpPr>
              <p:spPr bwMode="auto">
                <a:xfrm>
                  <a:off x="5121837" y="5494788"/>
                  <a:ext cx="182843" cy="149599"/>
                </a:xfrm>
                <a:custGeom>
                  <a:avLst/>
                  <a:gdLst>
                    <a:gd name="T0" fmla="*/ 116 w 132"/>
                    <a:gd name="T1" fmla="*/ 108 h 108"/>
                    <a:gd name="T2" fmla="*/ 0 w 132"/>
                    <a:gd name="T3" fmla="*/ 108 h 108"/>
                    <a:gd name="T4" fmla="*/ 20 w 132"/>
                    <a:gd name="T5" fmla="*/ 0 h 108"/>
                    <a:gd name="T6" fmla="*/ 132 w 132"/>
                    <a:gd name="T7" fmla="*/ 0 h 108"/>
                    <a:gd name="T8" fmla="*/ 116 w 132"/>
                    <a:gd name="T9" fmla="*/ 108 h 108"/>
                  </a:gdLst>
                  <a:ahLst/>
                  <a:cxnLst>
                    <a:cxn ang="0">
                      <a:pos x="T0" y="T1"/>
                    </a:cxn>
                    <a:cxn ang="0">
                      <a:pos x="T2" y="T3"/>
                    </a:cxn>
                    <a:cxn ang="0">
                      <a:pos x="T4" y="T5"/>
                    </a:cxn>
                    <a:cxn ang="0">
                      <a:pos x="T6" y="T7"/>
                    </a:cxn>
                    <a:cxn ang="0">
                      <a:pos x="T8" y="T9"/>
                    </a:cxn>
                  </a:cxnLst>
                  <a:rect l="0" t="0" r="r" b="b"/>
                  <a:pathLst>
                    <a:path w="132" h="108">
                      <a:moveTo>
                        <a:pt x="116" y="108"/>
                      </a:moveTo>
                      <a:lnTo>
                        <a:pt x="0" y="108"/>
                      </a:lnTo>
                      <a:lnTo>
                        <a:pt x="20" y="0"/>
                      </a:lnTo>
                      <a:lnTo>
                        <a:pt x="132"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4" name="Freeform 256"/>
                <p:cNvSpPr/>
                <p:nvPr/>
              </p:nvSpPr>
              <p:spPr bwMode="auto">
                <a:xfrm>
                  <a:off x="5315762" y="5494788"/>
                  <a:ext cx="174532" cy="149599"/>
                </a:xfrm>
                <a:custGeom>
                  <a:avLst/>
                  <a:gdLst>
                    <a:gd name="T0" fmla="*/ 116 w 126"/>
                    <a:gd name="T1" fmla="*/ 108 h 108"/>
                    <a:gd name="T2" fmla="*/ 0 w 126"/>
                    <a:gd name="T3" fmla="*/ 108 h 108"/>
                    <a:gd name="T4" fmla="*/ 14 w 126"/>
                    <a:gd name="T5" fmla="*/ 0 h 108"/>
                    <a:gd name="T6" fmla="*/ 126 w 126"/>
                    <a:gd name="T7" fmla="*/ 0 h 108"/>
                    <a:gd name="T8" fmla="*/ 116 w 126"/>
                    <a:gd name="T9" fmla="*/ 108 h 108"/>
                  </a:gdLst>
                  <a:ahLst/>
                  <a:cxnLst>
                    <a:cxn ang="0">
                      <a:pos x="T0" y="T1"/>
                    </a:cxn>
                    <a:cxn ang="0">
                      <a:pos x="T2" y="T3"/>
                    </a:cxn>
                    <a:cxn ang="0">
                      <a:pos x="T4" y="T5"/>
                    </a:cxn>
                    <a:cxn ang="0">
                      <a:pos x="T6" y="T7"/>
                    </a:cxn>
                    <a:cxn ang="0">
                      <a:pos x="T8" y="T9"/>
                    </a:cxn>
                  </a:cxnLst>
                  <a:rect l="0" t="0" r="r" b="b"/>
                  <a:pathLst>
                    <a:path w="126" h="108">
                      <a:moveTo>
                        <a:pt x="116" y="108"/>
                      </a:moveTo>
                      <a:lnTo>
                        <a:pt x="0" y="108"/>
                      </a:lnTo>
                      <a:lnTo>
                        <a:pt x="14" y="0"/>
                      </a:lnTo>
                      <a:lnTo>
                        <a:pt x="126"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5" name="Freeform 257"/>
                <p:cNvSpPr/>
                <p:nvPr/>
              </p:nvSpPr>
              <p:spPr bwMode="auto">
                <a:xfrm>
                  <a:off x="5506916" y="5494788"/>
                  <a:ext cx="171762" cy="149599"/>
                </a:xfrm>
                <a:custGeom>
                  <a:avLst/>
                  <a:gdLst>
                    <a:gd name="T0" fmla="*/ 116 w 124"/>
                    <a:gd name="T1" fmla="*/ 108 h 108"/>
                    <a:gd name="T2" fmla="*/ 0 w 124"/>
                    <a:gd name="T3" fmla="*/ 108 h 108"/>
                    <a:gd name="T4" fmla="*/ 12 w 124"/>
                    <a:gd name="T5" fmla="*/ 0 h 108"/>
                    <a:gd name="T6" fmla="*/ 124 w 124"/>
                    <a:gd name="T7" fmla="*/ 0 h 108"/>
                    <a:gd name="T8" fmla="*/ 116 w 124"/>
                    <a:gd name="T9" fmla="*/ 108 h 108"/>
                  </a:gdLst>
                  <a:ahLst/>
                  <a:cxnLst>
                    <a:cxn ang="0">
                      <a:pos x="T0" y="T1"/>
                    </a:cxn>
                    <a:cxn ang="0">
                      <a:pos x="T2" y="T3"/>
                    </a:cxn>
                    <a:cxn ang="0">
                      <a:pos x="T4" y="T5"/>
                    </a:cxn>
                    <a:cxn ang="0">
                      <a:pos x="T6" y="T7"/>
                    </a:cxn>
                    <a:cxn ang="0">
                      <a:pos x="T8" y="T9"/>
                    </a:cxn>
                  </a:cxnLst>
                  <a:rect l="0" t="0" r="r" b="b"/>
                  <a:pathLst>
                    <a:path w="124" h="108">
                      <a:moveTo>
                        <a:pt x="116" y="108"/>
                      </a:moveTo>
                      <a:lnTo>
                        <a:pt x="0" y="108"/>
                      </a:lnTo>
                      <a:lnTo>
                        <a:pt x="12" y="0"/>
                      </a:lnTo>
                      <a:lnTo>
                        <a:pt x="124"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6" name="Freeform 258"/>
                <p:cNvSpPr/>
                <p:nvPr/>
              </p:nvSpPr>
              <p:spPr bwMode="auto">
                <a:xfrm>
                  <a:off x="5700841" y="5494788"/>
                  <a:ext cx="163451" cy="149599"/>
                </a:xfrm>
                <a:custGeom>
                  <a:avLst/>
                  <a:gdLst>
                    <a:gd name="T0" fmla="*/ 116 w 118"/>
                    <a:gd name="T1" fmla="*/ 108 h 108"/>
                    <a:gd name="T2" fmla="*/ 0 w 118"/>
                    <a:gd name="T3" fmla="*/ 108 h 108"/>
                    <a:gd name="T4" fmla="*/ 6 w 118"/>
                    <a:gd name="T5" fmla="*/ 0 h 108"/>
                    <a:gd name="T6" fmla="*/ 118 w 118"/>
                    <a:gd name="T7" fmla="*/ 0 h 108"/>
                    <a:gd name="T8" fmla="*/ 116 w 118"/>
                    <a:gd name="T9" fmla="*/ 108 h 108"/>
                  </a:gdLst>
                  <a:ahLst/>
                  <a:cxnLst>
                    <a:cxn ang="0">
                      <a:pos x="T0" y="T1"/>
                    </a:cxn>
                    <a:cxn ang="0">
                      <a:pos x="T2" y="T3"/>
                    </a:cxn>
                    <a:cxn ang="0">
                      <a:pos x="T4" y="T5"/>
                    </a:cxn>
                    <a:cxn ang="0">
                      <a:pos x="T6" y="T7"/>
                    </a:cxn>
                    <a:cxn ang="0">
                      <a:pos x="T8" y="T9"/>
                    </a:cxn>
                  </a:cxnLst>
                  <a:rect l="0" t="0" r="r" b="b"/>
                  <a:pathLst>
                    <a:path w="118" h="108">
                      <a:moveTo>
                        <a:pt x="116" y="108"/>
                      </a:moveTo>
                      <a:lnTo>
                        <a:pt x="0" y="108"/>
                      </a:lnTo>
                      <a:lnTo>
                        <a:pt x="6" y="0"/>
                      </a:lnTo>
                      <a:lnTo>
                        <a:pt x="118"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7" name="Freeform 259"/>
                <p:cNvSpPr/>
                <p:nvPr/>
              </p:nvSpPr>
              <p:spPr bwMode="auto">
                <a:xfrm>
                  <a:off x="5891995" y="5494788"/>
                  <a:ext cx="160680" cy="149599"/>
                </a:xfrm>
                <a:custGeom>
                  <a:avLst/>
                  <a:gdLst>
                    <a:gd name="T0" fmla="*/ 116 w 116"/>
                    <a:gd name="T1" fmla="*/ 108 h 108"/>
                    <a:gd name="T2" fmla="*/ 0 w 116"/>
                    <a:gd name="T3" fmla="*/ 108 h 108"/>
                    <a:gd name="T4" fmla="*/ 2 w 116"/>
                    <a:gd name="T5" fmla="*/ 0 h 108"/>
                    <a:gd name="T6" fmla="*/ 116 w 116"/>
                    <a:gd name="T7" fmla="*/ 0 h 108"/>
                    <a:gd name="T8" fmla="*/ 116 w 116"/>
                    <a:gd name="T9" fmla="*/ 108 h 108"/>
                  </a:gdLst>
                  <a:ahLst/>
                  <a:cxnLst>
                    <a:cxn ang="0">
                      <a:pos x="T0" y="T1"/>
                    </a:cxn>
                    <a:cxn ang="0">
                      <a:pos x="T2" y="T3"/>
                    </a:cxn>
                    <a:cxn ang="0">
                      <a:pos x="T4" y="T5"/>
                    </a:cxn>
                    <a:cxn ang="0">
                      <a:pos x="T6" y="T7"/>
                    </a:cxn>
                    <a:cxn ang="0">
                      <a:pos x="T8" y="T9"/>
                    </a:cxn>
                  </a:cxnLst>
                  <a:rect l="0" t="0" r="r" b="b"/>
                  <a:pathLst>
                    <a:path w="116" h="108">
                      <a:moveTo>
                        <a:pt x="116" y="108"/>
                      </a:moveTo>
                      <a:lnTo>
                        <a:pt x="0" y="108"/>
                      </a:lnTo>
                      <a:lnTo>
                        <a:pt x="2" y="0"/>
                      </a:lnTo>
                      <a:lnTo>
                        <a:pt x="116" y="0"/>
                      </a:lnTo>
                      <a:lnTo>
                        <a:pt x="11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8" name="Freeform 260"/>
                <p:cNvSpPr/>
                <p:nvPr/>
              </p:nvSpPr>
              <p:spPr bwMode="auto">
                <a:xfrm>
                  <a:off x="6083150" y="5494788"/>
                  <a:ext cx="164836" cy="149599"/>
                </a:xfrm>
                <a:custGeom>
                  <a:avLst/>
                  <a:gdLst>
                    <a:gd name="T0" fmla="*/ 119 w 119"/>
                    <a:gd name="T1" fmla="*/ 108 h 108"/>
                    <a:gd name="T2" fmla="*/ 2 w 119"/>
                    <a:gd name="T3" fmla="*/ 108 h 108"/>
                    <a:gd name="T4" fmla="*/ 0 w 119"/>
                    <a:gd name="T5" fmla="*/ 0 h 108"/>
                    <a:gd name="T6" fmla="*/ 113 w 119"/>
                    <a:gd name="T7" fmla="*/ 0 h 108"/>
                    <a:gd name="T8" fmla="*/ 119 w 119"/>
                    <a:gd name="T9" fmla="*/ 108 h 108"/>
                  </a:gdLst>
                  <a:ahLst/>
                  <a:cxnLst>
                    <a:cxn ang="0">
                      <a:pos x="T0" y="T1"/>
                    </a:cxn>
                    <a:cxn ang="0">
                      <a:pos x="T2" y="T3"/>
                    </a:cxn>
                    <a:cxn ang="0">
                      <a:pos x="T4" y="T5"/>
                    </a:cxn>
                    <a:cxn ang="0">
                      <a:pos x="T6" y="T7"/>
                    </a:cxn>
                    <a:cxn ang="0">
                      <a:pos x="T8" y="T9"/>
                    </a:cxn>
                  </a:cxnLst>
                  <a:rect l="0" t="0" r="r" b="b"/>
                  <a:pathLst>
                    <a:path w="119" h="108">
                      <a:moveTo>
                        <a:pt x="119" y="108"/>
                      </a:moveTo>
                      <a:lnTo>
                        <a:pt x="2" y="108"/>
                      </a:lnTo>
                      <a:lnTo>
                        <a:pt x="0" y="0"/>
                      </a:lnTo>
                      <a:lnTo>
                        <a:pt x="113" y="0"/>
                      </a:lnTo>
                      <a:lnTo>
                        <a:pt x="119"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09" name="Freeform 261"/>
                <p:cNvSpPr/>
                <p:nvPr/>
              </p:nvSpPr>
              <p:spPr bwMode="auto">
                <a:xfrm>
                  <a:off x="6270149" y="5494788"/>
                  <a:ext cx="168992" cy="149599"/>
                </a:xfrm>
                <a:custGeom>
                  <a:avLst/>
                  <a:gdLst>
                    <a:gd name="T0" fmla="*/ 122 w 122"/>
                    <a:gd name="T1" fmla="*/ 108 h 108"/>
                    <a:gd name="T2" fmla="*/ 6 w 122"/>
                    <a:gd name="T3" fmla="*/ 108 h 108"/>
                    <a:gd name="T4" fmla="*/ 0 w 122"/>
                    <a:gd name="T5" fmla="*/ 0 h 108"/>
                    <a:gd name="T6" fmla="*/ 112 w 122"/>
                    <a:gd name="T7" fmla="*/ 0 h 108"/>
                    <a:gd name="T8" fmla="*/ 122 w 122"/>
                    <a:gd name="T9" fmla="*/ 108 h 108"/>
                  </a:gdLst>
                  <a:ahLst/>
                  <a:cxnLst>
                    <a:cxn ang="0">
                      <a:pos x="T0" y="T1"/>
                    </a:cxn>
                    <a:cxn ang="0">
                      <a:pos x="T2" y="T3"/>
                    </a:cxn>
                    <a:cxn ang="0">
                      <a:pos x="T4" y="T5"/>
                    </a:cxn>
                    <a:cxn ang="0">
                      <a:pos x="T6" y="T7"/>
                    </a:cxn>
                    <a:cxn ang="0">
                      <a:pos x="T8" y="T9"/>
                    </a:cxn>
                  </a:cxnLst>
                  <a:rect l="0" t="0" r="r" b="b"/>
                  <a:pathLst>
                    <a:path w="122" h="108">
                      <a:moveTo>
                        <a:pt x="122" y="108"/>
                      </a:moveTo>
                      <a:lnTo>
                        <a:pt x="6" y="108"/>
                      </a:lnTo>
                      <a:lnTo>
                        <a:pt x="0" y="0"/>
                      </a:lnTo>
                      <a:lnTo>
                        <a:pt x="112" y="0"/>
                      </a:lnTo>
                      <a:lnTo>
                        <a:pt x="12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0" name="Freeform 262"/>
                <p:cNvSpPr/>
                <p:nvPr/>
              </p:nvSpPr>
              <p:spPr bwMode="auto">
                <a:xfrm>
                  <a:off x="6458533" y="5494788"/>
                  <a:ext cx="174532" cy="149599"/>
                </a:xfrm>
                <a:custGeom>
                  <a:avLst/>
                  <a:gdLst>
                    <a:gd name="T0" fmla="*/ 126 w 126"/>
                    <a:gd name="T1" fmla="*/ 108 h 108"/>
                    <a:gd name="T2" fmla="*/ 10 w 126"/>
                    <a:gd name="T3" fmla="*/ 108 h 108"/>
                    <a:gd name="T4" fmla="*/ 0 w 126"/>
                    <a:gd name="T5" fmla="*/ 0 h 108"/>
                    <a:gd name="T6" fmla="*/ 112 w 126"/>
                    <a:gd name="T7" fmla="*/ 0 h 108"/>
                    <a:gd name="T8" fmla="*/ 126 w 126"/>
                    <a:gd name="T9" fmla="*/ 108 h 108"/>
                  </a:gdLst>
                  <a:ahLst/>
                  <a:cxnLst>
                    <a:cxn ang="0">
                      <a:pos x="T0" y="T1"/>
                    </a:cxn>
                    <a:cxn ang="0">
                      <a:pos x="T2" y="T3"/>
                    </a:cxn>
                    <a:cxn ang="0">
                      <a:pos x="T4" y="T5"/>
                    </a:cxn>
                    <a:cxn ang="0">
                      <a:pos x="T6" y="T7"/>
                    </a:cxn>
                    <a:cxn ang="0">
                      <a:pos x="T8" y="T9"/>
                    </a:cxn>
                  </a:cxnLst>
                  <a:rect l="0" t="0" r="r" b="b"/>
                  <a:pathLst>
                    <a:path w="126" h="108">
                      <a:moveTo>
                        <a:pt x="126" y="108"/>
                      </a:moveTo>
                      <a:lnTo>
                        <a:pt x="10" y="108"/>
                      </a:lnTo>
                      <a:lnTo>
                        <a:pt x="0" y="0"/>
                      </a:lnTo>
                      <a:lnTo>
                        <a:pt x="112" y="0"/>
                      </a:lnTo>
                      <a:lnTo>
                        <a:pt x="12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1" name="Freeform 263"/>
                <p:cNvSpPr/>
                <p:nvPr/>
              </p:nvSpPr>
              <p:spPr bwMode="auto">
                <a:xfrm>
                  <a:off x="6644147" y="5494788"/>
                  <a:ext cx="180073" cy="149599"/>
                </a:xfrm>
                <a:custGeom>
                  <a:avLst/>
                  <a:gdLst>
                    <a:gd name="T0" fmla="*/ 130 w 130"/>
                    <a:gd name="T1" fmla="*/ 108 h 108"/>
                    <a:gd name="T2" fmla="*/ 16 w 130"/>
                    <a:gd name="T3" fmla="*/ 108 h 108"/>
                    <a:gd name="T4" fmla="*/ 0 w 130"/>
                    <a:gd name="T5" fmla="*/ 0 h 108"/>
                    <a:gd name="T6" fmla="*/ 112 w 130"/>
                    <a:gd name="T7" fmla="*/ 0 h 108"/>
                    <a:gd name="T8" fmla="*/ 130 w 130"/>
                    <a:gd name="T9" fmla="*/ 108 h 108"/>
                  </a:gdLst>
                  <a:ahLst/>
                  <a:cxnLst>
                    <a:cxn ang="0">
                      <a:pos x="T0" y="T1"/>
                    </a:cxn>
                    <a:cxn ang="0">
                      <a:pos x="T2" y="T3"/>
                    </a:cxn>
                    <a:cxn ang="0">
                      <a:pos x="T4" y="T5"/>
                    </a:cxn>
                    <a:cxn ang="0">
                      <a:pos x="T6" y="T7"/>
                    </a:cxn>
                    <a:cxn ang="0">
                      <a:pos x="T8" y="T9"/>
                    </a:cxn>
                  </a:cxnLst>
                  <a:rect l="0" t="0" r="r" b="b"/>
                  <a:pathLst>
                    <a:path w="130" h="108">
                      <a:moveTo>
                        <a:pt x="130" y="108"/>
                      </a:moveTo>
                      <a:lnTo>
                        <a:pt x="16" y="108"/>
                      </a:lnTo>
                      <a:lnTo>
                        <a:pt x="0" y="0"/>
                      </a:lnTo>
                      <a:lnTo>
                        <a:pt x="112" y="0"/>
                      </a:lnTo>
                      <a:lnTo>
                        <a:pt x="13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2" name="Freeform 264"/>
                <p:cNvSpPr/>
                <p:nvPr/>
              </p:nvSpPr>
              <p:spPr bwMode="auto">
                <a:xfrm>
                  <a:off x="6832531" y="5494788"/>
                  <a:ext cx="185614" cy="149599"/>
                </a:xfrm>
                <a:custGeom>
                  <a:avLst/>
                  <a:gdLst>
                    <a:gd name="T0" fmla="*/ 134 w 134"/>
                    <a:gd name="T1" fmla="*/ 108 h 108"/>
                    <a:gd name="T2" fmla="*/ 18 w 134"/>
                    <a:gd name="T3" fmla="*/ 108 h 108"/>
                    <a:gd name="T4" fmla="*/ 0 w 134"/>
                    <a:gd name="T5" fmla="*/ 0 h 108"/>
                    <a:gd name="T6" fmla="*/ 112 w 134"/>
                    <a:gd name="T7" fmla="*/ 0 h 108"/>
                    <a:gd name="T8" fmla="*/ 134 w 134"/>
                    <a:gd name="T9" fmla="*/ 108 h 108"/>
                  </a:gdLst>
                  <a:ahLst/>
                  <a:cxnLst>
                    <a:cxn ang="0">
                      <a:pos x="T0" y="T1"/>
                    </a:cxn>
                    <a:cxn ang="0">
                      <a:pos x="T2" y="T3"/>
                    </a:cxn>
                    <a:cxn ang="0">
                      <a:pos x="T4" y="T5"/>
                    </a:cxn>
                    <a:cxn ang="0">
                      <a:pos x="T6" y="T7"/>
                    </a:cxn>
                    <a:cxn ang="0">
                      <a:pos x="T8" y="T9"/>
                    </a:cxn>
                  </a:cxnLst>
                  <a:rect l="0" t="0" r="r" b="b"/>
                  <a:pathLst>
                    <a:path w="134" h="108">
                      <a:moveTo>
                        <a:pt x="134" y="108"/>
                      </a:moveTo>
                      <a:lnTo>
                        <a:pt x="18" y="108"/>
                      </a:lnTo>
                      <a:lnTo>
                        <a:pt x="0" y="0"/>
                      </a:lnTo>
                      <a:lnTo>
                        <a:pt x="112" y="0"/>
                      </a:lnTo>
                      <a:lnTo>
                        <a:pt x="13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3" name="Freeform 265"/>
                <p:cNvSpPr/>
                <p:nvPr/>
              </p:nvSpPr>
              <p:spPr bwMode="auto">
                <a:xfrm>
                  <a:off x="7018145" y="5494788"/>
                  <a:ext cx="193925" cy="149599"/>
                </a:xfrm>
                <a:custGeom>
                  <a:avLst/>
                  <a:gdLst>
                    <a:gd name="T0" fmla="*/ 140 w 140"/>
                    <a:gd name="T1" fmla="*/ 108 h 108"/>
                    <a:gd name="T2" fmla="*/ 24 w 140"/>
                    <a:gd name="T3" fmla="*/ 108 h 108"/>
                    <a:gd name="T4" fmla="*/ 0 w 140"/>
                    <a:gd name="T5" fmla="*/ 0 h 108"/>
                    <a:gd name="T6" fmla="*/ 112 w 140"/>
                    <a:gd name="T7" fmla="*/ 0 h 108"/>
                    <a:gd name="T8" fmla="*/ 140 w 140"/>
                    <a:gd name="T9" fmla="*/ 108 h 108"/>
                  </a:gdLst>
                  <a:ahLst/>
                  <a:cxnLst>
                    <a:cxn ang="0">
                      <a:pos x="T0" y="T1"/>
                    </a:cxn>
                    <a:cxn ang="0">
                      <a:pos x="T2" y="T3"/>
                    </a:cxn>
                    <a:cxn ang="0">
                      <a:pos x="T4" y="T5"/>
                    </a:cxn>
                    <a:cxn ang="0">
                      <a:pos x="T6" y="T7"/>
                    </a:cxn>
                    <a:cxn ang="0">
                      <a:pos x="T8" y="T9"/>
                    </a:cxn>
                  </a:cxnLst>
                  <a:rect l="0" t="0" r="r" b="b"/>
                  <a:pathLst>
                    <a:path w="140" h="108">
                      <a:moveTo>
                        <a:pt x="140" y="108"/>
                      </a:moveTo>
                      <a:lnTo>
                        <a:pt x="24" y="108"/>
                      </a:lnTo>
                      <a:lnTo>
                        <a:pt x="0" y="0"/>
                      </a:lnTo>
                      <a:lnTo>
                        <a:pt x="112" y="0"/>
                      </a:lnTo>
                      <a:lnTo>
                        <a:pt x="14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4" name="Freeform 266"/>
                <p:cNvSpPr/>
                <p:nvPr/>
              </p:nvSpPr>
              <p:spPr bwMode="auto">
                <a:xfrm>
                  <a:off x="7203758" y="5494788"/>
                  <a:ext cx="199465" cy="149599"/>
                </a:xfrm>
                <a:custGeom>
                  <a:avLst/>
                  <a:gdLst>
                    <a:gd name="T0" fmla="*/ 144 w 144"/>
                    <a:gd name="T1" fmla="*/ 108 h 108"/>
                    <a:gd name="T2" fmla="*/ 28 w 144"/>
                    <a:gd name="T3" fmla="*/ 108 h 108"/>
                    <a:gd name="T4" fmla="*/ 0 w 144"/>
                    <a:gd name="T5" fmla="*/ 0 h 108"/>
                    <a:gd name="T6" fmla="*/ 114 w 144"/>
                    <a:gd name="T7" fmla="*/ 0 h 108"/>
                    <a:gd name="T8" fmla="*/ 144 w 144"/>
                    <a:gd name="T9" fmla="*/ 108 h 108"/>
                  </a:gdLst>
                  <a:ahLst/>
                  <a:cxnLst>
                    <a:cxn ang="0">
                      <a:pos x="T0" y="T1"/>
                    </a:cxn>
                    <a:cxn ang="0">
                      <a:pos x="T2" y="T3"/>
                    </a:cxn>
                    <a:cxn ang="0">
                      <a:pos x="T4" y="T5"/>
                    </a:cxn>
                    <a:cxn ang="0">
                      <a:pos x="T6" y="T7"/>
                    </a:cxn>
                    <a:cxn ang="0">
                      <a:pos x="T8" y="T9"/>
                    </a:cxn>
                  </a:cxnLst>
                  <a:rect l="0" t="0" r="r" b="b"/>
                  <a:pathLst>
                    <a:path w="144" h="108">
                      <a:moveTo>
                        <a:pt x="144" y="108"/>
                      </a:moveTo>
                      <a:lnTo>
                        <a:pt x="28" y="108"/>
                      </a:lnTo>
                      <a:lnTo>
                        <a:pt x="0" y="0"/>
                      </a:lnTo>
                      <a:lnTo>
                        <a:pt x="114" y="0"/>
                      </a:lnTo>
                      <a:lnTo>
                        <a:pt x="14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5" name="Freeform 267"/>
                <p:cNvSpPr/>
                <p:nvPr/>
              </p:nvSpPr>
              <p:spPr bwMode="auto">
                <a:xfrm>
                  <a:off x="7392142" y="5494788"/>
                  <a:ext cx="205006" cy="149599"/>
                </a:xfrm>
                <a:custGeom>
                  <a:avLst/>
                  <a:gdLst>
                    <a:gd name="T0" fmla="*/ 148 w 148"/>
                    <a:gd name="T1" fmla="*/ 108 h 108"/>
                    <a:gd name="T2" fmla="*/ 32 w 148"/>
                    <a:gd name="T3" fmla="*/ 108 h 108"/>
                    <a:gd name="T4" fmla="*/ 0 w 148"/>
                    <a:gd name="T5" fmla="*/ 0 h 108"/>
                    <a:gd name="T6" fmla="*/ 112 w 148"/>
                    <a:gd name="T7" fmla="*/ 0 h 108"/>
                    <a:gd name="T8" fmla="*/ 148 w 148"/>
                    <a:gd name="T9" fmla="*/ 108 h 108"/>
                  </a:gdLst>
                  <a:ahLst/>
                  <a:cxnLst>
                    <a:cxn ang="0">
                      <a:pos x="T0" y="T1"/>
                    </a:cxn>
                    <a:cxn ang="0">
                      <a:pos x="T2" y="T3"/>
                    </a:cxn>
                    <a:cxn ang="0">
                      <a:pos x="T4" y="T5"/>
                    </a:cxn>
                    <a:cxn ang="0">
                      <a:pos x="T6" y="T7"/>
                    </a:cxn>
                    <a:cxn ang="0">
                      <a:pos x="T8" y="T9"/>
                    </a:cxn>
                  </a:cxnLst>
                  <a:rect l="0" t="0" r="r" b="b"/>
                  <a:pathLst>
                    <a:path w="148" h="108">
                      <a:moveTo>
                        <a:pt x="148" y="108"/>
                      </a:moveTo>
                      <a:lnTo>
                        <a:pt x="32" y="108"/>
                      </a:lnTo>
                      <a:lnTo>
                        <a:pt x="0" y="0"/>
                      </a:lnTo>
                      <a:lnTo>
                        <a:pt x="112" y="0"/>
                      </a:lnTo>
                      <a:lnTo>
                        <a:pt x="148"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6" name="Freeform 268"/>
                <p:cNvSpPr/>
                <p:nvPr/>
              </p:nvSpPr>
              <p:spPr bwMode="auto">
                <a:xfrm>
                  <a:off x="7577756" y="5494788"/>
                  <a:ext cx="210547" cy="149599"/>
                </a:xfrm>
                <a:custGeom>
                  <a:avLst/>
                  <a:gdLst>
                    <a:gd name="T0" fmla="*/ 152 w 152"/>
                    <a:gd name="T1" fmla="*/ 108 h 108"/>
                    <a:gd name="T2" fmla="*/ 36 w 152"/>
                    <a:gd name="T3" fmla="*/ 108 h 108"/>
                    <a:gd name="T4" fmla="*/ 0 w 152"/>
                    <a:gd name="T5" fmla="*/ 0 h 108"/>
                    <a:gd name="T6" fmla="*/ 114 w 152"/>
                    <a:gd name="T7" fmla="*/ 0 h 108"/>
                    <a:gd name="T8" fmla="*/ 152 w 152"/>
                    <a:gd name="T9" fmla="*/ 108 h 108"/>
                  </a:gdLst>
                  <a:ahLst/>
                  <a:cxnLst>
                    <a:cxn ang="0">
                      <a:pos x="T0" y="T1"/>
                    </a:cxn>
                    <a:cxn ang="0">
                      <a:pos x="T2" y="T3"/>
                    </a:cxn>
                    <a:cxn ang="0">
                      <a:pos x="T4" y="T5"/>
                    </a:cxn>
                    <a:cxn ang="0">
                      <a:pos x="T6" y="T7"/>
                    </a:cxn>
                    <a:cxn ang="0">
                      <a:pos x="T8" y="T9"/>
                    </a:cxn>
                  </a:cxnLst>
                  <a:rect l="0" t="0" r="r" b="b"/>
                  <a:pathLst>
                    <a:path w="152" h="108">
                      <a:moveTo>
                        <a:pt x="152" y="108"/>
                      </a:moveTo>
                      <a:lnTo>
                        <a:pt x="36" y="108"/>
                      </a:lnTo>
                      <a:lnTo>
                        <a:pt x="0" y="0"/>
                      </a:lnTo>
                      <a:lnTo>
                        <a:pt x="114" y="0"/>
                      </a:lnTo>
                      <a:lnTo>
                        <a:pt x="152"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7" name="Freeform 269"/>
                <p:cNvSpPr/>
                <p:nvPr/>
              </p:nvSpPr>
              <p:spPr bwMode="auto">
                <a:xfrm>
                  <a:off x="7766140" y="5494788"/>
                  <a:ext cx="216088" cy="149599"/>
                </a:xfrm>
                <a:custGeom>
                  <a:avLst/>
                  <a:gdLst>
                    <a:gd name="T0" fmla="*/ 156 w 156"/>
                    <a:gd name="T1" fmla="*/ 108 h 108"/>
                    <a:gd name="T2" fmla="*/ 40 w 156"/>
                    <a:gd name="T3" fmla="*/ 108 h 108"/>
                    <a:gd name="T4" fmla="*/ 0 w 156"/>
                    <a:gd name="T5" fmla="*/ 0 h 108"/>
                    <a:gd name="T6" fmla="*/ 112 w 156"/>
                    <a:gd name="T7" fmla="*/ 0 h 108"/>
                    <a:gd name="T8" fmla="*/ 156 w 156"/>
                    <a:gd name="T9" fmla="*/ 108 h 108"/>
                  </a:gdLst>
                  <a:ahLst/>
                  <a:cxnLst>
                    <a:cxn ang="0">
                      <a:pos x="T0" y="T1"/>
                    </a:cxn>
                    <a:cxn ang="0">
                      <a:pos x="T2" y="T3"/>
                    </a:cxn>
                    <a:cxn ang="0">
                      <a:pos x="T4" y="T5"/>
                    </a:cxn>
                    <a:cxn ang="0">
                      <a:pos x="T6" y="T7"/>
                    </a:cxn>
                    <a:cxn ang="0">
                      <a:pos x="T8" y="T9"/>
                    </a:cxn>
                  </a:cxnLst>
                  <a:rect l="0" t="0" r="r" b="b"/>
                  <a:pathLst>
                    <a:path w="156" h="108">
                      <a:moveTo>
                        <a:pt x="156" y="108"/>
                      </a:moveTo>
                      <a:lnTo>
                        <a:pt x="40" y="108"/>
                      </a:lnTo>
                      <a:lnTo>
                        <a:pt x="0" y="0"/>
                      </a:lnTo>
                      <a:lnTo>
                        <a:pt x="112" y="0"/>
                      </a:lnTo>
                      <a:lnTo>
                        <a:pt x="156"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8" name="Freeform 270"/>
                <p:cNvSpPr/>
                <p:nvPr/>
              </p:nvSpPr>
              <p:spPr bwMode="auto">
                <a:xfrm>
                  <a:off x="7951754" y="5494788"/>
                  <a:ext cx="221628" cy="149599"/>
                </a:xfrm>
                <a:custGeom>
                  <a:avLst/>
                  <a:gdLst>
                    <a:gd name="T0" fmla="*/ 160 w 160"/>
                    <a:gd name="T1" fmla="*/ 108 h 108"/>
                    <a:gd name="T2" fmla="*/ 44 w 160"/>
                    <a:gd name="T3" fmla="*/ 108 h 108"/>
                    <a:gd name="T4" fmla="*/ 0 w 160"/>
                    <a:gd name="T5" fmla="*/ 0 h 108"/>
                    <a:gd name="T6" fmla="*/ 112 w 160"/>
                    <a:gd name="T7" fmla="*/ 0 h 108"/>
                    <a:gd name="T8" fmla="*/ 160 w 160"/>
                    <a:gd name="T9" fmla="*/ 108 h 108"/>
                  </a:gdLst>
                  <a:ahLst/>
                  <a:cxnLst>
                    <a:cxn ang="0">
                      <a:pos x="T0" y="T1"/>
                    </a:cxn>
                    <a:cxn ang="0">
                      <a:pos x="T2" y="T3"/>
                    </a:cxn>
                    <a:cxn ang="0">
                      <a:pos x="T4" y="T5"/>
                    </a:cxn>
                    <a:cxn ang="0">
                      <a:pos x="T6" y="T7"/>
                    </a:cxn>
                    <a:cxn ang="0">
                      <a:pos x="T8" y="T9"/>
                    </a:cxn>
                  </a:cxnLst>
                  <a:rect l="0" t="0" r="r" b="b"/>
                  <a:pathLst>
                    <a:path w="160" h="108">
                      <a:moveTo>
                        <a:pt x="160" y="108"/>
                      </a:moveTo>
                      <a:lnTo>
                        <a:pt x="44" y="108"/>
                      </a:lnTo>
                      <a:lnTo>
                        <a:pt x="0" y="0"/>
                      </a:lnTo>
                      <a:lnTo>
                        <a:pt x="112" y="0"/>
                      </a:lnTo>
                      <a:lnTo>
                        <a:pt x="160"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19" name="Freeform 271"/>
                <p:cNvSpPr/>
                <p:nvPr/>
              </p:nvSpPr>
              <p:spPr bwMode="auto">
                <a:xfrm>
                  <a:off x="8140138" y="5494788"/>
                  <a:ext cx="227169" cy="149599"/>
                </a:xfrm>
                <a:custGeom>
                  <a:avLst/>
                  <a:gdLst>
                    <a:gd name="T0" fmla="*/ 164 w 164"/>
                    <a:gd name="T1" fmla="*/ 108 h 108"/>
                    <a:gd name="T2" fmla="*/ 48 w 164"/>
                    <a:gd name="T3" fmla="*/ 108 h 108"/>
                    <a:gd name="T4" fmla="*/ 0 w 164"/>
                    <a:gd name="T5" fmla="*/ 0 h 108"/>
                    <a:gd name="T6" fmla="*/ 112 w 164"/>
                    <a:gd name="T7" fmla="*/ 0 h 108"/>
                    <a:gd name="T8" fmla="*/ 164 w 164"/>
                    <a:gd name="T9" fmla="*/ 108 h 108"/>
                  </a:gdLst>
                  <a:ahLst/>
                  <a:cxnLst>
                    <a:cxn ang="0">
                      <a:pos x="T0" y="T1"/>
                    </a:cxn>
                    <a:cxn ang="0">
                      <a:pos x="T2" y="T3"/>
                    </a:cxn>
                    <a:cxn ang="0">
                      <a:pos x="T4" y="T5"/>
                    </a:cxn>
                    <a:cxn ang="0">
                      <a:pos x="T6" y="T7"/>
                    </a:cxn>
                    <a:cxn ang="0">
                      <a:pos x="T8" y="T9"/>
                    </a:cxn>
                  </a:cxnLst>
                  <a:rect l="0" t="0" r="r" b="b"/>
                  <a:pathLst>
                    <a:path w="164" h="108">
                      <a:moveTo>
                        <a:pt x="164" y="108"/>
                      </a:moveTo>
                      <a:lnTo>
                        <a:pt x="48" y="108"/>
                      </a:lnTo>
                      <a:lnTo>
                        <a:pt x="0" y="0"/>
                      </a:lnTo>
                      <a:lnTo>
                        <a:pt x="112" y="0"/>
                      </a:lnTo>
                      <a:lnTo>
                        <a:pt x="164" y="108"/>
                      </a:lnTo>
                      <a:close/>
                    </a:path>
                  </a:pathLst>
                </a:custGeom>
                <a:solidFill>
                  <a:srgbClr val="72717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grpSp>
              <p:nvGrpSpPr>
                <p:cNvPr id="120" name="Group 1"/>
                <p:cNvGrpSpPr/>
                <p:nvPr/>
              </p:nvGrpSpPr>
              <p:grpSpPr>
                <a:xfrm>
                  <a:off x="5274207" y="1966743"/>
                  <a:ext cx="2131787" cy="2509940"/>
                  <a:chOff x="5274207" y="1966743"/>
                  <a:chExt cx="2131787" cy="2509940"/>
                </a:xfrm>
              </p:grpSpPr>
              <p:sp>
                <p:nvSpPr>
                  <p:cNvPr id="121" name="Freeform 272"/>
                  <p:cNvSpPr/>
                  <p:nvPr/>
                </p:nvSpPr>
                <p:spPr bwMode="auto">
                  <a:xfrm>
                    <a:off x="5720234" y="2637168"/>
                    <a:ext cx="1685760" cy="1839515"/>
                  </a:xfrm>
                  <a:custGeom>
                    <a:avLst/>
                    <a:gdLst>
                      <a:gd name="T0" fmla="*/ 963 w 1217"/>
                      <a:gd name="T1" fmla="*/ 4 h 1328"/>
                      <a:gd name="T2" fmla="*/ 979 w 1217"/>
                      <a:gd name="T3" fmla="*/ 16 h 1328"/>
                      <a:gd name="T4" fmla="*/ 1037 w 1217"/>
                      <a:gd name="T5" fmla="*/ 64 h 1328"/>
                      <a:gd name="T6" fmla="*/ 1075 w 1217"/>
                      <a:gd name="T7" fmla="*/ 102 h 1328"/>
                      <a:gd name="T8" fmla="*/ 1113 w 1217"/>
                      <a:gd name="T9" fmla="*/ 154 h 1328"/>
                      <a:gd name="T10" fmla="*/ 1151 w 1217"/>
                      <a:gd name="T11" fmla="*/ 218 h 1328"/>
                      <a:gd name="T12" fmla="*/ 1181 w 1217"/>
                      <a:gd name="T13" fmla="*/ 294 h 1328"/>
                      <a:gd name="T14" fmla="*/ 1205 w 1217"/>
                      <a:gd name="T15" fmla="*/ 382 h 1328"/>
                      <a:gd name="T16" fmla="*/ 1215 w 1217"/>
                      <a:gd name="T17" fmla="*/ 478 h 1328"/>
                      <a:gd name="T18" fmla="*/ 1213 w 1217"/>
                      <a:gd name="T19" fmla="*/ 580 h 1328"/>
                      <a:gd name="T20" fmla="*/ 1195 w 1217"/>
                      <a:gd name="T21" fmla="*/ 684 h 1328"/>
                      <a:gd name="T22" fmla="*/ 1161 w 1217"/>
                      <a:gd name="T23" fmla="*/ 790 h 1328"/>
                      <a:gd name="T24" fmla="*/ 1111 w 1217"/>
                      <a:gd name="T25" fmla="*/ 892 h 1328"/>
                      <a:gd name="T26" fmla="*/ 1049 w 1217"/>
                      <a:gd name="T27" fmla="*/ 988 h 1328"/>
                      <a:gd name="T28" fmla="*/ 975 w 1217"/>
                      <a:gd name="T29" fmla="*/ 1076 h 1328"/>
                      <a:gd name="T30" fmla="*/ 839 w 1217"/>
                      <a:gd name="T31" fmla="*/ 1186 h 1328"/>
                      <a:gd name="T32" fmla="*/ 739 w 1217"/>
                      <a:gd name="T33" fmla="*/ 1242 h 1328"/>
                      <a:gd name="T34" fmla="*/ 583 w 1217"/>
                      <a:gd name="T35" fmla="*/ 1300 h 1328"/>
                      <a:gd name="T36" fmla="*/ 481 w 1217"/>
                      <a:gd name="T37" fmla="*/ 1320 h 1328"/>
                      <a:gd name="T38" fmla="*/ 379 w 1217"/>
                      <a:gd name="T39" fmla="*/ 1328 h 1328"/>
                      <a:gd name="T40" fmla="*/ 236 w 1217"/>
                      <a:gd name="T41" fmla="*/ 1316 h 1328"/>
                      <a:gd name="T42" fmla="*/ 152 w 1217"/>
                      <a:gd name="T43" fmla="*/ 1290 h 1328"/>
                      <a:gd name="T44" fmla="*/ 114 w 1217"/>
                      <a:gd name="T45" fmla="*/ 1270 h 1328"/>
                      <a:gd name="T46" fmla="*/ 66 w 1217"/>
                      <a:gd name="T47" fmla="*/ 1236 h 1328"/>
                      <a:gd name="T48" fmla="*/ 42 w 1217"/>
                      <a:gd name="T49" fmla="*/ 1208 h 1328"/>
                      <a:gd name="T50" fmla="*/ 16 w 1217"/>
                      <a:gd name="T51" fmla="*/ 1164 h 1328"/>
                      <a:gd name="T52" fmla="*/ 6 w 1217"/>
                      <a:gd name="T53" fmla="*/ 1136 h 1328"/>
                      <a:gd name="T54" fmla="*/ 0 w 1217"/>
                      <a:gd name="T55" fmla="*/ 1084 h 1328"/>
                      <a:gd name="T56" fmla="*/ 6 w 1217"/>
                      <a:gd name="T57" fmla="*/ 1046 h 1328"/>
                      <a:gd name="T58" fmla="*/ 8 w 1217"/>
                      <a:gd name="T59" fmla="*/ 1032 h 1328"/>
                      <a:gd name="T60" fmla="*/ 16 w 1217"/>
                      <a:gd name="T61" fmla="*/ 1006 h 1328"/>
                      <a:gd name="T62" fmla="*/ 20 w 1217"/>
                      <a:gd name="T63" fmla="*/ 1014 h 1328"/>
                      <a:gd name="T64" fmla="*/ 18 w 1217"/>
                      <a:gd name="T65" fmla="*/ 1032 h 1328"/>
                      <a:gd name="T66" fmla="*/ 20 w 1217"/>
                      <a:gd name="T67" fmla="*/ 1106 h 1328"/>
                      <a:gd name="T68" fmla="*/ 36 w 1217"/>
                      <a:gd name="T69" fmla="*/ 1154 h 1328"/>
                      <a:gd name="T70" fmla="*/ 52 w 1217"/>
                      <a:gd name="T71" fmla="*/ 1178 h 1328"/>
                      <a:gd name="T72" fmla="*/ 72 w 1217"/>
                      <a:gd name="T73" fmla="*/ 1202 h 1328"/>
                      <a:gd name="T74" fmla="*/ 114 w 1217"/>
                      <a:gd name="T75" fmla="*/ 1232 h 1328"/>
                      <a:gd name="T76" fmla="*/ 202 w 1217"/>
                      <a:gd name="T77" fmla="*/ 1268 h 1328"/>
                      <a:gd name="T78" fmla="*/ 284 w 1217"/>
                      <a:gd name="T79" fmla="*/ 1280 h 1328"/>
                      <a:gd name="T80" fmla="*/ 377 w 1217"/>
                      <a:gd name="T81" fmla="*/ 1280 h 1328"/>
                      <a:gd name="T82" fmla="*/ 519 w 1217"/>
                      <a:gd name="T83" fmla="*/ 1258 h 1328"/>
                      <a:gd name="T84" fmla="*/ 617 w 1217"/>
                      <a:gd name="T85" fmla="*/ 1230 h 1328"/>
                      <a:gd name="T86" fmla="*/ 759 w 1217"/>
                      <a:gd name="T87" fmla="*/ 1162 h 1328"/>
                      <a:gd name="T88" fmla="*/ 847 w 1217"/>
                      <a:gd name="T89" fmla="*/ 1104 h 1328"/>
                      <a:gd name="T90" fmla="*/ 929 w 1217"/>
                      <a:gd name="T91" fmla="*/ 1032 h 1328"/>
                      <a:gd name="T92" fmla="*/ 1029 w 1217"/>
                      <a:gd name="T93" fmla="*/ 906 h 1328"/>
                      <a:gd name="T94" fmla="*/ 1083 w 1217"/>
                      <a:gd name="T95" fmla="*/ 814 h 1328"/>
                      <a:gd name="T96" fmla="*/ 1139 w 1217"/>
                      <a:gd name="T97" fmla="*/ 670 h 1328"/>
                      <a:gd name="T98" fmla="*/ 1161 w 1217"/>
                      <a:gd name="T99" fmla="*/ 572 h 1328"/>
                      <a:gd name="T100" fmla="*/ 1167 w 1217"/>
                      <a:gd name="T101" fmla="*/ 478 h 1328"/>
                      <a:gd name="T102" fmla="*/ 1153 w 1217"/>
                      <a:gd name="T103" fmla="*/ 344 h 1328"/>
                      <a:gd name="T104" fmla="*/ 1133 w 1217"/>
                      <a:gd name="T105" fmla="*/ 266 h 1328"/>
                      <a:gd name="T106" fmla="*/ 1089 w 1217"/>
                      <a:gd name="T107" fmla="*/ 168 h 1328"/>
                      <a:gd name="T108" fmla="*/ 1055 w 1217"/>
                      <a:gd name="T109" fmla="*/ 116 h 1328"/>
                      <a:gd name="T110" fmla="*/ 1023 w 1217"/>
                      <a:gd name="T111" fmla="*/ 74 h 1328"/>
                      <a:gd name="T112" fmla="*/ 973 w 1217"/>
                      <a:gd name="T113" fmla="*/ 22 h 1328"/>
                      <a:gd name="T114" fmla="*/ 953 w 1217"/>
                      <a:gd name="T115" fmla="*/ 6 h 1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17" h="1328">
                        <a:moveTo>
                          <a:pt x="957" y="0"/>
                        </a:moveTo>
                        <a:lnTo>
                          <a:pt x="957" y="0"/>
                        </a:lnTo>
                        <a:lnTo>
                          <a:pt x="963" y="4"/>
                        </a:lnTo>
                        <a:lnTo>
                          <a:pt x="963" y="4"/>
                        </a:lnTo>
                        <a:lnTo>
                          <a:pt x="979" y="16"/>
                        </a:lnTo>
                        <a:lnTo>
                          <a:pt x="979" y="16"/>
                        </a:lnTo>
                        <a:lnTo>
                          <a:pt x="1005" y="34"/>
                        </a:lnTo>
                        <a:lnTo>
                          <a:pt x="1037" y="64"/>
                        </a:lnTo>
                        <a:lnTo>
                          <a:pt x="1037" y="64"/>
                        </a:lnTo>
                        <a:lnTo>
                          <a:pt x="1055" y="82"/>
                        </a:lnTo>
                        <a:lnTo>
                          <a:pt x="1075" y="102"/>
                        </a:lnTo>
                        <a:lnTo>
                          <a:pt x="1075" y="102"/>
                        </a:lnTo>
                        <a:lnTo>
                          <a:pt x="1093" y="126"/>
                        </a:lnTo>
                        <a:lnTo>
                          <a:pt x="1113" y="154"/>
                        </a:lnTo>
                        <a:lnTo>
                          <a:pt x="1113" y="154"/>
                        </a:lnTo>
                        <a:lnTo>
                          <a:pt x="1133" y="184"/>
                        </a:lnTo>
                        <a:lnTo>
                          <a:pt x="1151" y="218"/>
                        </a:lnTo>
                        <a:lnTo>
                          <a:pt x="1151" y="218"/>
                        </a:lnTo>
                        <a:lnTo>
                          <a:pt x="1167" y="254"/>
                        </a:lnTo>
                        <a:lnTo>
                          <a:pt x="1181" y="294"/>
                        </a:lnTo>
                        <a:lnTo>
                          <a:pt x="1181" y="294"/>
                        </a:lnTo>
                        <a:lnTo>
                          <a:pt x="1195" y="336"/>
                        </a:lnTo>
                        <a:lnTo>
                          <a:pt x="1205" y="382"/>
                        </a:lnTo>
                        <a:lnTo>
                          <a:pt x="1205" y="382"/>
                        </a:lnTo>
                        <a:lnTo>
                          <a:pt x="1211" y="428"/>
                        </a:lnTo>
                        <a:lnTo>
                          <a:pt x="1215" y="478"/>
                        </a:lnTo>
                        <a:lnTo>
                          <a:pt x="1215" y="478"/>
                        </a:lnTo>
                        <a:lnTo>
                          <a:pt x="1217" y="528"/>
                        </a:lnTo>
                        <a:lnTo>
                          <a:pt x="1213" y="580"/>
                        </a:lnTo>
                        <a:lnTo>
                          <a:pt x="1213" y="580"/>
                        </a:lnTo>
                        <a:lnTo>
                          <a:pt x="1209" y="606"/>
                        </a:lnTo>
                        <a:lnTo>
                          <a:pt x="1205" y="632"/>
                        </a:lnTo>
                        <a:lnTo>
                          <a:pt x="1195" y="684"/>
                        </a:lnTo>
                        <a:lnTo>
                          <a:pt x="1195" y="684"/>
                        </a:lnTo>
                        <a:lnTo>
                          <a:pt x="1179" y="738"/>
                        </a:lnTo>
                        <a:lnTo>
                          <a:pt x="1161" y="790"/>
                        </a:lnTo>
                        <a:lnTo>
                          <a:pt x="1139" y="842"/>
                        </a:lnTo>
                        <a:lnTo>
                          <a:pt x="1111" y="892"/>
                        </a:lnTo>
                        <a:lnTo>
                          <a:pt x="1111" y="892"/>
                        </a:lnTo>
                        <a:lnTo>
                          <a:pt x="1081" y="940"/>
                        </a:lnTo>
                        <a:lnTo>
                          <a:pt x="1049" y="988"/>
                        </a:lnTo>
                        <a:lnTo>
                          <a:pt x="1049" y="988"/>
                        </a:lnTo>
                        <a:lnTo>
                          <a:pt x="1013" y="1034"/>
                        </a:lnTo>
                        <a:lnTo>
                          <a:pt x="975" y="1076"/>
                        </a:lnTo>
                        <a:lnTo>
                          <a:pt x="975" y="1076"/>
                        </a:lnTo>
                        <a:lnTo>
                          <a:pt x="931" y="1116"/>
                        </a:lnTo>
                        <a:lnTo>
                          <a:pt x="885" y="1154"/>
                        </a:lnTo>
                        <a:lnTo>
                          <a:pt x="839" y="1186"/>
                        </a:lnTo>
                        <a:lnTo>
                          <a:pt x="789" y="1216"/>
                        </a:lnTo>
                        <a:lnTo>
                          <a:pt x="789" y="1216"/>
                        </a:lnTo>
                        <a:lnTo>
                          <a:pt x="739" y="1242"/>
                        </a:lnTo>
                        <a:lnTo>
                          <a:pt x="687" y="1264"/>
                        </a:lnTo>
                        <a:lnTo>
                          <a:pt x="635" y="1284"/>
                        </a:lnTo>
                        <a:lnTo>
                          <a:pt x="583" y="1300"/>
                        </a:lnTo>
                        <a:lnTo>
                          <a:pt x="583" y="1300"/>
                        </a:lnTo>
                        <a:lnTo>
                          <a:pt x="531" y="1312"/>
                        </a:lnTo>
                        <a:lnTo>
                          <a:pt x="481" y="1320"/>
                        </a:lnTo>
                        <a:lnTo>
                          <a:pt x="429" y="1326"/>
                        </a:lnTo>
                        <a:lnTo>
                          <a:pt x="379" y="1328"/>
                        </a:lnTo>
                        <a:lnTo>
                          <a:pt x="379" y="1328"/>
                        </a:lnTo>
                        <a:lnTo>
                          <a:pt x="331" y="1328"/>
                        </a:lnTo>
                        <a:lnTo>
                          <a:pt x="282" y="1324"/>
                        </a:lnTo>
                        <a:lnTo>
                          <a:pt x="236" y="1316"/>
                        </a:lnTo>
                        <a:lnTo>
                          <a:pt x="192" y="1304"/>
                        </a:lnTo>
                        <a:lnTo>
                          <a:pt x="192" y="1304"/>
                        </a:lnTo>
                        <a:lnTo>
                          <a:pt x="152" y="1290"/>
                        </a:lnTo>
                        <a:lnTo>
                          <a:pt x="132" y="1280"/>
                        </a:lnTo>
                        <a:lnTo>
                          <a:pt x="114" y="1270"/>
                        </a:lnTo>
                        <a:lnTo>
                          <a:pt x="114" y="1270"/>
                        </a:lnTo>
                        <a:lnTo>
                          <a:pt x="98" y="1260"/>
                        </a:lnTo>
                        <a:lnTo>
                          <a:pt x="82" y="1248"/>
                        </a:lnTo>
                        <a:lnTo>
                          <a:pt x="66" y="1236"/>
                        </a:lnTo>
                        <a:lnTo>
                          <a:pt x="54" y="1222"/>
                        </a:lnTo>
                        <a:lnTo>
                          <a:pt x="54" y="1222"/>
                        </a:lnTo>
                        <a:lnTo>
                          <a:pt x="42" y="1208"/>
                        </a:lnTo>
                        <a:lnTo>
                          <a:pt x="32" y="1194"/>
                        </a:lnTo>
                        <a:lnTo>
                          <a:pt x="22" y="1178"/>
                        </a:lnTo>
                        <a:lnTo>
                          <a:pt x="16" y="1164"/>
                        </a:lnTo>
                        <a:lnTo>
                          <a:pt x="16" y="1164"/>
                        </a:lnTo>
                        <a:lnTo>
                          <a:pt x="10" y="1150"/>
                        </a:lnTo>
                        <a:lnTo>
                          <a:pt x="6" y="1136"/>
                        </a:lnTo>
                        <a:lnTo>
                          <a:pt x="2" y="1108"/>
                        </a:lnTo>
                        <a:lnTo>
                          <a:pt x="2" y="1108"/>
                        </a:lnTo>
                        <a:lnTo>
                          <a:pt x="0" y="1084"/>
                        </a:lnTo>
                        <a:lnTo>
                          <a:pt x="2" y="1064"/>
                        </a:lnTo>
                        <a:lnTo>
                          <a:pt x="2" y="1064"/>
                        </a:lnTo>
                        <a:lnTo>
                          <a:pt x="6" y="1046"/>
                        </a:lnTo>
                        <a:lnTo>
                          <a:pt x="6" y="1046"/>
                        </a:lnTo>
                        <a:lnTo>
                          <a:pt x="8" y="1032"/>
                        </a:lnTo>
                        <a:lnTo>
                          <a:pt x="8" y="1032"/>
                        </a:lnTo>
                        <a:lnTo>
                          <a:pt x="14" y="1012"/>
                        </a:lnTo>
                        <a:lnTo>
                          <a:pt x="14" y="1012"/>
                        </a:lnTo>
                        <a:lnTo>
                          <a:pt x="16" y="1006"/>
                        </a:lnTo>
                        <a:lnTo>
                          <a:pt x="22" y="1008"/>
                        </a:lnTo>
                        <a:lnTo>
                          <a:pt x="22" y="1008"/>
                        </a:lnTo>
                        <a:lnTo>
                          <a:pt x="20" y="1014"/>
                        </a:lnTo>
                        <a:lnTo>
                          <a:pt x="20" y="1014"/>
                        </a:lnTo>
                        <a:lnTo>
                          <a:pt x="18" y="1032"/>
                        </a:lnTo>
                        <a:lnTo>
                          <a:pt x="18" y="1032"/>
                        </a:lnTo>
                        <a:lnTo>
                          <a:pt x="16" y="1064"/>
                        </a:lnTo>
                        <a:lnTo>
                          <a:pt x="16" y="1084"/>
                        </a:lnTo>
                        <a:lnTo>
                          <a:pt x="20" y="1106"/>
                        </a:lnTo>
                        <a:lnTo>
                          <a:pt x="20" y="1106"/>
                        </a:lnTo>
                        <a:lnTo>
                          <a:pt x="26" y="1128"/>
                        </a:lnTo>
                        <a:lnTo>
                          <a:pt x="36" y="1154"/>
                        </a:lnTo>
                        <a:lnTo>
                          <a:pt x="36" y="1154"/>
                        </a:lnTo>
                        <a:lnTo>
                          <a:pt x="44" y="1166"/>
                        </a:lnTo>
                        <a:lnTo>
                          <a:pt x="52" y="1178"/>
                        </a:lnTo>
                        <a:lnTo>
                          <a:pt x="62" y="1190"/>
                        </a:lnTo>
                        <a:lnTo>
                          <a:pt x="72" y="1202"/>
                        </a:lnTo>
                        <a:lnTo>
                          <a:pt x="72" y="1202"/>
                        </a:lnTo>
                        <a:lnTo>
                          <a:pt x="84" y="1212"/>
                        </a:lnTo>
                        <a:lnTo>
                          <a:pt x="98" y="1222"/>
                        </a:lnTo>
                        <a:lnTo>
                          <a:pt x="114" y="1232"/>
                        </a:lnTo>
                        <a:lnTo>
                          <a:pt x="130" y="1240"/>
                        </a:lnTo>
                        <a:lnTo>
                          <a:pt x="164" y="1256"/>
                        </a:lnTo>
                        <a:lnTo>
                          <a:pt x="202" y="1268"/>
                        </a:lnTo>
                        <a:lnTo>
                          <a:pt x="202" y="1268"/>
                        </a:lnTo>
                        <a:lnTo>
                          <a:pt x="242" y="1276"/>
                        </a:lnTo>
                        <a:lnTo>
                          <a:pt x="284" y="1280"/>
                        </a:lnTo>
                        <a:lnTo>
                          <a:pt x="331" y="1282"/>
                        </a:lnTo>
                        <a:lnTo>
                          <a:pt x="377" y="1280"/>
                        </a:lnTo>
                        <a:lnTo>
                          <a:pt x="377" y="1280"/>
                        </a:lnTo>
                        <a:lnTo>
                          <a:pt x="423" y="1276"/>
                        </a:lnTo>
                        <a:lnTo>
                          <a:pt x="471" y="1270"/>
                        </a:lnTo>
                        <a:lnTo>
                          <a:pt x="519" y="1258"/>
                        </a:lnTo>
                        <a:lnTo>
                          <a:pt x="567" y="1246"/>
                        </a:lnTo>
                        <a:lnTo>
                          <a:pt x="567" y="1246"/>
                        </a:lnTo>
                        <a:lnTo>
                          <a:pt x="617" y="1230"/>
                        </a:lnTo>
                        <a:lnTo>
                          <a:pt x="665" y="1210"/>
                        </a:lnTo>
                        <a:lnTo>
                          <a:pt x="713" y="1188"/>
                        </a:lnTo>
                        <a:lnTo>
                          <a:pt x="759" y="1162"/>
                        </a:lnTo>
                        <a:lnTo>
                          <a:pt x="759" y="1162"/>
                        </a:lnTo>
                        <a:lnTo>
                          <a:pt x="805" y="1134"/>
                        </a:lnTo>
                        <a:lnTo>
                          <a:pt x="847" y="1104"/>
                        </a:lnTo>
                        <a:lnTo>
                          <a:pt x="889" y="1068"/>
                        </a:lnTo>
                        <a:lnTo>
                          <a:pt x="929" y="1032"/>
                        </a:lnTo>
                        <a:lnTo>
                          <a:pt x="929" y="1032"/>
                        </a:lnTo>
                        <a:lnTo>
                          <a:pt x="965" y="992"/>
                        </a:lnTo>
                        <a:lnTo>
                          <a:pt x="999" y="950"/>
                        </a:lnTo>
                        <a:lnTo>
                          <a:pt x="1029" y="906"/>
                        </a:lnTo>
                        <a:lnTo>
                          <a:pt x="1059" y="860"/>
                        </a:lnTo>
                        <a:lnTo>
                          <a:pt x="1059" y="860"/>
                        </a:lnTo>
                        <a:lnTo>
                          <a:pt x="1083" y="814"/>
                        </a:lnTo>
                        <a:lnTo>
                          <a:pt x="1105" y="766"/>
                        </a:lnTo>
                        <a:lnTo>
                          <a:pt x="1125" y="718"/>
                        </a:lnTo>
                        <a:lnTo>
                          <a:pt x="1139" y="670"/>
                        </a:lnTo>
                        <a:lnTo>
                          <a:pt x="1139" y="670"/>
                        </a:lnTo>
                        <a:lnTo>
                          <a:pt x="1151" y="620"/>
                        </a:lnTo>
                        <a:lnTo>
                          <a:pt x="1161" y="572"/>
                        </a:lnTo>
                        <a:lnTo>
                          <a:pt x="1165" y="524"/>
                        </a:lnTo>
                        <a:lnTo>
                          <a:pt x="1167" y="478"/>
                        </a:lnTo>
                        <a:lnTo>
                          <a:pt x="1167" y="478"/>
                        </a:lnTo>
                        <a:lnTo>
                          <a:pt x="1165" y="432"/>
                        </a:lnTo>
                        <a:lnTo>
                          <a:pt x="1161" y="388"/>
                        </a:lnTo>
                        <a:lnTo>
                          <a:pt x="1153" y="344"/>
                        </a:lnTo>
                        <a:lnTo>
                          <a:pt x="1145" y="304"/>
                        </a:lnTo>
                        <a:lnTo>
                          <a:pt x="1145" y="304"/>
                        </a:lnTo>
                        <a:lnTo>
                          <a:pt x="1133" y="266"/>
                        </a:lnTo>
                        <a:lnTo>
                          <a:pt x="1119" y="230"/>
                        </a:lnTo>
                        <a:lnTo>
                          <a:pt x="1105" y="198"/>
                        </a:lnTo>
                        <a:lnTo>
                          <a:pt x="1089" y="168"/>
                        </a:lnTo>
                        <a:lnTo>
                          <a:pt x="1089" y="168"/>
                        </a:lnTo>
                        <a:lnTo>
                          <a:pt x="1073" y="140"/>
                        </a:lnTo>
                        <a:lnTo>
                          <a:pt x="1055" y="116"/>
                        </a:lnTo>
                        <a:lnTo>
                          <a:pt x="1039" y="94"/>
                        </a:lnTo>
                        <a:lnTo>
                          <a:pt x="1023" y="74"/>
                        </a:lnTo>
                        <a:lnTo>
                          <a:pt x="1023" y="74"/>
                        </a:lnTo>
                        <a:lnTo>
                          <a:pt x="995" y="44"/>
                        </a:lnTo>
                        <a:lnTo>
                          <a:pt x="973" y="22"/>
                        </a:lnTo>
                        <a:lnTo>
                          <a:pt x="973" y="22"/>
                        </a:lnTo>
                        <a:lnTo>
                          <a:pt x="959" y="10"/>
                        </a:lnTo>
                        <a:lnTo>
                          <a:pt x="959" y="10"/>
                        </a:lnTo>
                        <a:lnTo>
                          <a:pt x="953" y="6"/>
                        </a:lnTo>
                        <a:lnTo>
                          <a:pt x="957" y="0"/>
                        </a:lnTo>
                        <a:close/>
                      </a:path>
                    </a:pathLst>
                  </a:custGeom>
                  <a:solidFill>
                    <a:srgbClr val="EEEEE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2" name="Freeform 274"/>
                  <p:cNvSpPr/>
                  <p:nvPr/>
                </p:nvSpPr>
                <p:spPr bwMode="auto">
                  <a:xfrm>
                    <a:off x="6610903" y="1966743"/>
                    <a:ext cx="465419" cy="254873"/>
                  </a:xfrm>
                  <a:custGeom>
                    <a:avLst/>
                    <a:gdLst>
                      <a:gd name="T0" fmla="*/ 0 w 336"/>
                      <a:gd name="T1" fmla="*/ 0 h 184"/>
                      <a:gd name="T2" fmla="*/ 308 w 336"/>
                      <a:gd name="T3" fmla="*/ 10 h 184"/>
                      <a:gd name="T4" fmla="*/ 336 w 336"/>
                      <a:gd name="T5" fmla="*/ 62 h 184"/>
                      <a:gd name="T6" fmla="*/ 120 w 336"/>
                      <a:gd name="T7" fmla="*/ 184 h 184"/>
                    </a:gdLst>
                    <a:ahLst/>
                    <a:cxnLst>
                      <a:cxn ang="0">
                        <a:pos x="T0" y="T1"/>
                      </a:cxn>
                      <a:cxn ang="0">
                        <a:pos x="T2" y="T3"/>
                      </a:cxn>
                      <a:cxn ang="0">
                        <a:pos x="T4" y="T5"/>
                      </a:cxn>
                      <a:cxn ang="0">
                        <a:pos x="T6" y="T7"/>
                      </a:cxn>
                    </a:cxnLst>
                    <a:rect l="0" t="0" r="r" b="b"/>
                    <a:pathLst>
                      <a:path w="336" h="184">
                        <a:moveTo>
                          <a:pt x="0" y="0"/>
                        </a:moveTo>
                        <a:lnTo>
                          <a:pt x="308" y="10"/>
                        </a:lnTo>
                        <a:lnTo>
                          <a:pt x="336" y="62"/>
                        </a:lnTo>
                        <a:lnTo>
                          <a:pt x="120" y="18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3" name="Freeform 276"/>
                  <p:cNvSpPr/>
                  <p:nvPr/>
                </p:nvSpPr>
                <p:spPr bwMode="auto">
                  <a:xfrm>
                    <a:off x="6328327" y="2188371"/>
                    <a:ext cx="268724" cy="470960"/>
                  </a:xfrm>
                  <a:custGeom>
                    <a:avLst/>
                    <a:gdLst>
                      <a:gd name="T0" fmla="*/ 24 w 194"/>
                      <a:gd name="T1" fmla="*/ 0 h 340"/>
                      <a:gd name="T2" fmla="*/ 0 w 194"/>
                      <a:gd name="T3" fmla="*/ 308 h 340"/>
                      <a:gd name="T4" fmla="*/ 48 w 194"/>
                      <a:gd name="T5" fmla="*/ 340 h 340"/>
                      <a:gd name="T6" fmla="*/ 194 w 194"/>
                      <a:gd name="T7" fmla="*/ 140 h 340"/>
                    </a:gdLst>
                    <a:ahLst/>
                    <a:cxnLst>
                      <a:cxn ang="0">
                        <a:pos x="T0" y="T1"/>
                      </a:cxn>
                      <a:cxn ang="0">
                        <a:pos x="T2" y="T3"/>
                      </a:cxn>
                      <a:cxn ang="0">
                        <a:pos x="T4" y="T5"/>
                      </a:cxn>
                      <a:cxn ang="0">
                        <a:pos x="T6" y="T7"/>
                      </a:cxn>
                    </a:cxnLst>
                    <a:rect l="0" t="0" r="r" b="b"/>
                    <a:pathLst>
                      <a:path w="194" h="340">
                        <a:moveTo>
                          <a:pt x="24" y="0"/>
                        </a:moveTo>
                        <a:lnTo>
                          <a:pt x="0" y="308"/>
                        </a:lnTo>
                        <a:lnTo>
                          <a:pt x="48" y="340"/>
                        </a:lnTo>
                        <a:lnTo>
                          <a:pt x="194" y="1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4" name="Freeform 280"/>
                  <p:cNvSpPr/>
                  <p:nvPr/>
                </p:nvSpPr>
                <p:spPr bwMode="auto">
                  <a:xfrm>
                    <a:off x="6383734" y="1972284"/>
                    <a:ext cx="91422" cy="91422"/>
                  </a:xfrm>
                  <a:custGeom>
                    <a:avLst/>
                    <a:gdLst>
                      <a:gd name="T0" fmla="*/ 54 w 66"/>
                      <a:gd name="T1" fmla="*/ 58 h 66"/>
                      <a:gd name="T2" fmla="*/ 54 w 66"/>
                      <a:gd name="T3" fmla="*/ 58 h 66"/>
                      <a:gd name="T4" fmla="*/ 60 w 66"/>
                      <a:gd name="T5" fmla="*/ 52 h 66"/>
                      <a:gd name="T6" fmla="*/ 62 w 66"/>
                      <a:gd name="T7" fmla="*/ 46 h 66"/>
                      <a:gd name="T8" fmla="*/ 64 w 66"/>
                      <a:gd name="T9" fmla="*/ 40 h 66"/>
                      <a:gd name="T10" fmla="*/ 66 w 66"/>
                      <a:gd name="T11" fmla="*/ 34 h 66"/>
                      <a:gd name="T12" fmla="*/ 66 w 66"/>
                      <a:gd name="T13" fmla="*/ 28 h 66"/>
                      <a:gd name="T14" fmla="*/ 64 w 66"/>
                      <a:gd name="T15" fmla="*/ 22 h 66"/>
                      <a:gd name="T16" fmla="*/ 62 w 66"/>
                      <a:gd name="T17" fmla="*/ 16 h 66"/>
                      <a:gd name="T18" fmla="*/ 58 w 66"/>
                      <a:gd name="T19" fmla="*/ 10 h 66"/>
                      <a:gd name="T20" fmla="*/ 58 w 66"/>
                      <a:gd name="T21" fmla="*/ 10 h 66"/>
                      <a:gd name="T22" fmla="*/ 52 w 66"/>
                      <a:gd name="T23" fmla="*/ 6 h 66"/>
                      <a:gd name="T24" fmla="*/ 48 w 66"/>
                      <a:gd name="T25" fmla="*/ 4 h 66"/>
                      <a:gd name="T26" fmla="*/ 42 w 66"/>
                      <a:gd name="T27" fmla="*/ 0 h 66"/>
                      <a:gd name="T28" fmla="*/ 36 w 66"/>
                      <a:gd name="T29" fmla="*/ 0 h 66"/>
                      <a:gd name="T30" fmla="*/ 28 w 66"/>
                      <a:gd name="T31" fmla="*/ 0 h 66"/>
                      <a:gd name="T32" fmla="*/ 22 w 66"/>
                      <a:gd name="T33" fmla="*/ 2 h 66"/>
                      <a:gd name="T34" fmla="*/ 16 w 66"/>
                      <a:gd name="T35" fmla="*/ 4 h 66"/>
                      <a:gd name="T36" fmla="*/ 12 w 66"/>
                      <a:gd name="T37" fmla="*/ 8 h 66"/>
                      <a:gd name="T38" fmla="*/ 12 w 66"/>
                      <a:gd name="T39" fmla="*/ 8 h 66"/>
                      <a:gd name="T40" fmla="*/ 6 w 66"/>
                      <a:gd name="T41" fmla="*/ 12 h 66"/>
                      <a:gd name="T42" fmla="*/ 4 w 66"/>
                      <a:gd name="T43" fmla="*/ 18 h 66"/>
                      <a:gd name="T44" fmla="*/ 2 w 66"/>
                      <a:gd name="T45" fmla="*/ 24 h 66"/>
                      <a:gd name="T46" fmla="*/ 0 w 66"/>
                      <a:gd name="T47" fmla="*/ 30 h 66"/>
                      <a:gd name="T48" fmla="*/ 0 w 66"/>
                      <a:gd name="T49" fmla="*/ 36 h 66"/>
                      <a:gd name="T50" fmla="*/ 2 w 66"/>
                      <a:gd name="T51" fmla="*/ 42 h 66"/>
                      <a:gd name="T52" fmla="*/ 4 w 66"/>
                      <a:gd name="T53" fmla="*/ 48 h 66"/>
                      <a:gd name="T54" fmla="*/ 8 w 66"/>
                      <a:gd name="T55" fmla="*/ 54 h 66"/>
                      <a:gd name="T56" fmla="*/ 8 w 66"/>
                      <a:gd name="T57" fmla="*/ 54 h 66"/>
                      <a:gd name="T58" fmla="*/ 14 w 66"/>
                      <a:gd name="T59" fmla="*/ 58 h 66"/>
                      <a:gd name="T60" fmla="*/ 18 w 66"/>
                      <a:gd name="T61" fmla="*/ 62 h 66"/>
                      <a:gd name="T62" fmla="*/ 24 w 66"/>
                      <a:gd name="T63" fmla="*/ 64 h 66"/>
                      <a:gd name="T64" fmla="*/ 30 w 66"/>
                      <a:gd name="T65" fmla="*/ 66 h 66"/>
                      <a:gd name="T66" fmla="*/ 38 w 66"/>
                      <a:gd name="T67" fmla="*/ 66 h 66"/>
                      <a:gd name="T68" fmla="*/ 44 w 66"/>
                      <a:gd name="T69" fmla="*/ 64 h 66"/>
                      <a:gd name="T70" fmla="*/ 50 w 66"/>
                      <a:gd name="T71" fmla="*/ 60 h 66"/>
                      <a:gd name="T72" fmla="*/ 54 w 66"/>
                      <a:gd name="T73" fmla="*/ 58 h 66"/>
                      <a:gd name="T74" fmla="*/ 54 w 66"/>
                      <a:gd name="T75"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54" y="58"/>
                        </a:moveTo>
                        <a:lnTo>
                          <a:pt x="54" y="58"/>
                        </a:lnTo>
                        <a:lnTo>
                          <a:pt x="60" y="52"/>
                        </a:lnTo>
                        <a:lnTo>
                          <a:pt x="62" y="46"/>
                        </a:lnTo>
                        <a:lnTo>
                          <a:pt x="64" y="40"/>
                        </a:lnTo>
                        <a:lnTo>
                          <a:pt x="66" y="34"/>
                        </a:lnTo>
                        <a:lnTo>
                          <a:pt x="66" y="28"/>
                        </a:lnTo>
                        <a:lnTo>
                          <a:pt x="64" y="22"/>
                        </a:lnTo>
                        <a:lnTo>
                          <a:pt x="62" y="16"/>
                        </a:lnTo>
                        <a:lnTo>
                          <a:pt x="58" y="10"/>
                        </a:lnTo>
                        <a:lnTo>
                          <a:pt x="58" y="10"/>
                        </a:lnTo>
                        <a:lnTo>
                          <a:pt x="52" y="6"/>
                        </a:lnTo>
                        <a:lnTo>
                          <a:pt x="48" y="4"/>
                        </a:lnTo>
                        <a:lnTo>
                          <a:pt x="42" y="0"/>
                        </a:lnTo>
                        <a:lnTo>
                          <a:pt x="36" y="0"/>
                        </a:lnTo>
                        <a:lnTo>
                          <a:pt x="28" y="0"/>
                        </a:lnTo>
                        <a:lnTo>
                          <a:pt x="22" y="2"/>
                        </a:lnTo>
                        <a:lnTo>
                          <a:pt x="16" y="4"/>
                        </a:lnTo>
                        <a:lnTo>
                          <a:pt x="12" y="8"/>
                        </a:lnTo>
                        <a:lnTo>
                          <a:pt x="12" y="8"/>
                        </a:lnTo>
                        <a:lnTo>
                          <a:pt x="6" y="12"/>
                        </a:lnTo>
                        <a:lnTo>
                          <a:pt x="4" y="18"/>
                        </a:lnTo>
                        <a:lnTo>
                          <a:pt x="2" y="24"/>
                        </a:lnTo>
                        <a:lnTo>
                          <a:pt x="0" y="30"/>
                        </a:lnTo>
                        <a:lnTo>
                          <a:pt x="0" y="36"/>
                        </a:lnTo>
                        <a:lnTo>
                          <a:pt x="2" y="42"/>
                        </a:lnTo>
                        <a:lnTo>
                          <a:pt x="4" y="48"/>
                        </a:lnTo>
                        <a:lnTo>
                          <a:pt x="8" y="54"/>
                        </a:lnTo>
                        <a:lnTo>
                          <a:pt x="8" y="54"/>
                        </a:lnTo>
                        <a:lnTo>
                          <a:pt x="14" y="58"/>
                        </a:lnTo>
                        <a:lnTo>
                          <a:pt x="18" y="62"/>
                        </a:lnTo>
                        <a:lnTo>
                          <a:pt x="24" y="64"/>
                        </a:lnTo>
                        <a:lnTo>
                          <a:pt x="30" y="66"/>
                        </a:lnTo>
                        <a:lnTo>
                          <a:pt x="38" y="66"/>
                        </a:lnTo>
                        <a:lnTo>
                          <a:pt x="44" y="64"/>
                        </a:lnTo>
                        <a:lnTo>
                          <a:pt x="50" y="60"/>
                        </a:lnTo>
                        <a:lnTo>
                          <a:pt x="54" y="58"/>
                        </a:lnTo>
                        <a:lnTo>
                          <a:pt x="54" y="58"/>
                        </a:lnTo>
                        <a:close/>
                      </a:path>
                    </a:pathLst>
                  </a:custGeom>
                  <a:solidFill>
                    <a:srgbClr val="A9D7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5" name="Freeform 282"/>
                  <p:cNvSpPr/>
                  <p:nvPr/>
                </p:nvSpPr>
                <p:spPr bwMode="auto">
                  <a:xfrm>
                    <a:off x="6522251" y="2127423"/>
                    <a:ext cx="91422" cy="88651"/>
                  </a:xfrm>
                  <a:custGeom>
                    <a:avLst/>
                    <a:gdLst>
                      <a:gd name="T0" fmla="*/ 54 w 66"/>
                      <a:gd name="T1" fmla="*/ 56 h 64"/>
                      <a:gd name="T2" fmla="*/ 54 w 66"/>
                      <a:gd name="T3" fmla="*/ 56 h 64"/>
                      <a:gd name="T4" fmla="*/ 58 w 66"/>
                      <a:gd name="T5" fmla="*/ 52 h 64"/>
                      <a:gd name="T6" fmla="*/ 62 w 66"/>
                      <a:gd name="T7" fmla="*/ 46 h 64"/>
                      <a:gd name="T8" fmla="*/ 64 w 66"/>
                      <a:gd name="T9" fmla="*/ 40 h 64"/>
                      <a:gd name="T10" fmla="*/ 66 w 66"/>
                      <a:gd name="T11" fmla="*/ 34 h 64"/>
                      <a:gd name="T12" fmla="*/ 64 w 66"/>
                      <a:gd name="T13" fmla="*/ 28 h 64"/>
                      <a:gd name="T14" fmla="*/ 64 w 66"/>
                      <a:gd name="T15" fmla="*/ 22 h 64"/>
                      <a:gd name="T16" fmla="*/ 60 w 66"/>
                      <a:gd name="T17" fmla="*/ 16 h 64"/>
                      <a:gd name="T18" fmla="*/ 56 w 66"/>
                      <a:gd name="T19" fmla="*/ 10 h 64"/>
                      <a:gd name="T20" fmla="*/ 56 w 66"/>
                      <a:gd name="T21" fmla="*/ 10 h 64"/>
                      <a:gd name="T22" fmla="*/ 52 w 66"/>
                      <a:gd name="T23" fmla="*/ 6 h 64"/>
                      <a:gd name="T24" fmla="*/ 46 w 66"/>
                      <a:gd name="T25" fmla="*/ 2 h 64"/>
                      <a:gd name="T26" fmla="*/ 40 w 66"/>
                      <a:gd name="T27" fmla="*/ 0 h 64"/>
                      <a:gd name="T28" fmla="*/ 34 w 66"/>
                      <a:gd name="T29" fmla="*/ 0 h 64"/>
                      <a:gd name="T30" fmla="*/ 28 w 66"/>
                      <a:gd name="T31" fmla="*/ 0 h 64"/>
                      <a:gd name="T32" fmla="*/ 22 w 66"/>
                      <a:gd name="T33" fmla="*/ 2 h 64"/>
                      <a:gd name="T34" fmla="*/ 16 w 66"/>
                      <a:gd name="T35" fmla="*/ 4 h 64"/>
                      <a:gd name="T36" fmla="*/ 10 w 66"/>
                      <a:gd name="T37" fmla="*/ 8 h 64"/>
                      <a:gd name="T38" fmla="*/ 10 w 66"/>
                      <a:gd name="T39" fmla="*/ 8 h 64"/>
                      <a:gd name="T40" fmla="*/ 6 w 66"/>
                      <a:gd name="T41" fmla="*/ 12 h 64"/>
                      <a:gd name="T42" fmla="*/ 2 w 66"/>
                      <a:gd name="T43" fmla="*/ 18 h 64"/>
                      <a:gd name="T44" fmla="*/ 0 w 66"/>
                      <a:gd name="T45" fmla="*/ 24 h 64"/>
                      <a:gd name="T46" fmla="*/ 0 w 66"/>
                      <a:gd name="T47" fmla="*/ 30 h 64"/>
                      <a:gd name="T48" fmla="*/ 0 w 66"/>
                      <a:gd name="T49" fmla="*/ 36 h 64"/>
                      <a:gd name="T50" fmla="*/ 2 w 66"/>
                      <a:gd name="T51" fmla="*/ 42 h 64"/>
                      <a:gd name="T52" fmla="*/ 4 w 66"/>
                      <a:gd name="T53" fmla="*/ 48 h 64"/>
                      <a:gd name="T54" fmla="*/ 8 w 66"/>
                      <a:gd name="T55" fmla="*/ 54 h 64"/>
                      <a:gd name="T56" fmla="*/ 8 w 66"/>
                      <a:gd name="T57" fmla="*/ 54 h 64"/>
                      <a:gd name="T58" fmla="*/ 12 w 66"/>
                      <a:gd name="T59" fmla="*/ 58 h 64"/>
                      <a:gd name="T60" fmla="*/ 18 w 66"/>
                      <a:gd name="T61" fmla="*/ 62 h 64"/>
                      <a:gd name="T62" fmla="*/ 24 w 66"/>
                      <a:gd name="T63" fmla="*/ 64 h 64"/>
                      <a:gd name="T64" fmla="*/ 30 w 66"/>
                      <a:gd name="T65" fmla="*/ 64 h 64"/>
                      <a:gd name="T66" fmla="*/ 36 w 66"/>
                      <a:gd name="T67" fmla="*/ 64 h 64"/>
                      <a:gd name="T68" fmla="*/ 42 w 66"/>
                      <a:gd name="T69" fmla="*/ 64 h 64"/>
                      <a:gd name="T70" fmla="*/ 48 w 66"/>
                      <a:gd name="T71" fmla="*/ 60 h 64"/>
                      <a:gd name="T72" fmla="*/ 54 w 66"/>
                      <a:gd name="T73" fmla="*/ 56 h 64"/>
                      <a:gd name="T74" fmla="*/ 54 w 66"/>
                      <a:gd name="T7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4">
                        <a:moveTo>
                          <a:pt x="54" y="56"/>
                        </a:moveTo>
                        <a:lnTo>
                          <a:pt x="54" y="56"/>
                        </a:lnTo>
                        <a:lnTo>
                          <a:pt x="58" y="52"/>
                        </a:lnTo>
                        <a:lnTo>
                          <a:pt x="62" y="46"/>
                        </a:lnTo>
                        <a:lnTo>
                          <a:pt x="64" y="40"/>
                        </a:lnTo>
                        <a:lnTo>
                          <a:pt x="66" y="34"/>
                        </a:lnTo>
                        <a:lnTo>
                          <a:pt x="64" y="28"/>
                        </a:lnTo>
                        <a:lnTo>
                          <a:pt x="64" y="22"/>
                        </a:lnTo>
                        <a:lnTo>
                          <a:pt x="60" y="16"/>
                        </a:lnTo>
                        <a:lnTo>
                          <a:pt x="56" y="10"/>
                        </a:lnTo>
                        <a:lnTo>
                          <a:pt x="56" y="10"/>
                        </a:lnTo>
                        <a:lnTo>
                          <a:pt x="52" y="6"/>
                        </a:lnTo>
                        <a:lnTo>
                          <a:pt x="46" y="2"/>
                        </a:lnTo>
                        <a:lnTo>
                          <a:pt x="40" y="0"/>
                        </a:lnTo>
                        <a:lnTo>
                          <a:pt x="34" y="0"/>
                        </a:lnTo>
                        <a:lnTo>
                          <a:pt x="28" y="0"/>
                        </a:lnTo>
                        <a:lnTo>
                          <a:pt x="22" y="2"/>
                        </a:lnTo>
                        <a:lnTo>
                          <a:pt x="16" y="4"/>
                        </a:lnTo>
                        <a:lnTo>
                          <a:pt x="10" y="8"/>
                        </a:lnTo>
                        <a:lnTo>
                          <a:pt x="10" y="8"/>
                        </a:lnTo>
                        <a:lnTo>
                          <a:pt x="6" y="12"/>
                        </a:lnTo>
                        <a:lnTo>
                          <a:pt x="2" y="18"/>
                        </a:lnTo>
                        <a:lnTo>
                          <a:pt x="0" y="24"/>
                        </a:lnTo>
                        <a:lnTo>
                          <a:pt x="0" y="30"/>
                        </a:lnTo>
                        <a:lnTo>
                          <a:pt x="0" y="36"/>
                        </a:lnTo>
                        <a:lnTo>
                          <a:pt x="2" y="42"/>
                        </a:lnTo>
                        <a:lnTo>
                          <a:pt x="4" y="48"/>
                        </a:lnTo>
                        <a:lnTo>
                          <a:pt x="8" y="54"/>
                        </a:lnTo>
                        <a:lnTo>
                          <a:pt x="8" y="54"/>
                        </a:lnTo>
                        <a:lnTo>
                          <a:pt x="12" y="58"/>
                        </a:lnTo>
                        <a:lnTo>
                          <a:pt x="18" y="62"/>
                        </a:lnTo>
                        <a:lnTo>
                          <a:pt x="24" y="64"/>
                        </a:lnTo>
                        <a:lnTo>
                          <a:pt x="30" y="64"/>
                        </a:lnTo>
                        <a:lnTo>
                          <a:pt x="36" y="64"/>
                        </a:lnTo>
                        <a:lnTo>
                          <a:pt x="42" y="64"/>
                        </a:lnTo>
                        <a:lnTo>
                          <a:pt x="48" y="60"/>
                        </a:lnTo>
                        <a:lnTo>
                          <a:pt x="54" y="56"/>
                        </a:lnTo>
                        <a:lnTo>
                          <a:pt x="54" y="56"/>
                        </a:lnTo>
                        <a:close/>
                      </a:path>
                    </a:pathLst>
                  </a:custGeom>
                  <a:solidFill>
                    <a:srgbClr val="A9D7D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6" name="Freeform 283"/>
                  <p:cNvSpPr>
                    <a:spLocks noEditPoints="1"/>
                  </p:cNvSpPr>
                  <p:nvPr/>
                </p:nvSpPr>
                <p:spPr bwMode="auto">
                  <a:xfrm>
                    <a:off x="6511170" y="2116342"/>
                    <a:ext cx="110814" cy="110814"/>
                  </a:xfrm>
                  <a:custGeom>
                    <a:avLst/>
                    <a:gdLst>
                      <a:gd name="T0" fmla="*/ 66 w 80"/>
                      <a:gd name="T1" fmla="*/ 70 h 80"/>
                      <a:gd name="T2" fmla="*/ 66 w 80"/>
                      <a:gd name="T3" fmla="*/ 70 h 80"/>
                      <a:gd name="T4" fmla="*/ 72 w 80"/>
                      <a:gd name="T5" fmla="*/ 64 h 80"/>
                      <a:gd name="T6" fmla="*/ 76 w 80"/>
                      <a:gd name="T7" fmla="*/ 58 h 80"/>
                      <a:gd name="T8" fmla="*/ 80 w 80"/>
                      <a:gd name="T9" fmla="*/ 50 h 80"/>
                      <a:gd name="T10" fmla="*/ 80 w 80"/>
                      <a:gd name="T11" fmla="*/ 42 h 80"/>
                      <a:gd name="T12" fmla="*/ 80 w 80"/>
                      <a:gd name="T13" fmla="*/ 36 h 80"/>
                      <a:gd name="T14" fmla="*/ 78 w 80"/>
                      <a:gd name="T15" fmla="*/ 28 h 80"/>
                      <a:gd name="T16" fmla="*/ 76 w 80"/>
                      <a:gd name="T17" fmla="*/ 20 h 80"/>
                      <a:gd name="T18" fmla="*/ 70 w 80"/>
                      <a:gd name="T19" fmla="*/ 14 h 80"/>
                      <a:gd name="T20" fmla="*/ 70 w 80"/>
                      <a:gd name="T21" fmla="*/ 14 h 80"/>
                      <a:gd name="T22" fmla="*/ 64 w 80"/>
                      <a:gd name="T23" fmla="*/ 8 h 80"/>
                      <a:gd name="T24" fmla="*/ 58 w 80"/>
                      <a:gd name="T25" fmla="*/ 4 h 80"/>
                      <a:gd name="T26" fmla="*/ 50 w 80"/>
                      <a:gd name="T27" fmla="*/ 2 h 80"/>
                      <a:gd name="T28" fmla="*/ 42 w 80"/>
                      <a:gd name="T29" fmla="*/ 0 h 80"/>
                      <a:gd name="T30" fmla="*/ 36 w 80"/>
                      <a:gd name="T31" fmla="*/ 0 h 80"/>
                      <a:gd name="T32" fmla="*/ 28 w 80"/>
                      <a:gd name="T33" fmla="*/ 2 h 80"/>
                      <a:gd name="T34" fmla="*/ 20 w 80"/>
                      <a:gd name="T35" fmla="*/ 6 h 80"/>
                      <a:gd name="T36" fmla="*/ 14 w 80"/>
                      <a:gd name="T37" fmla="*/ 10 h 80"/>
                      <a:gd name="T38" fmla="*/ 14 w 80"/>
                      <a:gd name="T39" fmla="*/ 10 h 80"/>
                      <a:gd name="T40" fmla="*/ 8 w 80"/>
                      <a:gd name="T41" fmla="*/ 16 h 80"/>
                      <a:gd name="T42" fmla="*/ 4 w 80"/>
                      <a:gd name="T43" fmla="*/ 22 h 80"/>
                      <a:gd name="T44" fmla="*/ 2 w 80"/>
                      <a:gd name="T45" fmla="*/ 30 h 80"/>
                      <a:gd name="T46" fmla="*/ 0 w 80"/>
                      <a:gd name="T47" fmla="*/ 38 h 80"/>
                      <a:gd name="T48" fmla="*/ 0 w 80"/>
                      <a:gd name="T49" fmla="*/ 46 h 80"/>
                      <a:gd name="T50" fmla="*/ 2 w 80"/>
                      <a:gd name="T51" fmla="*/ 52 h 80"/>
                      <a:gd name="T52" fmla="*/ 6 w 80"/>
                      <a:gd name="T53" fmla="*/ 60 h 80"/>
                      <a:gd name="T54" fmla="*/ 10 w 80"/>
                      <a:gd name="T55" fmla="*/ 66 h 80"/>
                      <a:gd name="T56" fmla="*/ 10 w 80"/>
                      <a:gd name="T57" fmla="*/ 66 h 80"/>
                      <a:gd name="T58" fmla="*/ 16 w 80"/>
                      <a:gd name="T59" fmla="*/ 72 h 80"/>
                      <a:gd name="T60" fmla="*/ 24 w 80"/>
                      <a:gd name="T61" fmla="*/ 76 h 80"/>
                      <a:gd name="T62" fmla="*/ 30 w 80"/>
                      <a:gd name="T63" fmla="*/ 78 h 80"/>
                      <a:gd name="T64" fmla="*/ 38 w 80"/>
                      <a:gd name="T65" fmla="*/ 80 h 80"/>
                      <a:gd name="T66" fmla="*/ 46 w 80"/>
                      <a:gd name="T67" fmla="*/ 80 h 80"/>
                      <a:gd name="T68" fmla="*/ 54 w 80"/>
                      <a:gd name="T69" fmla="*/ 78 h 80"/>
                      <a:gd name="T70" fmla="*/ 60 w 80"/>
                      <a:gd name="T71" fmla="*/ 74 h 80"/>
                      <a:gd name="T72" fmla="*/ 66 w 80"/>
                      <a:gd name="T73" fmla="*/ 70 h 80"/>
                      <a:gd name="T74" fmla="*/ 66 w 80"/>
                      <a:gd name="T75" fmla="*/ 70 h 80"/>
                      <a:gd name="T76" fmla="*/ 22 w 80"/>
                      <a:gd name="T77" fmla="*/ 20 h 80"/>
                      <a:gd name="T78" fmla="*/ 22 w 80"/>
                      <a:gd name="T79" fmla="*/ 20 h 80"/>
                      <a:gd name="T80" fmla="*/ 32 w 80"/>
                      <a:gd name="T81" fmla="*/ 14 h 80"/>
                      <a:gd name="T82" fmla="*/ 42 w 80"/>
                      <a:gd name="T83" fmla="*/ 12 h 80"/>
                      <a:gd name="T84" fmla="*/ 52 w 80"/>
                      <a:gd name="T85" fmla="*/ 16 h 80"/>
                      <a:gd name="T86" fmla="*/ 62 w 80"/>
                      <a:gd name="T87" fmla="*/ 22 h 80"/>
                      <a:gd name="T88" fmla="*/ 62 w 80"/>
                      <a:gd name="T89" fmla="*/ 22 h 80"/>
                      <a:gd name="T90" fmla="*/ 66 w 80"/>
                      <a:gd name="T91" fmla="*/ 32 h 80"/>
                      <a:gd name="T92" fmla="*/ 68 w 80"/>
                      <a:gd name="T93" fmla="*/ 42 h 80"/>
                      <a:gd name="T94" fmla="*/ 66 w 80"/>
                      <a:gd name="T95" fmla="*/ 52 h 80"/>
                      <a:gd name="T96" fmla="*/ 58 w 80"/>
                      <a:gd name="T97" fmla="*/ 62 h 80"/>
                      <a:gd name="T98" fmla="*/ 58 w 80"/>
                      <a:gd name="T99" fmla="*/ 62 h 80"/>
                      <a:gd name="T100" fmla="*/ 50 w 80"/>
                      <a:gd name="T101" fmla="*/ 66 h 80"/>
                      <a:gd name="T102" fmla="*/ 38 w 80"/>
                      <a:gd name="T103" fmla="*/ 68 h 80"/>
                      <a:gd name="T104" fmla="*/ 28 w 80"/>
                      <a:gd name="T105" fmla="*/ 66 h 80"/>
                      <a:gd name="T106" fmla="*/ 20 w 80"/>
                      <a:gd name="T107" fmla="*/ 58 h 80"/>
                      <a:gd name="T108" fmla="*/ 20 w 80"/>
                      <a:gd name="T109" fmla="*/ 58 h 80"/>
                      <a:gd name="T110" fmla="*/ 14 w 80"/>
                      <a:gd name="T111" fmla="*/ 50 h 80"/>
                      <a:gd name="T112" fmla="*/ 12 w 80"/>
                      <a:gd name="T113" fmla="*/ 38 h 80"/>
                      <a:gd name="T114" fmla="*/ 16 w 80"/>
                      <a:gd name="T115" fmla="*/ 28 h 80"/>
                      <a:gd name="T116" fmla="*/ 22 w 80"/>
                      <a:gd name="T117" fmla="*/ 20 h 80"/>
                      <a:gd name="T118" fmla="*/ 22 w 80"/>
                      <a:gd name="T119" fmla="*/ 2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80">
                        <a:moveTo>
                          <a:pt x="66" y="70"/>
                        </a:moveTo>
                        <a:lnTo>
                          <a:pt x="66" y="70"/>
                        </a:lnTo>
                        <a:lnTo>
                          <a:pt x="72" y="64"/>
                        </a:lnTo>
                        <a:lnTo>
                          <a:pt x="76" y="58"/>
                        </a:lnTo>
                        <a:lnTo>
                          <a:pt x="80" y="50"/>
                        </a:lnTo>
                        <a:lnTo>
                          <a:pt x="80" y="42"/>
                        </a:lnTo>
                        <a:lnTo>
                          <a:pt x="80" y="36"/>
                        </a:lnTo>
                        <a:lnTo>
                          <a:pt x="78" y="28"/>
                        </a:lnTo>
                        <a:lnTo>
                          <a:pt x="76" y="20"/>
                        </a:lnTo>
                        <a:lnTo>
                          <a:pt x="70" y="14"/>
                        </a:lnTo>
                        <a:lnTo>
                          <a:pt x="70" y="14"/>
                        </a:lnTo>
                        <a:lnTo>
                          <a:pt x="64" y="8"/>
                        </a:lnTo>
                        <a:lnTo>
                          <a:pt x="58" y="4"/>
                        </a:lnTo>
                        <a:lnTo>
                          <a:pt x="50" y="2"/>
                        </a:lnTo>
                        <a:lnTo>
                          <a:pt x="42" y="0"/>
                        </a:lnTo>
                        <a:lnTo>
                          <a:pt x="36" y="0"/>
                        </a:lnTo>
                        <a:lnTo>
                          <a:pt x="28" y="2"/>
                        </a:lnTo>
                        <a:lnTo>
                          <a:pt x="20" y="6"/>
                        </a:lnTo>
                        <a:lnTo>
                          <a:pt x="14" y="10"/>
                        </a:lnTo>
                        <a:lnTo>
                          <a:pt x="14" y="10"/>
                        </a:lnTo>
                        <a:lnTo>
                          <a:pt x="8" y="16"/>
                        </a:lnTo>
                        <a:lnTo>
                          <a:pt x="4" y="22"/>
                        </a:lnTo>
                        <a:lnTo>
                          <a:pt x="2" y="30"/>
                        </a:lnTo>
                        <a:lnTo>
                          <a:pt x="0" y="38"/>
                        </a:lnTo>
                        <a:lnTo>
                          <a:pt x="0" y="46"/>
                        </a:lnTo>
                        <a:lnTo>
                          <a:pt x="2" y="52"/>
                        </a:lnTo>
                        <a:lnTo>
                          <a:pt x="6" y="60"/>
                        </a:lnTo>
                        <a:lnTo>
                          <a:pt x="10" y="66"/>
                        </a:lnTo>
                        <a:lnTo>
                          <a:pt x="10" y="66"/>
                        </a:lnTo>
                        <a:lnTo>
                          <a:pt x="16" y="72"/>
                        </a:lnTo>
                        <a:lnTo>
                          <a:pt x="24" y="76"/>
                        </a:lnTo>
                        <a:lnTo>
                          <a:pt x="30" y="78"/>
                        </a:lnTo>
                        <a:lnTo>
                          <a:pt x="38" y="80"/>
                        </a:lnTo>
                        <a:lnTo>
                          <a:pt x="46" y="80"/>
                        </a:lnTo>
                        <a:lnTo>
                          <a:pt x="54" y="78"/>
                        </a:lnTo>
                        <a:lnTo>
                          <a:pt x="60" y="74"/>
                        </a:lnTo>
                        <a:lnTo>
                          <a:pt x="66" y="70"/>
                        </a:lnTo>
                        <a:lnTo>
                          <a:pt x="66" y="70"/>
                        </a:lnTo>
                        <a:close/>
                        <a:moveTo>
                          <a:pt x="22" y="20"/>
                        </a:moveTo>
                        <a:lnTo>
                          <a:pt x="22" y="20"/>
                        </a:lnTo>
                        <a:lnTo>
                          <a:pt x="32" y="14"/>
                        </a:lnTo>
                        <a:lnTo>
                          <a:pt x="42" y="12"/>
                        </a:lnTo>
                        <a:lnTo>
                          <a:pt x="52" y="16"/>
                        </a:lnTo>
                        <a:lnTo>
                          <a:pt x="62" y="22"/>
                        </a:lnTo>
                        <a:lnTo>
                          <a:pt x="62" y="22"/>
                        </a:lnTo>
                        <a:lnTo>
                          <a:pt x="66" y="32"/>
                        </a:lnTo>
                        <a:lnTo>
                          <a:pt x="68" y="42"/>
                        </a:lnTo>
                        <a:lnTo>
                          <a:pt x="66" y="52"/>
                        </a:lnTo>
                        <a:lnTo>
                          <a:pt x="58" y="62"/>
                        </a:lnTo>
                        <a:lnTo>
                          <a:pt x="58" y="62"/>
                        </a:lnTo>
                        <a:lnTo>
                          <a:pt x="50" y="66"/>
                        </a:lnTo>
                        <a:lnTo>
                          <a:pt x="38" y="68"/>
                        </a:lnTo>
                        <a:lnTo>
                          <a:pt x="28" y="66"/>
                        </a:lnTo>
                        <a:lnTo>
                          <a:pt x="20" y="58"/>
                        </a:lnTo>
                        <a:lnTo>
                          <a:pt x="20" y="58"/>
                        </a:lnTo>
                        <a:lnTo>
                          <a:pt x="14" y="50"/>
                        </a:lnTo>
                        <a:lnTo>
                          <a:pt x="12" y="38"/>
                        </a:lnTo>
                        <a:lnTo>
                          <a:pt x="16" y="28"/>
                        </a:lnTo>
                        <a:lnTo>
                          <a:pt x="22" y="20"/>
                        </a:lnTo>
                        <a:lnTo>
                          <a:pt x="22" y="20"/>
                        </a:lnTo>
                        <a:close/>
                      </a:path>
                    </a:pathLst>
                  </a:custGeom>
                  <a:solidFill>
                    <a:srgbClr val="99797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7" name="Freeform 284"/>
                  <p:cNvSpPr/>
                  <p:nvPr/>
                </p:nvSpPr>
                <p:spPr bwMode="auto">
                  <a:xfrm>
                    <a:off x="6674621" y="2313037"/>
                    <a:ext cx="326902" cy="324131"/>
                  </a:xfrm>
                  <a:custGeom>
                    <a:avLst/>
                    <a:gdLst>
                      <a:gd name="T0" fmla="*/ 0 w 236"/>
                      <a:gd name="T1" fmla="*/ 100 h 234"/>
                      <a:gd name="T2" fmla="*/ 120 w 236"/>
                      <a:gd name="T3" fmla="*/ 0 h 234"/>
                      <a:gd name="T4" fmla="*/ 120 w 236"/>
                      <a:gd name="T5" fmla="*/ 0 h 234"/>
                      <a:gd name="T6" fmla="*/ 134 w 236"/>
                      <a:gd name="T7" fmla="*/ 10 h 234"/>
                      <a:gd name="T8" fmla="*/ 148 w 236"/>
                      <a:gd name="T9" fmla="*/ 22 h 234"/>
                      <a:gd name="T10" fmla="*/ 164 w 236"/>
                      <a:gd name="T11" fmla="*/ 38 h 234"/>
                      <a:gd name="T12" fmla="*/ 184 w 236"/>
                      <a:gd name="T13" fmla="*/ 60 h 234"/>
                      <a:gd name="T14" fmla="*/ 202 w 236"/>
                      <a:gd name="T15" fmla="*/ 86 h 234"/>
                      <a:gd name="T16" fmla="*/ 220 w 236"/>
                      <a:gd name="T17" fmla="*/ 118 h 234"/>
                      <a:gd name="T18" fmla="*/ 228 w 236"/>
                      <a:gd name="T19" fmla="*/ 134 h 234"/>
                      <a:gd name="T20" fmla="*/ 236 w 236"/>
                      <a:gd name="T21" fmla="*/ 154 h 234"/>
                      <a:gd name="T22" fmla="*/ 236 w 236"/>
                      <a:gd name="T23" fmla="*/ 154 h 234"/>
                      <a:gd name="T24" fmla="*/ 222 w 236"/>
                      <a:gd name="T25" fmla="*/ 150 h 234"/>
                      <a:gd name="T26" fmla="*/ 190 w 236"/>
                      <a:gd name="T27" fmla="*/ 142 h 234"/>
                      <a:gd name="T28" fmla="*/ 190 w 236"/>
                      <a:gd name="T29" fmla="*/ 142 h 234"/>
                      <a:gd name="T30" fmla="*/ 194 w 236"/>
                      <a:gd name="T31" fmla="*/ 148 h 234"/>
                      <a:gd name="T32" fmla="*/ 204 w 236"/>
                      <a:gd name="T33" fmla="*/ 164 h 234"/>
                      <a:gd name="T34" fmla="*/ 208 w 236"/>
                      <a:gd name="T35" fmla="*/ 178 h 234"/>
                      <a:gd name="T36" fmla="*/ 212 w 236"/>
                      <a:gd name="T37" fmla="*/ 192 h 234"/>
                      <a:gd name="T38" fmla="*/ 216 w 236"/>
                      <a:gd name="T39" fmla="*/ 210 h 234"/>
                      <a:gd name="T40" fmla="*/ 218 w 236"/>
                      <a:gd name="T41" fmla="*/ 230 h 234"/>
                      <a:gd name="T42" fmla="*/ 218 w 236"/>
                      <a:gd name="T43" fmla="*/ 230 h 234"/>
                      <a:gd name="T44" fmla="*/ 212 w 236"/>
                      <a:gd name="T45" fmla="*/ 232 h 234"/>
                      <a:gd name="T46" fmla="*/ 198 w 236"/>
                      <a:gd name="T47" fmla="*/ 234 h 234"/>
                      <a:gd name="T48" fmla="*/ 178 w 236"/>
                      <a:gd name="T49" fmla="*/ 234 h 234"/>
                      <a:gd name="T50" fmla="*/ 164 w 236"/>
                      <a:gd name="T51" fmla="*/ 232 h 234"/>
                      <a:gd name="T52" fmla="*/ 150 w 236"/>
                      <a:gd name="T53" fmla="*/ 228 h 234"/>
                      <a:gd name="T54" fmla="*/ 134 w 236"/>
                      <a:gd name="T55" fmla="*/ 224 h 234"/>
                      <a:gd name="T56" fmla="*/ 116 w 236"/>
                      <a:gd name="T57" fmla="*/ 216 h 234"/>
                      <a:gd name="T58" fmla="*/ 98 w 236"/>
                      <a:gd name="T59" fmla="*/ 206 h 234"/>
                      <a:gd name="T60" fmla="*/ 80 w 236"/>
                      <a:gd name="T61" fmla="*/ 192 h 234"/>
                      <a:gd name="T62" fmla="*/ 60 w 236"/>
                      <a:gd name="T63" fmla="*/ 174 h 234"/>
                      <a:gd name="T64" fmla="*/ 40 w 236"/>
                      <a:gd name="T65" fmla="*/ 154 h 234"/>
                      <a:gd name="T66" fmla="*/ 20 w 236"/>
                      <a:gd name="T67" fmla="*/ 130 h 234"/>
                      <a:gd name="T68" fmla="*/ 0 w 236"/>
                      <a:gd name="T69" fmla="*/ 100 h 234"/>
                      <a:gd name="T70" fmla="*/ 0 w 236"/>
                      <a:gd name="T71" fmla="*/ 10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6" h="234">
                        <a:moveTo>
                          <a:pt x="0" y="100"/>
                        </a:moveTo>
                        <a:lnTo>
                          <a:pt x="120" y="0"/>
                        </a:lnTo>
                        <a:lnTo>
                          <a:pt x="120" y="0"/>
                        </a:lnTo>
                        <a:lnTo>
                          <a:pt x="134" y="10"/>
                        </a:lnTo>
                        <a:lnTo>
                          <a:pt x="148" y="22"/>
                        </a:lnTo>
                        <a:lnTo>
                          <a:pt x="164" y="38"/>
                        </a:lnTo>
                        <a:lnTo>
                          <a:pt x="184" y="60"/>
                        </a:lnTo>
                        <a:lnTo>
                          <a:pt x="202" y="86"/>
                        </a:lnTo>
                        <a:lnTo>
                          <a:pt x="220" y="118"/>
                        </a:lnTo>
                        <a:lnTo>
                          <a:pt x="228" y="134"/>
                        </a:lnTo>
                        <a:lnTo>
                          <a:pt x="236" y="154"/>
                        </a:lnTo>
                        <a:lnTo>
                          <a:pt x="236" y="154"/>
                        </a:lnTo>
                        <a:lnTo>
                          <a:pt x="222" y="150"/>
                        </a:lnTo>
                        <a:lnTo>
                          <a:pt x="190" y="142"/>
                        </a:lnTo>
                        <a:lnTo>
                          <a:pt x="190" y="142"/>
                        </a:lnTo>
                        <a:lnTo>
                          <a:pt x="194" y="148"/>
                        </a:lnTo>
                        <a:lnTo>
                          <a:pt x="204" y="164"/>
                        </a:lnTo>
                        <a:lnTo>
                          <a:pt x="208" y="178"/>
                        </a:lnTo>
                        <a:lnTo>
                          <a:pt x="212" y="192"/>
                        </a:lnTo>
                        <a:lnTo>
                          <a:pt x="216" y="210"/>
                        </a:lnTo>
                        <a:lnTo>
                          <a:pt x="218" y="230"/>
                        </a:lnTo>
                        <a:lnTo>
                          <a:pt x="218" y="230"/>
                        </a:lnTo>
                        <a:lnTo>
                          <a:pt x="212" y="232"/>
                        </a:lnTo>
                        <a:lnTo>
                          <a:pt x="198" y="234"/>
                        </a:lnTo>
                        <a:lnTo>
                          <a:pt x="178" y="234"/>
                        </a:lnTo>
                        <a:lnTo>
                          <a:pt x="164" y="232"/>
                        </a:lnTo>
                        <a:lnTo>
                          <a:pt x="150" y="228"/>
                        </a:lnTo>
                        <a:lnTo>
                          <a:pt x="134" y="224"/>
                        </a:lnTo>
                        <a:lnTo>
                          <a:pt x="116" y="216"/>
                        </a:lnTo>
                        <a:lnTo>
                          <a:pt x="98" y="206"/>
                        </a:lnTo>
                        <a:lnTo>
                          <a:pt x="80" y="192"/>
                        </a:lnTo>
                        <a:lnTo>
                          <a:pt x="60" y="174"/>
                        </a:lnTo>
                        <a:lnTo>
                          <a:pt x="40" y="154"/>
                        </a:lnTo>
                        <a:lnTo>
                          <a:pt x="20" y="130"/>
                        </a:lnTo>
                        <a:lnTo>
                          <a:pt x="0" y="100"/>
                        </a:lnTo>
                        <a:lnTo>
                          <a:pt x="0" y="100"/>
                        </a:lnTo>
                        <a:close/>
                      </a:path>
                    </a:pathLst>
                  </a:custGeom>
                  <a:solidFill>
                    <a:srgbClr val="F7AC3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8" name="Freeform 285"/>
                  <p:cNvSpPr/>
                  <p:nvPr/>
                </p:nvSpPr>
                <p:spPr bwMode="auto">
                  <a:xfrm>
                    <a:off x="6691243" y="2329659"/>
                    <a:ext cx="254873" cy="254873"/>
                  </a:xfrm>
                  <a:custGeom>
                    <a:avLst/>
                    <a:gdLst>
                      <a:gd name="T0" fmla="*/ 0 w 184"/>
                      <a:gd name="T1" fmla="*/ 78 h 184"/>
                      <a:gd name="T2" fmla="*/ 94 w 184"/>
                      <a:gd name="T3" fmla="*/ 0 h 184"/>
                      <a:gd name="T4" fmla="*/ 94 w 184"/>
                      <a:gd name="T5" fmla="*/ 0 h 184"/>
                      <a:gd name="T6" fmla="*/ 104 w 184"/>
                      <a:gd name="T7" fmla="*/ 6 h 184"/>
                      <a:gd name="T8" fmla="*/ 116 w 184"/>
                      <a:gd name="T9" fmla="*/ 14 h 184"/>
                      <a:gd name="T10" fmla="*/ 128 w 184"/>
                      <a:gd name="T11" fmla="*/ 26 h 184"/>
                      <a:gd name="T12" fmla="*/ 144 w 184"/>
                      <a:gd name="T13" fmla="*/ 42 h 184"/>
                      <a:gd name="T14" fmla="*/ 158 w 184"/>
                      <a:gd name="T15" fmla="*/ 60 h 184"/>
                      <a:gd name="T16" fmla="*/ 172 w 184"/>
                      <a:gd name="T17" fmla="*/ 84 h 184"/>
                      <a:gd name="T18" fmla="*/ 184 w 184"/>
                      <a:gd name="T19" fmla="*/ 112 h 184"/>
                      <a:gd name="T20" fmla="*/ 184 w 184"/>
                      <a:gd name="T21" fmla="*/ 112 h 184"/>
                      <a:gd name="T22" fmla="*/ 172 w 184"/>
                      <a:gd name="T23" fmla="*/ 108 h 184"/>
                      <a:gd name="T24" fmla="*/ 148 w 184"/>
                      <a:gd name="T25" fmla="*/ 100 h 184"/>
                      <a:gd name="T26" fmla="*/ 148 w 184"/>
                      <a:gd name="T27" fmla="*/ 100 h 184"/>
                      <a:gd name="T28" fmla="*/ 150 w 184"/>
                      <a:gd name="T29" fmla="*/ 108 h 184"/>
                      <a:gd name="T30" fmla="*/ 158 w 184"/>
                      <a:gd name="T31" fmla="*/ 124 h 184"/>
                      <a:gd name="T32" fmla="*/ 166 w 184"/>
                      <a:gd name="T33" fmla="*/ 150 h 184"/>
                      <a:gd name="T34" fmla="*/ 170 w 184"/>
                      <a:gd name="T35" fmla="*/ 164 h 184"/>
                      <a:gd name="T36" fmla="*/ 170 w 184"/>
                      <a:gd name="T37" fmla="*/ 180 h 184"/>
                      <a:gd name="T38" fmla="*/ 170 w 184"/>
                      <a:gd name="T39" fmla="*/ 180 h 184"/>
                      <a:gd name="T40" fmla="*/ 166 w 184"/>
                      <a:gd name="T41" fmla="*/ 182 h 184"/>
                      <a:gd name="T42" fmla="*/ 156 w 184"/>
                      <a:gd name="T43" fmla="*/ 184 h 184"/>
                      <a:gd name="T44" fmla="*/ 140 w 184"/>
                      <a:gd name="T45" fmla="*/ 184 h 184"/>
                      <a:gd name="T46" fmla="*/ 118 w 184"/>
                      <a:gd name="T47" fmla="*/ 180 h 184"/>
                      <a:gd name="T48" fmla="*/ 104 w 184"/>
                      <a:gd name="T49" fmla="*/ 176 h 184"/>
                      <a:gd name="T50" fmla="*/ 92 w 184"/>
                      <a:gd name="T51" fmla="*/ 168 h 184"/>
                      <a:gd name="T52" fmla="*/ 78 w 184"/>
                      <a:gd name="T53" fmla="*/ 160 h 184"/>
                      <a:gd name="T54" fmla="*/ 62 w 184"/>
                      <a:gd name="T55" fmla="*/ 150 h 184"/>
                      <a:gd name="T56" fmla="*/ 48 w 184"/>
                      <a:gd name="T57" fmla="*/ 136 h 184"/>
                      <a:gd name="T58" fmla="*/ 32 w 184"/>
                      <a:gd name="T59" fmla="*/ 120 h 184"/>
                      <a:gd name="T60" fmla="*/ 16 w 184"/>
                      <a:gd name="T61" fmla="*/ 102 h 184"/>
                      <a:gd name="T62" fmla="*/ 0 w 184"/>
                      <a:gd name="T63" fmla="*/ 78 h 184"/>
                      <a:gd name="T64" fmla="*/ 0 w 184"/>
                      <a:gd name="T65" fmla="*/ 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4" h="184">
                        <a:moveTo>
                          <a:pt x="0" y="78"/>
                        </a:moveTo>
                        <a:lnTo>
                          <a:pt x="94" y="0"/>
                        </a:lnTo>
                        <a:lnTo>
                          <a:pt x="94" y="0"/>
                        </a:lnTo>
                        <a:lnTo>
                          <a:pt x="104" y="6"/>
                        </a:lnTo>
                        <a:lnTo>
                          <a:pt x="116" y="14"/>
                        </a:lnTo>
                        <a:lnTo>
                          <a:pt x="128" y="26"/>
                        </a:lnTo>
                        <a:lnTo>
                          <a:pt x="144" y="42"/>
                        </a:lnTo>
                        <a:lnTo>
                          <a:pt x="158" y="60"/>
                        </a:lnTo>
                        <a:lnTo>
                          <a:pt x="172" y="84"/>
                        </a:lnTo>
                        <a:lnTo>
                          <a:pt x="184" y="112"/>
                        </a:lnTo>
                        <a:lnTo>
                          <a:pt x="184" y="112"/>
                        </a:lnTo>
                        <a:lnTo>
                          <a:pt x="172" y="108"/>
                        </a:lnTo>
                        <a:lnTo>
                          <a:pt x="148" y="100"/>
                        </a:lnTo>
                        <a:lnTo>
                          <a:pt x="148" y="100"/>
                        </a:lnTo>
                        <a:lnTo>
                          <a:pt x="150" y="108"/>
                        </a:lnTo>
                        <a:lnTo>
                          <a:pt x="158" y="124"/>
                        </a:lnTo>
                        <a:lnTo>
                          <a:pt x="166" y="150"/>
                        </a:lnTo>
                        <a:lnTo>
                          <a:pt x="170" y="164"/>
                        </a:lnTo>
                        <a:lnTo>
                          <a:pt x="170" y="180"/>
                        </a:lnTo>
                        <a:lnTo>
                          <a:pt x="170" y="180"/>
                        </a:lnTo>
                        <a:lnTo>
                          <a:pt x="166" y="182"/>
                        </a:lnTo>
                        <a:lnTo>
                          <a:pt x="156" y="184"/>
                        </a:lnTo>
                        <a:lnTo>
                          <a:pt x="140" y="184"/>
                        </a:lnTo>
                        <a:lnTo>
                          <a:pt x="118" y="180"/>
                        </a:lnTo>
                        <a:lnTo>
                          <a:pt x="104" y="176"/>
                        </a:lnTo>
                        <a:lnTo>
                          <a:pt x="92" y="168"/>
                        </a:lnTo>
                        <a:lnTo>
                          <a:pt x="78" y="160"/>
                        </a:lnTo>
                        <a:lnTo>
                          <a:pt x="62" y="150"/>
                        </a:lnTo>
                        <a:lnTo>
                          <a:pt x="48" y="136"/>
                        </a:lnTo>
                        <a:lnTo>
                          <a:pt x="32" y="120"/>
                        </a:lnTo>
                        <a:lnTo>
                          <a:pt x="16" y="102"/>
                        </a:lnTo>
                        <a:lnTo>
                          <a:pt x="0" y="78"/>
                        </a:lnTo>
                        <a:lnTo>
                          <a:pt x="0" y="78"/>
                        </a:lnTo>
                        <a:close/>
                      </a:path>
                    </a:pathLst>
                  </a:custGeom>
                  <a:solidFill>
                    <a:srgbClr val="F2D9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29" name="Freeform 286"/>
                  <p:cNvSpPr/>
                  <p:nvPr/>
                </p:nvSpPr>
                <p:spPr bwMode="auto">
                  <a:xfrm>
                    <a:off x="6610903" y="2260400"/>
                    <a:ext cx="263184" cy="238250"/>
                  </a:xfrm>
                  <a:custGeom>
                    <a:avLst/>
                    <a:gdLst>
                      <a:gd name="T0" fmla="*/ 186 w 190"/>
                      <a:gd name="T1" fmla="*/ 4 h 172"/>
                      <a:gd name="T2" fmla="*/ 186 w 190"/>
                      <a:gd name="T3" fmla="*/ 4 h 172"/>
                      <a:gd name="T4" fmla="*/ 188 w 190"/>
                      <a:gd name="T5" fmla="*/ 8 h 172"/>
                      <a:gd name="T6" fmla="*/ 190 w 190"/>
                      <a:gd name="T7" fmla="*/ 12 h 172"/>
                      <a:gd name="T8" fmla="*/ 188 w 190"/>
                      <a:gd name="T9" fmla="*/ 18 h 172"/>
                      <a:gd name="T10" fmla="*/ 186 w 190"/>
                      <a:gd name="T11" fmla="*/ 20 h 172"/>
                      <a:gd name="T12" fmla="*/ 18 w 190"/>
                      <a:gd name="T13" fmla="*/ 168 h 172"/>
                      <a:gd name="T14" fmla="*/ 18 w 190"/>
                      <a:gd name="T15" fmla="*/ 168 h 172"/>
                      <a:gd name="T16" fmla="*/ 14 w 190"/>
                      <a:gd name="T17" fmla="*/ 172 h 172"/>
                      <a:gd name="T18" fmla="*/ 10 w 190"/>
                      <a:gd name="T19" fmla="*/ 172 h 172"/>
                      <a:gd name="T20" fmla="*/ 6 w 190"/>
                      <a:gd name="T21" fmla="*/ 170 h 172"/>
                      <a:gd name="T22" fmla="*/ 2 w 190"/>
                      <a:gd name="T23" fmla="*/ 168 h 172"/>
                      <a:gd name="T24" fmla="*/ 2 w 190"/>
                      <a:gd name="T25" fmla="*/ 168 h 172"/>
                      <a:gd name="T26" fmla="*/ 0 w 190"/>
                      <a:gd name="T27" fmla="*/ 164 h 172"/>
                      <a:gd name="T28" fmla="*/ 0 w 190"/>
                      <a:gd name="T29" fmla="*/ 160 h 172"/>
                      <a:gd name="T30" fmla="*/ 0 w 190"/>
                      <a:gd name="T31" fmla="*/ 154 h 172"/>
                      <a:gd name="T32" fmla="*/ 4 w 190"/>
                      <a:gd name="T33" fmla="*/ 152 h 172"/>
                      <a:gd name="T34" fmla="*/ 170 w 190"/>
                      <a:gd name="T35" fmla="*/ 4 h 172"/>
                      <a:gd name="T36" fmla="*/ 170 w 190"/>
                      <a:gd name="T37" fmla="*/ 4 h 172"/>
                      <a:gd name="T38" fmla="*/ 174 w 190"/>
                      <a:gd name="T39" fmla="*/ 0 h 172"/>
                      <a:gd name="T40" fmla="*/ 178 w 190"/>
                      <a:gd name="T41" fmla="*/ 0 h 172"/>
                      <a:gd name="T42" fmla="*/ 182 w 190"/>
                      <a:gd name="T43" fmla="*/ 2 h 172"/>
                      <a:gd name="T44" fmla="*/ 186 w 190"/>
                      <a:gd name="T45" fmla="*/ 4 h 172"/>
                      <a:gd name="T46" fmla="*/ 186 w 190"/>
                      <a:gd name="T47" fmla="*/ 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0" h="172">
                        <a:moveTo>
                          <a:pt x="186" y="4"/>
                        </a:moveTo>
                        <a:lnTo>
                          <a:pt x="186" y="4"/>
                        </a:lnTo>
                        <a:lnTo>
                          <a:pt x="188" y="8"/>
                        </a:lnTo>
                        <a:lnTo>
                          <a:pt x="190" y="12"/>
                        </a:lnTo>
                        <a:lnTo>
                          <a:pt x="188" y="18"/>
                        </a:lnTo>
                        <a:lnTo>
                          <a:pt x="186" y="20"/>
                        </a:lnTo>
                        <a:lnTo>
                          <a:pt x="18" y="168"/>
                        </a:lnTo>
                        <a:lnTo>
                          <a:pt x="18" y="168"/>
                        </a:lnTo>
                        <a:lnTo>
                          <a:pt x="14" y="172"/>
                        </a:lnTo>
                        <a:lnTo>
                          <a:pt x="10" y="172"/>
                        </a:lnTo>
                        <a:lnTo>
                          <a:pt x="6" y="170"/>
                        </a:lnTo>
                        <a:lnTo>
                          <a:pt x="2" y="168"/>
                        </a:lnTo>
                        <a:lnTo>
                          <a:pt x="2" y="168"/>
                        </a:lnTo>
                        <a:lnTo>
                          <a:pt x="0" y="164"/>
                        </a:lnTo>
                        <a:lnTo>
                          <a:pt x="0" y="160"/>
                        </a:lnTo>
                        <a:lnTo>
                          <a:pt x="0" y="154"/>
                        </a:lnTo>
                        <a:lnTo>
                          <a:pt x="4" y="152"/>
                        </a:lnTo>
                        <a:lnTo>
                          <a:pt x="170" y="4"/>
                        </a:lnTo>
                        <a:lnTo>
                          <a:pt x="170" y="4"/>
                        </a:lnTo>
                        <a:lnTo>
                          <a:pt x="174" y="0"/>
                        </a:lnTo>
                        <a:lnTo>
                          <a:pt x="178" y="0"/>
                        </a:lnTo>
                        <a:lnTo>
                          <a:pt x="182" y="2"/>
                        </a:lnTo>
                        <a:lnTo>
                          <a:pt x="186" y="4"/>
                        </a:lnTo>
                        <a:lnTo>
                          <a:pt x="186" y="4"/>
                        </a:lnTo>
                        <a:close/>
                      </a:path>
                    </a:pathLst>
                  </a:custGeom>
                  <a:solidFill>
                    <a:srgbClr val="D33B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0" name="Freeform 289"/>
                  <p:cNvSpPr/>
                  <p:nvPr/>
                </p:nvSpPr>
                <p:spPr bwMode="auto">
                  <a:xfrm>
                    <a:off x="6469615" y="3955857"/>
                    <a:ext cx="80340" cy="80340"/>
                  </a:xfrm>
                  <a:custGeom>
                    <a:avLst/>
                    <a:gdLst>
                      <a:gd name="T0" fmla="*/ 50 w 58"/>
                      <a:gd name="T1" fmla="*/ 50 h 58"/>
                      <a:gd name="T2" fmla="*/ 34 w 58"/>
                      <a:gd name="T3" fmla="*/ 44 h 58"/>
                      <a:gd name="T4" fmla="*/ 22 w 58"/>
                      <a:gd name="T5" fmla="*/ 58 h 58"/>
                      <a:gd name="T6" fmla="*/ 18 w 58"/>
                      <a:gd name="T7" fmla="*/ 40 h 58"/>
                      <a:gd name="T8" fmla="*/ 0 w 58"/>
                      <a:gd name="T9" fmla="*/ 38 h 58"/>
                      <a:gd name="T10" fmla="*/ 14 w 58"/>
                      <a:gd name="T11" fmla="*/ 26 h 58"/>
                      <a:gd name="T12" fmla="*/ 6 w 58"/>
                      <a:gd name="T13" fmla="*/ 8 h 58"/>
                      <a:gd name="T14" fmla="*/ 24 w 58"/>
                      <a:gd name="T15" fmla="*/ 14 h 58"/>
                      <a:gd name="T16" fmla="*/ 36 w 58"/>
                      <a:gd name="T17" fmla="*/ 0 h 58"/>
                      <a:gd name="T18" fmla="*/ 38 w 58"/>
                      <a:gd name="T19" fmla="*/ 18 h 58"/>
                      <a:gd name="T20" fmla="*/ 58 w 58"/>
                      <a:gd name="T21" fmla="*/ 20 h 58"/>
                      <a:gd name="T22" fmla="*/ 44 w 58"/>
                      <a:gd name="T23" fmla="*/ 32 h 58"/>
                      <a:gd name="T24" fmla="*/ 50 w 58"/>
                      <a:gd name="T2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58">
                        <a:moveTo>
                          <a:pt x="50" y="50"/>
                        </a:moveTo>
                        <a:lnTo>
                          <a:pt x="34" y="44"/>
                        </a:lnTo>
                        <a:lnTo>
                          <a:pt x="22" y="58"/>
                        </a:lnTo>
                        <a:lnTo>
                          <a:pt x="18" y="40"/>
                        </a:lnTo>
                        <a:lnTo>
                          <a:pt x="0" y="38"/>
                        </a:lnTo>
                        <a:lnTo>
                          <a:pt x="14" y="26"/>
                        </a:lnTo>
                        <a:lnTo>
                          <a:pt x="6" y="8"/>
                        </a:lnTo>
                        <a:lnTo>
                          <a:pt x="24" y="14"/>
                        </a:lnTo>
                        <a:lnTo>
                          <a:pt x="36" y="0"/>
                        </a:lnTo>
                        <a:lnTo>
                          <a:pt x="38" y="18"/>
                        </a:lnTo>
                        <a:lnTo>
                          <a:pt x="58" y="20"/>
                        </a:lnTo>
                        <a:lnTo>
                          <a:pt x="44" y="32"/>
                        </a:lnTo>
                        <a:lnTo>
                          <a:pt x="50" y="50"/>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1" name="Freeform 290"/>
                  <p:cNvSpPr/>
                  <p:nvPr/>
                </p:nvSpPr>
                <p:spPr bwMode="auto">
                  <a:xfrm>
                    <a:off x="6160720" y="3994642"/>
                    <a:ext cx="112200" cy="113584"/>
                  </a:xfrm>
                  <a:custGeom>
                    <a:avLst/>
                    <a:gdLst>
                      <a:gd name="T0" fmla="*/ 73 w 81"/>
                      <a:gd name="T1" fmla="*/ 70 h 82"/>
                      <a:gd name="T2" fmla="*/ 47 w 81"/>
                      <a:gd name="T3" fmla="*/ 62 h 82"/>
                      <a:gd name="T4" fmla="*/ 33 w 81"/>
                      <a:gd name="T5" fmla="*/ 82 h 82"/>
                      <a:gd name="T6" fmla="*/ 27 w 81"/>
                      <a:gd name="T7" fmla="*/ 58 h 82"/>
                      <a:gd name="T8" fmla="*/ 0 w 81"/>
                      <a:gd name="T9" fmla="*/ 54 h 82"/>
                      <a:gd name="T10" fmla="*/ 21 w 81"/>
                      <a:gd name="T11" fmla="*/ 38 h 82"/>
                      <a:gd name="T12" fmla="*/ 10 w 81"/>
                      <a:gd name="T13" fmla="*/ 14 h 82"/>
                      <a:gd name="T14" fmla="*/ 35 w 81"/>
                      <a:gd name="T15" fmla="*/ 22 h 82"/>
                      <a:gd name="T16" fmla="*/ 51 w 81"/>
                      <a:gd name="T17" fmla="*/ 0 h 82"/>
                      <a:gd name="T18" fmla="*/ 55 w 81"/>
                      <a:gd name="T19" fmla="*/ 26 h 82"/>
                      <a:gd name="T20" fmla="*/ 81 w 81"/>
                      <a:gd name="T21" fmla="*/ 30 h 82"/>
                      <a:gd name="T22" fmla="*/ 63 w 81"/>
                      <a:gd name="T23" fmla="*/ 46 h 82"/>
                      <a:gd name="T24" fmla="*/ 73 w 81"/>
                      <a:gd name="T25" fmla="*/ 7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2">
                        <a:moveTo>
                          <a:pt x="73" y="70"/>
                        </a:moveTo>
                        <a:lnTo>
                          <a:pt x="47" y="62"/>
                        </a:lnTo>
                        <a:lnTo>
                          <a:pt x="33" y="82"/>
                        </a:lnTo>
                        <a:lnTo>
                          <a:pt x="27" y="58"/>
                        </a:lnTo>
                        <a:lnTo>
                          <a:pt x="0" y="54"/>
                        </a:lnTo>
                        <a:lnTo>
                          <a:pt x="21" y="38"/>
                        </a:lnTo>
                        <a:lnTo>
                          <a:pt x="10" y="14"/>
                        </a:lnTo>
                        <a:lnTo>
                          <a:pt x="35" y="22"/>
                        </a:lnTo>
                        <a:lnTo>
                          <a:pt x="51" y="0"/>
                        </a:lnTo>
                        <a:lnTo>
                          <a:pt x="55" y="26"/>
                        </a:lnTo>
                        <a:lnTo>
                          <a:pt x="81" y="30"/>
                        </a:lnTo>
                        <a:lnTo>
                          <a:pt x="63" y="46"/>
                        </a:lnTo>
                        <a:lnTo>
                          <a:pt x="73" y="70"/>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2" name="Freeform 291"/>
                  <p:cNvSpPr/>
                  <p:nvPr/>
                </p:nvSpPr>
                <p:spPr bwMode="auto">
                  <a:xfrm>
                    <a:off x="6297853" y="3748080"/>
                    <a:ext cx="55407" cy="55407"/>
                  </a:xfrm>
                  <a:custGeom>
                    <a:avLst/>
                    <a:gdLst>
                      <a:gd name="T0" fmla="*/ 36 w 40"/>
                      <a:gd name="T1" fmla="*/ 34 h 40"/>
                      <a:gd name="T2" fmla="*/ 24 w 40"/>
                      <a:gd name="T3" fmla="*/ 30 h 40"/>
                      <a:gd name="T4" fmla="*/ 16 w 40"/>
                      <a:gd name="T5" fmla="*/ 40 h 40"/>
                      <a:gd name="T6" fmla="*/ 14 w 40"/>
                      <a:gd name="T7" fmla="*/ 28 h 40"/>
                      <a:gd name="T8" fmla="*/ 0 w 40"/>
                      <a:gd name="T9" fmla="*/ 26 h 40"/>
                      <a:gd name="T10" fmla="*/ 10 w 40"/>
                      <a:gd name="T11" fmla="*/ 18 h 40"/>
                      <a:gd name="T12" fmla="*/ 4 w 40"/>
                      <a:gd name="T13" fmla="*/ 6 h 40"/>
                      <a:gd name="T14" fmla="*/ 16 w 40"/>
                      <a:gd name="T15" fmla="*/ 10 h 40"/>
                      <a:gd name="T16" fmla="*/ 24 w 40"/>
                      <a:gd name="T17" fmla="*/ 0 h 40"/>
                      <a:gd name="T18" fmla="*/ 28 w 40"/>
                      <a:gd name="T19" fmla="*/ 12 h 40"/>
                      <a:gd name="T20" fmla="*/ 40 w 40"/>
                      <a:gd name="T21" fmla="*/ 14 h 40"/>
                      <a:gd name="T22" fmla="*/ 30 w 40"/>
                      <a:gd name="T23" fmla="*/ 22 h 40"/>
                      <a:gd name="T24" fmla="*/ 36 w 40"/>
                      <a:gd name="T25"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0">
                        <a:moveTo>
                          <a:pt x="36" y="34"/>
                        </a:moveTo>
                        <a:lnTo>
                          <a:pt x="24" y="30"/>
                        </a:lnTo>
                        <a:lnTo>
                          <a:pt x="16" y="40"/>
                        </a:lnTo>
                        <a:lnTo>
                          <a:pt x="14" y="28"/>
                        </a:lnTo>
                        <a:lnTo>
                          <a:pt x="0" y="26"/>
                        </a:lnTo>
                        <a:lnTo>
                          <a:pt x="10" y="18"/>
                        </a:lnTo>
                        <a:lnTo>
                          <a:pt x="4" y="6"/>
                        </a:lnTo>
                        <a:lnTo>
                          <a:pt x="16" y="10"/>
                        </a:lnTo>
                        <a:lnTo>
                          <a:pt x="24" y="0"/>
                        </a:lnTo>
                        <a:lnTo>
                          <a:pt x="28" y="12"/>
                        </a:lnTo>
                        <a:lnTo>
                          <a:pt x="40" y="14"/>
                        </a:lnTo>
                        <a:lnTo>
                          <a:pt x="30" y="22"/>
                        </a:lnTo>
                        <a:lnTo>
                          <a:pt x="36" y="34"/>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3" name="Freeform 292"/>
                  <p:cNvSpPr/>
                  <p:nvPr/>
                </p:nvSpPr>
                <p:spPr bwMode="auto">
                  <a:xfrm>
                    <a:off x="6890708" y="2833864"/>
                    <a:ext cx="83111" cy="77570"/>
                  </a:xfrm>
                  <a:custGeom>
                    <a:avLst/>
                    <a:gdLst>
                      <a:gd name="T0" fmla="*/ 48 w 60"/>
                      <a:gd name="T1" fmla="*/ 4 h 56"/>
                      <a:gd name="T2" fmla="*/ 44 w 60"/>
                      <a:gd name="T3" fmla="*/ 24 h 56"/>
                      <a:gd name="T4" fmla="*/ 60 w 60"/>
                      <a:gd name="T5" fmla="*/ 32 h 56"/>
                      <a:gd name="T6" fmla="*/ 42 w 60"/>
                      <a:gd name="T7" fmla="*/ 38 h 56"/>
                      <a:gd name="T8" fmla="*/ 40 w 60"/>
                      <a:gd name="T9" fmla="*/ 56 h 56"/>
                      <a:gd name="T10" fmla="*/ 28 w 60"/>
                      <a:gd name="T11" fmla="*/ 44 h 56"/>
                      <a:gd name="T12" fmla="*/ 10 w 60"/>
                      <a:gd name="T13" fmla="*/ 52 h 56"/>
                      <a:gd name="T14" fmla="*/ 16 w 60"/>
                      <a:gd name="T15" fmla="*/ 34 h 56"/>
                      <a:gd name="T16" fmla="*/ 0 w 60"/>
                      <a:gd name="T17" fmla="*/ 24 h 56"/>
                      <a:gd name="T18" fmla="*/ 18 w 60"/>
                      <a:gd name="T19" fmla="*/ 20 h 56"/>
                      <a:gd name="T20" fmla="*/ 18 w 60"/>
                      <a:gd name="T21" fmla="*/ 0 h 56"/>
                      <a:gd name="T22" fmla="*/ 32 w 60"/>
                      <a:gd name="T23" fmla="*/ 14 h 56"/>
                      <a:gd name="T24" fmla="*/ 48 w 60"/>
                      <a:gd name="T25"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6">
                        <a:moveTo>
                          <a:pt x="48" y="4"/>
                        </a:moveTo>
                        <a:lnTo>
                          <a:pt x="44" y="24"/>
                        </a:lnTo>
                        <a:lnTo>
                          <a:pt x="60" y="32"/>
                        </a:lnTo>
                        <a:lnTo>
                          <a:pt x="42" y="38"/>
                        </a:lnTo>
                        <a:lnTo>
                          <a:pt x="40" y="56"/>
                        </a:lnTo>
                        <a:lnTo>
                          <a:pt x="28" y="44"/>
                        </a:lnTo>
                        <a:lnTo>
                          <a:pt x="10" y="52"/>
                        </a:lnTo>
                        <a:lnTo>
                          <a:pt x="16" y="34"/>
                        </a:lnTo>
                        <a:lnTo>
                          <a:pt x="0" y="24"/>
                        </a:lnTo>
                        <a:lnTo>
                          <a:pt x="18" y="20"/>
                        </a:lnTo>
                        <a:lnTo>
                          <a:pt x="18" y="0"/>
                        </a:lnTo>
                        <a:lnTo>
                          <a:pt x="32" y="14"/>
                        </a:lnTo>
                        <a:lnTo>
                          <a:pt x="48" y="4"/>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4" name="Freeform 293"/>
                  <p:cNvSpPr/>
                  <p:nvPr/>
                </p:nvSpPr>
                <p:spPr bwMode="auto">
                  <a:xfrm>
                    <a:off x="6951656" y="3105358"/>
                    <a:ext cx="116355" cy="108044"/>
                  </a:xfrm>
                  <a:custGeom>
                    <a:avLst/>
                    <a:gdLst>
                      <a:gd name="T0" fmla="*/ 68 w 84"/>
                      <a:gd name="T1" fmla="*/ 6 h 78"/>
                      <a:gd name="T2" fmla="*/ 60 w 84"/>
                      <a:gd name="T3" fmla="*/ 32 h 78"/>
                      <a:gd name="T4" fmla="*/ 84 w 84"/>
                      <a:gd name="T5" fmla="*/ 44 h 78"/>
                      <a:gd name="T6" fmla="*/ 58 w 84"/>
                      <a:gd name="T7" fmla="*/ 52 h 78"/>
                      <a:gd name="T8" fmla="*/ 58 w 84"/>
                      <a:gd name="T9" fmla="*/ 78 h 78"/>
                      <a:gd name="T10" fmla="*/ 38 w 84"/>
                      <a:gd name="T11" fmla="*/ 60 h 78"/>
                      <a:gd name="T12" fmla="*/ 16 w 84"/>
                      <a:gd name="T13" fmla="*/ 72 h 78"/>
                      <a:gd name="T14" fmla="*/ 22 w 84"/>
                      <a:gd name="T15" fmla="*/ 46 h 78"/>
                      <a:gd name="T16" fmla="*/ 0 w 84"/>
                      <a:gd name="T17" fmla="*/ 34 h 78"/>
                      <a:gd name="T18" fmla="*/ 26 w 84"/>
                      <a:gd name="T19" fmla="*/ 26 h 78"/>
                      <a:gd name="T20" fmla="*/ 26 w 84"/>
                      <a:gd name="T21" fmla="*/ 0 h 78"/>
                      <a:gd name="T22" fmla="*/ 44 w 84"/>
                      <a:gd name="T23" fmla="*/ 18 h 78"/>
                      <a:gd name="T24" fmla="*/ 68 w 84"/>
                      <a:gd name="T25"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78">
                        <a:moveTo>
                          <a:pt x="68" y="6"/>
                        </a:moveTo>
                        <a:lnTo>
                          <a:pt x="60" y="32"/>
                        </a:lnTo>
                        <a:lnTo>
                          <a:pt x="84" y="44"/>
                        </a:lnTo>
                        <a:lnTo>
                          <a:pt x="58" y="52"/>
                        </a:lnTo>
                        <a:lnTo>
                          <a:pt x="58" y="78"/>
                        </a:lnTo>
                        <a:lnTo>
                          <a:pt x="38" y="60"/>
                        </a:lnTo>
                        <a:lnTo>
                          <a:pt x="16" y="72"/>
                        </a:lnTo>
                        <a:lnTo>
                          <a:pt x="22" y="46"/>
                        </a:lnTo>
                        <a:lnTo>
                          <a:pt x="0" y="34"/>
                        </a:lnTo>
                        <a:lnTo>
                          <a:pt x="26" y="26"/>
                        </a:lnTo>
                        <a:lnTo>
                          <a:pt x="26" y="0"/>
                        </a:lnTo>
                        <a:lnTo>
                          <a:pt x="44" y="18"/>
                        </a:lnTo>
                        <a:lnTo>
                          <a:pt x="68" y="6"/>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5" name="Freeform 294"/>
                  <p:cNvSpPr/>
                  <p:nvPr/>
                </p:nvSpPr>
                <p:spPr bwMode="auto">
                  <a:xfrm>
                    <a:off x="6696784" y="3047181"/>
                    <a:ext cx="55407" cy="52637"/>
                  </a:xfrm>
                  <a:custGeom>
                    <a:avLst/>
                    <a:gdLst>
                      <a:gd name="T0" fmla="*/ 32 w 40"/>
                      <a:gd name="T1" fmla="*/ 2 h 38"/>
                      <a:gd name="T2" fmla="*/ 30 w 40"/>
                      <a:gd name="T3" fmla="*/ 16 h 38"/>
                      <a:gd name="T4" fmla="*/ 40 w 40"/>
                      <a:gd name="T5" fmla="*/ 22 h 38"/>
                      <a:gd name="T6" fmla="*/ 28 w 40"/>
                      <a:gd name="T7" fmla="*/ 26 h 38"/>
                      <a:gd name="T8" fmla="*/ 28 w 40"/>
                      <a:gd name="T9" fmla="*/ 38 h 38"/>
                      <a:gd name="T10" fmla="*/ 18 w 40"/>
                      <a:gd name="T11" fmla="*/ 30 h 38"/>
                      <a:gd name="T12" fmla="*/ 8 w 40"/>
                      <a:gd name="T13" fmla="*/ 36 h 38"/>
                      <a:gd name="T14" fmla="*/ 10 w 40"/>
                      <a:gd name="T15" fmla="*/ 22 h 38"/>
                      <a:gd name="T16" fmla="*/ 0 w 40"/>
                      <a:gd name="T17" fmla="*/ 16 h 38"/>
                      <a:gd name="T18" fmla="*/ 12 w 40"/>
                      <a:gd name="T19" fmla="*/ 12 h 38"/>
                      <a:gd name="T20" fmla="*/ 12 w 40"/>
                      <a:gd name="T21" fmla="*/ 0 h 38"/>
                      <a:gd name="T22" fmla="*/ 22 w 40"/>
                      <a:gd name="T23" fmla="*/ 8 h 38"/>
                      <a:gd name="T24" fmla="*/ 32 w 40"/>
                      <a:gd name="T2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8">
                        <a:moveTo>
                          <a:pt x="32" y="2"/>
                        </a:moveTo>
                        <a:lnTo>
                          <a:pt x="30" y="16"/>
                        </a:lnTo>
                        <a:lnTo>
                          <a:pt x="40" y="22"/>
                        </a:lnTo>
                        <a:lnTo>
                          <a:pt x="28" y="26"/>
                        </a:lnTo>
                        <a:lnTo>
                          <a:pt x="28" y="38"/>
                        </a:lnTo>
                        <a:lnTo>
                          <a:pt x="18" y="30"/>
                        </a:lnTo>
                        <a:lnTo>
                          <a:pt x="8" y="36"/>
                        </a:lnTo>
                        <a:lnTo>
                          <a:pt x="10" y="22"/>
                        </a:lnTo>
                        <a:lnTo>
                          <a:pt x="0" y="16"/>
                        </a:lnTo>
                        <a:lnTo>
                          <a:pt x="12" y="12"/>
                        </a:lnTo>
                        <a:lnTo>
                          <a:pt x="12" y="0"/>
                        </a:lnTo>
                        <a:lnTo>
                          <a:pt x="22" y="8"/>
                        </a:lnTo>
                        <a:lnTo>
                          <a:pt x="32" y="2"/>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6" name="Freeform 295"/>
                  <p:cNvSpPr/>
                  <p:nvPr/>
                </p:nvSpPr>
                <p:spPr bwMode="auto">
                  <a:xfrm>
                    <a:off x="5653745" y="3019477"/>
                    <a:ext cx="85881" cy="72029"/>
                  </a:xfrm>
                  <a:custGeom>
                    <a:avLst/>
                    <a:gdLst>
                      <a:gd name="T0" fmla="*/ 46 w 62"/>
                      <a:gd name="T1" fmla="*/ 52 h 52"/>
                      <a:gd name="T2" fmla="*/ 32 w 62"/>
                      <a:gd name="T3" fmla="*/ 40 h 52"/>
                      <a:gd name="T4" fmla="*/ 16 w 62"/>
                      <a:gd name="T5" fmla="*/ 52 h 52"/>
                      <a:gd name="T6" fmla="*/ 18 w 62"/>
                      <a:gd name="T7" fmla="*/ 34 h 52"/>
                      <a:gd name="T8" fmla="*/ 0 w 62"/>
                      <a:gd name="T9" fmla="*/ 26 h 52"/>
                      <a:gd name="T10" fmla="*/ 18 w 62"/>
                      <a:gd name="T11" fmla="*/ 18 h 52"/>
                      <a:gd name="T12" fmla="*/ 16 w 62"/>
                      <a:gd name="T13" fmla="*/ 0 h 52"/>
                      <a:gd name="T14" fmla="*/ 32 w 62"/>
                      <a:gd name="T15" fmla="*/ 10 h 52"/>
                      <a:gd name="T16" fmla="*/ 46 w 62"/>
                      <a:gd name="T17" fmla="*/ 0 h 52"/>
                      <a:gd name="T18" fmla="*/ 44 w 62"/>
                      <a:gd name="T19" fmla="*/ 18 h 52"/>
                      <a:gd name="T20" fmla="*/ 62 w 62"/>
                      <a:gd name="T21" fmla="*/ 26 h 52"/>
                      <a:gd name="T22" fmla="*/ 44 w 62"/>
                      <a:gd name="T23" fmla="*/ 32 h 52"/>
                      <a:gd name="T24" fmla="*/ 46 w 6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2">
                        <a:moveTo>
                          <a:pt x="46" y="52"/>
                        </a:moveTo>
                        <a:lnTo>
                          <a:pt x="32" y="40"/>
                        </a:lnTo>
                        <a:lnTo>
                          <a:pt x="16" y="52"/>
                        </a:lnTo>
                        <a:lnTo>
                          <a:pt x="18" y="34"/>
                        </a:lnTo>
                        <a:lnTo>
                          <a:pt x="0" y="26"/>
                        </a:lnTo>
                        <a:lnTo>
                          <a:pt x="18" y="18"/>
                        </a:lnTo>
                        <a:lnTo>
                          <a:pt x="16" y="0"/>
                        </a:lnTo>
                        <a:lnTo>
                          <a:pt x="32" y="10"/>
                        </a:lnTo>
                        <a:lnTo>
                          <a:pt x="46" y="0"/>
                        </a:lnTo>
                        <a:lnTo>
                          <a:pt x="44" y="18"/>
                        </a:lnTo>
                        <a:lnTo>
                          <a:pt x="62" y="26"/>
                        </a:lnTo>
                        <a:lnTo>
                          <a:pt x="44" y="32"/>
                        </a:lnTo>
                        <a:lnTo>
                          <a:pt x="46" y="52"/>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7" name="Freeform 296"/>
                  <p:cNvSpPr/>
                  <p:nvPr/>
                </p:nvSpPr>
                <p:spPr bwMode="auto">
                  <a:xfrm>
                    <a:off x="5343466" y="2972381"/>
                    <a:ext cx="116355" cy="99733"/>
                  </a:xfrm>
                  <a:custGeom>
                    <a:avLst/>
                    <a:gdLst>
                      <a:gd name="T0" fmla="*/ 64 w 84"/>
                      <a:gd name="T1" fmla="*/ 72 h 72"/>
                      <a:gd name="T2" fmla="*/ 42 w 84"/>
                      <a:gd name="T3" fmla="*/ 56 h 72"/>
                      <a:gd name="T4" fmla="*/ 22 w 84"/>
                      <a:gd name="T5" fmla="*/ 72 h 72"/>
                      <a:gd name="T6" fmla="*/ 24 w 84"/>
                      <a:gd name="T7" fmla="*/ 46 h 72"/>
                      <a:gd name="T8" fmla="*/ 0 w 84"/>
                      <a:gd name="T9" fmla="*/ 36 h 72"/>
                      <a:gd name="T10" fmla="*/ 24 w 84"/>
                      <a:gd name="T11" fmla="*/ 26 h 72"/>
                      <a:gd name="T12" fmla="*/ 22 w 84"/>
                      <a:gd name="T13" fmla="*/ 0 h 72"/>
                      <a:gd name="T14" fmla="*/ 42 w 84"/>
                      <a:gd name="T15" fmla="*/ 16 h 72"/>
                      <a:gd name="T16" fmla="*/ 64 w 84"/>
                      <a:gd name="T17" fmla="*/ 0 h 72"/>
                      <a:gd name="T18" fmla="*/ 60 w 84"/>
                      <a:gd name="T19" fmla="*/ 26 h 72"/>
                      <a:gd name="T20" fmla="*/ 84 w 84"/>
                      <a:gd name="T21" fmla="*/ 36 h 72"/>
                      <a:gd name="T22" fmla="*/ 60 w 84"/>
                      <a:gd name="T23" fmla="*/ 46 h 72"/>
                      <a:gd name="T24" fmla="*/ 64 w 84"/>
                      <a:gd name="T2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72">
                        <a:moveTo>
                          <a:pt x="64" y="72"/>
                        </a:moveTo>
                        <a:lnTo>
                          <a:pt x="42" y="56"/>
                        </a:lnTo>
                        <a:lnTo>
                          <a:pt x="22" y="72"/>
                        </a:lnTo>
                        <a:lnTo>
                          <a:pt x="24" y="46"/>
                        </a:lnTo>
                        <a:lnTo>
                          <a:pt x="0" y="36"/>
                        </a:lnTo>
                        <a:lnTo>
                          <a:pt x="24" y="26"/>
                        </a:lnTo>
                        <a:lnTo>
                          <a:pt x="22" y="0"/>
                        </a:lnTo>
                        <a:lnTo>
                          <a:pt x="42" y="16"/>
                        </a:lnTo>
                        <a:lnTo>
                          <a:pt x="64" y="0"/>
                        </a:lnTo>
                        <a:lnTo>
                          <a:pt x="60" y="26"/>
                        </a:lnTo>
                        <a:lnTo>
                          <a:pt x="84" y="36"/>
                        </a:lnTo>
                        <a:lnTo>
                          <a:pt x="60" y="46"/>
                        </a:lnTo>
                        <a:lnTo>
                          <a:pt x="64" y="72"/>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8" name="Freeform 297"/>
                  <p:cNvSpPr/>
                  <p:nvPr/>
                </p:nvSpPr>
                <p:spPr bwMode="auto">
                  <a:xfrm>
                    <a:off x="5556783" y="2764605"/>
                    <a:ext cx="58177" cy="49866"/>
                  </a:xfrm>
                  <a:custGeom>
                    <a:avLst/>
                    <a:gdLst>
                      <a:gd name="T0" fmla="*/ 32 w 42"/>
                      <a:gd name="T1" fmla="*/ 36 h 36"/>
                      <a:gd name="T2" fmla="*/ 22 w 42"/>
                      <a:gd name="T3" fmla="*/ 28 h 36"/>
                      <a:gd name="T4" fmla="*/ 12 w 42"/>
                      <a:gd name="T5" fmla="*/ 36 h 36"/>
                      <a:gd name="T6" fmla="*/ 12 w 42"/>
                      <a:gd name="T7" fmla="*/ 22 h 36"/>
                      <a:gd name="T8" fmla="*/ 0 w 42"/>
                      <a:gd name="T9" fmla="*/ 18 h 36"/>
                      <a:gd name="T10" fmla="*/ 12 w 42"/>
                      <a:gd name="T11" fmla="*/ 12 h 36"/>
                      <a:gd name="T12" fmla="*/ 12 w 42"/>
                      <a:gd name="T13" fmla="*/ 0 h 36"/>
                      <a:gd name="T14" fmla="*/ 22 w 42"/>
                      <a:gd name="T15" fmla="*/ 8 h 36"/>
                      <a:gd name="T16" fmla="*/ 32 w 42"/>
                      <a:gd name="T17" fmla="*/ 0 h 36"/>
                      <a:gd name="T18" fmla="*/ 30 w 42"/>
                      <a:gd name="T19" fmla="*/ 12 h 36"/>
                      <a:gd name="T20" fmla="*/ 42 w 42"/>
                      <a:gd name="T21" fmla="*/ 18 h 36"/>
                      <a:gd name="T22" fmla="*/ 30 w 42"/>
                      <a:gd name="T23" fmla="*/ 22 h 36"/>
                      <a:gd name="T24" fmla="*/ 32 w 4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6">
                        <a:moveTo>
                          <a:pt x="32" y="36"/>
                        </a:moveTo>
                        <a:lnTo>
                          <a:pt x="22" y="28"/>
                        </a:lnTo>
                        <a:lnTo>
                          <a:pt x="12" y="36"/>
                        </a:lnTo>
                        <a:lnTo>
                          <a:pt x="12" y="22"/>
                        </a:lnTo>
                        <a:lnTo>
                          <a:pt x="0" y="18"/>
                        </a:lnTo>
                        <a:lnTo>
                          <a:pt x="12" y="12"/>
                        </a:lnTo>
                        <a:lnTo>
                          <a:pt x="12" y="0"/>
                        </a:lnTo>
                        <a:lnTo>
                          <a:pt x="22" y="8"/>
                        </a:lnTo>
                        <a:lnTo>
                          <a:pt x="32" y="0"/>
                        </a:lnTo>
                        <a:lnTo>
                          <a:pt x="30" y="12"/>
                        </a:lnTo>
                        <a:lnTo>
                          <a:pt x="42" y="18"/>
                        </a:lnTo>
                        <a:lnTo>
                          <a:pt x="30" y="22"/>
                        </a:lnTo>
                        <a:lnTo>
                          <a:pt x="32" y="36"/>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39" name="Freeform 298"/>
                  <p:cNvSpPr/>
                  <p:nvPr/>
                </p:nvSpPr>
                <p:spPr bwMode="auto">
                  <a:xfrm>
                    <a:off x="6214742" y="2570680"/>
                    <a:ext cx="19392" cy="207777"/>
                  </a:xfrm>
                  <a:custGeom>
                    <a:avLst/>
                    <a:gdLst>
                      <a:gd name="T0" fmla="*/ 6 w 14"/>
                      <a:gd name="T1" fmla="*/ 150 h 150"/>
                      <a:gd name="T2" fmla="*/ 6 w 14"/>
                      <a:gd name="T3" fmla="*/ 150 h 150"/>
                      <a:gd name="T4" fmla="*/ 4 w 14"/>
                      <a:gd name="T5" fmla="*/ 126 h 150"/>
                      <a:gd name="T6" fmla="*/ 4 w 14"/>
                      <a:gd name="T7" fmla="*/ 126 h 150"/>
                      <a:gd name="T8" fmla="*/ 2 w 14"/>
                      <a:gd name="T9" fmla="*/ 74 h 150"/>
                      <a:gd name="T10" fmla="*/ 2 w 14"/>
                      <a:gd name="T11" fmla="*/ 74 h 150"/>
                      <a:gd name="T12" fmla="*/ 0 w 14"/>
                      <a:gd name="T13" fmla="*/ 46 h 150"/>
                      <a:gd name="T14" fmla="*/ 0 w 14"/>
                      <a:gd name="T15" fmla="*/ 46 h 150"/>
                      <a:gd name="T16" fmla="*/ 2 w 14"/>
                      <a:gd name="T17" fmla="*/ 22 h 150"/>
                      <a:gd name="T18" fmla="*/ 2 w 14"/>
                      <a:gd name="T19" fmla="*/ 22 h 150"/>
                      <a:gd name="T20" fmla="*/ 4 w 14"/>
                      <a:gd name="T21" fmla="*/ 6 h 150"/>
                      <a:gd name="T22" fmla="*/ 6 w 14"/>
                      <a:gd name="T23" fmla="*/ 0 h 150"/>
                      <a:gd name="T24" fmla="*/ 8 w 14"/>
                      <a:gd name="T25" fmla="*/ 0 h 150"/>
                      <a:gd name="T26" fmla="*/ 8 w 14"/>
                      <a:gd name="T27" fmla="*/ 0 h 150"/>
                      <a:gd name="T28" fmla="*/ 10 w 14"/>
                      <a:gd name="T29" fmla="*/ 6 h 150"/>
                      <a:gd name="T30" fmla="*/ 12 w 14"/>
                      <a:gd name="T31" fmla="*/ 22 h 150"/>
                      <a:gd name="T32" fmla="*/ 12 w 14"/>
                      <a:gd name="T33" fmla="*/ 22 h 150"/>
                      <a:gd name="T34" fmla="*/ 14 w 14"/>
                      <a:gd name="T35" fmla="*/ 46 h 150"/>
                      <a:gd name="T36" fmla="*/ 14 w 14"/>
                      <a:gd name="T37" fmla="*/ 46 h 150"/>
                      <a:gd name="T38" fmla="*/ 12 w 14"/>
                      <a:gd name="T39" fmla="*/ 74 h 150"/>
                      <a:gd name="T40" fmla="*/ 12 w 14"/>
                      <a:gd name="T41" fmla="*/ 74 h 150"/>
                      <a:gd name="T42" fmla="*/ 10 w 14"/>
                      <a:gd name="T43" fmla="*/ 126 h 150"/>
                      <a:gd name="T44" fmla="*/ 10 w 14"/>
                      <a:gd name="T45" fmla="*/ 126 h 150"/>
                      <a:gd name="T46" fmla="*/ 8 w 14"/>
                      <a:gd name="T47" fmla="*/ 150 h 150"/>
                      <a:gd name="T48" fmla="*/ 6 w 14"/>
                      <a:gd name="T4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50">
                        <a:moveTo>
                          <a:pt x="6" y="150"/>
                        </a:moveTo>
                        <a:lnTo>
                          <a:pt x="6" y="150"/>
                        </a:lnTo>
                        <a:lnTo>
                          <a:pt x="4" y="126"/>
                        </a:lnTo>
                        <a:lnTo>
                          <a:pt x="4" y="126"/>
                        </a:lnTo>
                        <a:lnTo>
                          <a:pt x="2" y="74"/>
                        </a:lnTo>
                        <a:lnTo>
                          <a:pt x="2" y="74"/>
                        </a:lnTo>
                        <a:lnTo>
                          <a:pt x="0" y="46"/>
                        </a:lnTo>
                        <a:lnTo>
                          <a:pt x="0" y="46"/>
                        </a:lnTo>
                        <a:lnTo>
                          <a:pt x="2" y="22"/>
                        </a:lnTo>
                        <a:lnTo>
                          <a:pt x="2" y="22"/>
                        </a:lnTo>
                        <a:lnTo>
                          <a:pt x="4" y="6"/>
                        </a:lnTo>
                        <a:lnTo>
                          <a:pt x="6" y="0"/>
                        </a:lnTo>
                        <a:lnTo>
                          <a:pt x="8" y="0"/>
                        </a:lnTo>
                        <a:lnTo>
                          <a:pt x="8" y="0"/>
                        </a:lnTo>
                        <a:lnTo>
                          <a:pt x="10" y="6"/>
                        </a:lnTo>
                        <a:lnTo>
                          <a:pt x="12" y="22"/>
                        </a:lnTo>
                        <a:lnTo>
                          <a:pt x="12" y="22"/>
                        </a:lnTo>
                        <a:lnTo>
                          <a:pt x="14" y="46"/>
                        </a:lnTo>
                        <a:lnTo>
                          <a:pt x="14" y="46"/>
                        </a:lnTo>
                        <a:lnTo>
                          <a:pt x="12" y="74"/>
                        </a:lnTo>
                        <a:lnTo>
                          <a:pt x="12" y="74"/>
                        </a:lnTo>
                        <a:lnTo>
                          <a:pt x="10" y="126"/>
                        </a:lnTo>
                        <a:lnTo>
                          <a:pt x="10" y="126"/>
                        </a:lnTo>
                        <a:lnTo>
                          <a:pt x="8" y="150"/>
                        </a:lnTo>
                        <a:lnTo>
                          <a:pt x="6" y="15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0" name="Freeform 299"/>
                  <p:cNvSpPr/>
                  <p:nvPr/>
                </p:nvSpPr>
                <p:spPr bwMode="auto">
                  <a:xfrm>
                    <a:off x="6533333" y="2781227"/>
                    <a:ext cx="135747" cy="124666"/>
                  </a:xfrm>
                  <a:custGeom>
                    <a:avLst/>
                    <a:gdLst>
                      <a:gd name="T0" fmla="*/ 0 w 98"/>
                      <a:gd name="T1" fmla="*/ 90 h 90"/>
                      <a:gd name="T2" fmla="*/ 0 w 98"/>
                      <a:gd name="T3" fmla="*/ 90 h 90"/>
                      <a:gd name="T4" fmla="*/ 14 w 98"/>
                      <a:gd name="T5" fmla="*/ 74 h 90"/>
                      <a:gd name="T6" fmla="*/ 14 w 98"/>
                      <a:gd name="T7" fmla="*/ 74 h 90"/>
                      <a:gd name="T8" fmla="*/ 46 w 98"/>
                      <a:gd name="T9" fmla="*/ 40 h 90"/>
                      <a:gd name="T10" fmla="*/ 46 w 98"/>
                      <a:gd name="T11" fmla="*/ 40 h 90"/>
                      <a:gd name="T12" fmla="*/ 62 w 98"/>
                      <a:gd name="T13" fmla="*/ 24 h 90"/>
                      <a:gd name="T14" fmla="*/ 62 w 98"/>
                      <a:gd name="T15" fmla="*/ 24 h 90"/>
                      <a:gd name="T16" fmla="*/ 78 w 98"/>
                      <a:gd name="T17" fmla="*/ 10 h 90"/>
                      <a:gd name="T18" fmla="*/ 78 w 98"/>
                      <a:gd name="T19" fmla="*/ 10 h 90"/>
                      <a:gd name="T20" fmla="*/ 92 w 98"/>
                      <a:gd name="T21" fmla="*/ 2 h 90"/>
                      <a:gd name="T22" fmla="*/ 98 w 98"/>
                      <a:gd name="T23" fmla="*/ 0 h 90"/>
                      <a:gd name="T24" fmla="*/ 98 w 98"/>
                      <a:gd name="T25" fmla="*/ 2 h 90"/>
                      <a:gd name="T26" fmla="*/ 98 w 98"/>
                      <a:gd name="T27" fmla="*/ 2 h 90"/>
                      <a:gd name="T28" fmla="*/ 96 w 98"/>
                      <a:gd name="T29" fmla="*/ 6 h 90"/>
                      <a:gd name="T30" fmla="*/ 86 w 98"/>
                      <a:gd name="T31" fmla="*/ 18 h 90"/>
                      <a:gd name="T32" fmla="*/ 86 w 98"/>
                      <a:gd name="T33" fmla="*/ 18 h 90"/>
                      <a:gd name="T34" fmla="*/ 72 w 98"/>
                      <a:gd name="T35" fmla="*/ 34 h 90"/>
                      <a:gd name="T36" fmla="*/ 72 w 98"/>
                      <a:gd name="T37" fmla="*/ 34 h 90"/>
                      <a:gd name="T38" fmla="*/ 52 w 98"/>
                      <a:gd name="T39" fmla="*/ 50 h 90"/>
                      <a:gd name="T40" fmla="*/ 52 w 98"/>
                      <a:gd name="T41" fmla="*/ 50 h 90"/>
                      <a:gd name="T42" fmla="*/ 18 w 98"/>
                      <a:gd name="T43" fmla="*/ 78 h 90"/>
                      <a:gd name="T44" fmla="*/ 18 w 98"/>
                      <a:gd name="T45" fmla="*/ 78 h 90"/>
                      <a:gd name="T46" fmla="*/ 2 w 98"/>
                      <a:gd name="T47" fmla="*/ 90 h 90"/>
                      <a:gd name="T48" fmla="*/ 0 w 98"/>
                      <a:gd name="T4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0">
                        <a:moveTo>
                          <a:pt x="0" y="90"/>
                        </a:moveTo>
                        <a:lnTo>
                          <a:pt x="0" y="90"/>
                        </a:lnTo>
                        <a:lnTo>
                          <a:pt x="14" y="74"/>
                        </a:lnTo>
                        <a:lnTo>
                          <a:pt x="14" y="74"/>
                        </a:lnTo>
                        <a:lnTo>
                          <a:pt x="46" y="40"/>
                        </a:lnTo>
                        <a:lnTo>
                          <a:pt x="46" y="40"/>
                        </a:lnTo>
                        <a:lnTo>
                          <a:pt x="62" y="24"/>
                        </a:lnTo>
                        <a:lnTo>
                          <a:pt x="62" y="24"/>
                        </a:lnTo>
                        <a:lnTo>
                          <a:pt x="78" y="10"/>
                        </a:lnTo>
                        <a:lnTo>
                          <a:pt x="78" y="10"/>
                        </a:lnTo>
                        <a:lnTo>
                          <a:pt x="92" y="2"/>
                        </a:lnTo>
                        <a:lnTo>
                          <a:pt x="98" y="0"/>
                        </a:lnTo>
                        <a:lnTo>
                          <a:pt x="98" y="2"/>
                        </a:lnTo>
                        <a:lnTo>
                          <a:pt x="98" y="2"/>
                        </a:lnTo>
                        <a:lnTo>
                          <a:pt x="96" y="6"/>
                        </a:lnTo>
                        <a:lnTo>
                          <a:pt x="86" y="18"/>
                        </a:lnTo>
                        <a:lnTo>
                          <a:pt x="86" y="18"/>
                        </a:lnTo>
                        <a:lnTo>
                          <a:pt x="72" y="34"/>
                        </a:lnTo>
                        <a:lnTo>
                          <a:pt x="72" y="34"/>
                        </a:lnTo>
                        <a:lnTo>
                          <a:pt x="52" y="50"/>
                        </a:lnTo>
                        <a:lnTo>
                          <a:pt x="52" y="50"/>
                        </a:lnTo>
                        <a:lnTo>
                          <a:pt x="18" y="78"/>
                        </a:lnTo>
                        <a:lnTo>
                          <a:pt x="18" y="78"/>
                        </a:lnTo>
                        <a:lnTo>
                          <a:pt x="2" y="90"/>
                        </a:lnTo>
                        <a:lnTo>
                          <a:pt x="0" y="9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1" name="Freeform 300"/>
                  <p:cNvSpPr/>
                  <p:nvPr/>
                </p:nvSpPr>
                <p:spPr bwMode="auto">
                  <a:xfrm>
                    <a:off x="5808885" y="2781227"/>
                    <a:ext cx="135747" cy="124666"/>
                  </a:xfrm>
                  <a:custGeom>
                    <a:avLst/>
                    <a:gdLst>
                      <a:gd name="T0" fmla="*/ 96 w 98"/>
                      <a:gd name="T1" fmla="*/ 90 h 90"/>
                      <a:gd name="T2" fmla="*/ 96 w 98"/>
                      <a:gd name="T3" fmla="*/ 90 h 90"/>
                      <a:gd name="T4" fmla="*/ 80 w 98"/>
                      <a:gd name="T5" fmla="*/ 78 h 90"/>
                      <a:gd name="T6" fmla="*/ 80 w 98"/>
                      <a:gd name="T7" fmla="*/ 78 h 90"/>
                      <a:gd name="T8" fmla="*/ 44 w 98"/>
                      <a:gd name="T9" fmla="*/ 50 h 90"/>
                      <a:gd name="T10" fmla="*/ 44 w 98"/>
                      <a:gd name="T11" fmla="*/ 50 h 90"/>
                      <a:gd name="T12" fmla="*/ 26 w 98"/>
                      <a:gd name="T13" fmla="*/ 34 h 90"/>
                      <a:gd name="T14" fmla="*/ 26 w 98"/>
                      <a:gd name="T15" fmla="*/ 34 h 90"/>
                      <a:gd name="T16" fmla="*/ 10 w 98"/>
                      <a:gd name="T17" fmla="*/ 18 h 90"/>
                      <a:gd name="T18" fmla="*/ 10 w 98"/>
                      <a:gd name="T19" fmla="*/ 18 h 90"/>
                      <a:gd name="T20" fmla="*/ 2 w 98"/>
                      <a:gd name="T21" fmla="*/ 6 h 90"/>
                      <a:gd name="T22" fmla="*/ 0 w 98"/>
                      <a:gd name="T23" fmla="*/ 2 h 90"/>
                      <a:gd name="T24" fmla="*/ 0 w 98"/>
                      <a:gd name="T25" fmla="*/ 0 h 90"/>
                      <a:gd name="T26" fmla="*/ 0 w 98"/>
                      <a:gd name="T27" fmla="*/ 0 h 90"/>
                      <a:gd name="T28" fmla="*/ 6 w 98"/>
                      <a:gd name="T29" fmla="*/ 2 h 90"/>
                      <a:gd name="T30" fmla="*/ 18 w 98"/>
                      <a:gd name="T31" fmla="*/ 10 h 90"/>
                      <a:gd name="T32" fmla="*/ 18 w 98"/>
                      <a:gd name="T33" fmla="*/ 10 h 90"/>
                      <a:gd name="T34" fmla="*/ 36 w 98"/>
                      <a:gd name="T35" fmla="*/ 24 h 90"/>
                      <a:gd name="T36" fmla="*/ 36 w 98"/>
                      <a:gd name="T37" fmla="*/ 24 h 90"/>
                      <a:gd name="T38" fmla="*/ 52 w 98"/>
                      <a:gd name="T39" fmla="*/ 40 h 90"/>
                      <a:gd name="T40" fmla="*/ 52 w 98"/>
                      <a:gd name="T41" fmla="*/ 40 h 90"/>
                      <a:gd name="T42" fmla="*/ 84 w 98"/>
                      <a:gd name="T43" fmla="*/ 74 h 90"/>
                      <a:gd name="T44" fmla="*/ 84 w 98"/>
                      <a:gd name="T45" fmla="*/ 74 h 90"/>
                      <a:gd name="T46" fmla="*/ 98 w 98"/>
                      <a:gd name="T47" fmla="*/ 90 h 90"/>
                      <a:gd name="T48" fmla="*/ 96 w 98"/>
                      <a:gd name="T4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0">
                        <a:moveTo>
                          <a:pt x="96" y="90"/>
                        </a:moveTo>
                        <a:lnTo>
                          <a:pt x="96" y="90"/>
                        </a:lnTo>
                        <a:lnTo>
                          <a:pt x="80" y="78"/>
                        </a:lnTo>
                        <a:lnTo>
                          <a:pt x="80" y="78"/>
                        </a:lnTo>
                        <a:lnTo>
                          <a:pt x="44" y="50"/>
                        </a:lnTo>
                        <a:lnTo>
                          <a:pt x="44" y="50"/>
                        </a:lnTo>
                        <a:lnTo>
                          <a:pt x="26" y="34"/>
                        </a:lnTo>
                        <a:lnTo>
                          <a:pt x="26" y="34"/>
                        </a:lnTo>
                        <a:lnTo>
                          <a:pt x="10" y="18"/>
                        </a:lnTo>
                        <a:lnTo>
                          <a:pt x="10" y="18"/>
                        </a:lnTo>
                        <a:lnTo>
                          <a:pt x="2" y="6"/>
                        </a:lnTo>
                        <a:lnTo>
                          <a:pt x="0" y="2"/>
                        </a:lnTo>
                        <a:lnTo>
                          <a:pt x="0" y="0"/>
                        </a:lnTo>
                        <a:lnTo>
                          <a:pt x="0" y="0"/>
                        </a:lnTo>
                        <a:lnTo>
                          <a:pt x="6" y="2"/>
                        </a:lnTo>
                        <a:lnTo>
                          <a:pt x="18" y="10"/>
                        </a:lnTo>
                        <a:lnTo>
                          <a:pt x="18" y="10"/>
                        </a:lnTo>
                        <a:lnTo>
                          <a:pt x="36" y="24"/>
                        </a:lnTo>
                        <a:lnTo>
                          <a:pt x="36" y="24"/>
                        </a:lnTo>
                        <a:lnTo>
                          <a:pt x="52" y="40"/>
                        </a:lnTo>
                        <a:lnTo>
                          <a:pt x="52" y="40"/>
                        </a:lnTo>
                        <a:lnTo>
                          <a:pt x="84" y="74"/>
                        </a:lnTo>
                        <a:lnTo>
                          <a:pt x="84" y="74"/>
                        </a:lnTo>
                        <a:lnTo>
                          <a:pt x="98" y="90"/>
                        </a:lnTo>
                        <a:lnTo>
                          <a:pt x="96" y="9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2" name="Freeform 301"/>
                  <p:cNvSpPr/>
                  <p:nvPr/>
                </p:nvSpPr>
                <p:spPr bwMode="auto">
                  <a:xfrm>
                    <a:off x="6002810" y="2670413"/>
                    <a:ext cx="47096" cy="119125"/>
                  </a:xfrm>
                  <a:custGeom>
                    <a:avLst/>
                    <a:gdLst>
                      <a:gd name="T0" fmla="*/ 34 w 34"/>
                      <a:gd name="T1" fmla="*/ 86 h 86"/>
                      <a:gd name="T2" fmla="*/ 34 w 34"/>
                      <a:gd name="T3" fmla="*/ 86 h 86"/>
                      <a:gd name="T4" fmla="*/ 12 w 34"/>
                      <a:gd name="T5" fmla="*/ 44 h 86"/>
                      <a:gd name="T6" fmla="*/ 12 w 34"/>
                      <a:gd name="T7" fmla="*/ 44 h 86"/>
                      <a:gd name="T8" fmla="*/ 4 w 34"/>
                      <a:gd name="T9" fmla="*/ 30 h 86"/>
                      <a:gd name="T10" fmla="*/ 4 w 34"/>
                      <a:gd name="T11" fmla="*/ 30 h 86"/>
                      <a:gd name="T12" fmla="*/ 0 w 34"/>
                      <a:gd name="T13" fmla="*/ 16 h 86"/>
                      <a:gd name="T14" fmla="*/ 0 w 34"/>
                      <a:gd name="T15" fmla="*/ 16 h 86"/>
                      <a:gd name="T16" fmla="*/ 0 w 34"/>
                      <a:gd name="T17" fmla="*/ 4 h 86"/>
                      <a:gd name="T18" fmla="*/ 0 w 34"/>
                      <a:gd name="T19" fmla="*/ 0 h 86"/>
                      <a:gd name="T20" fmla="*/ 0 w 34"/>
                      <a:gd name="T21" fmla="*/ 0 h 86"/>
                      <a:gd name="T22" fmla="*/ 0 w 34"/>
                      <a:gd name="T23" fmla="*/ 0 h 86"/>
                      <a:gd name="T24" fmla="*/ 4 w 34"/>
                      <a:gd name="T25" fmla="*/ 2 h 86"/>
                      <a:gd name="T26" fmla="*/ 10 w 34"/>
                      <a:gd name="T27" fmla="*/ 12 h 86"/>
                      <a:gd name="T28" fmla="*/ 10 w 34"/>
                      <a:gd name="T29" fmla="*/ 12 h 86"/>
                      <a:gd name="T30" fmla="*/ 18 w 34"/>
                      <a:gd name="T31" fmla="*/ 24 h 86"/>
                      <a:gd name="T32" fmla="*/ 18 w 34"/>
                      <a:gd name="T33" fmla="*/ 24 h 86"/>
                      <a:gd name="T34" fmla="*/ 22 w 34"/>
                      <a:gd name="T35" fmla="*/ 40 h 86"/>
                      <a:gd name="T36" fmla="*/ 22 w 34"/>
                      <a:gd name="T37" fmla="*/ 40 h 86"/>
                      <a:gd name="T38" fmla="*/ 34 w 34"/>
                      <a:gd name="T39" fmla="*/ 86 h 86"/>
                      <a:gd name="T40" fmla="*/ 34 w 34"/>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86">
                        <a:moveTo>
                          <a:pt x="34" y="86"/>
                        </a:moveTo>
                        <a:lnTo>
                          <a:pt x="34" y="86"/>
                        </a:lnTo>
                        <a:lnTo>
                          <a:pt x="12" y="44"/>
                        </a:lnTo>
                        <a:lnTo>
                          <a:pt x="12" y="44"/>
                        </a:lnTo>
                        <a:lnTo>
                          <a:pt x="4" y="30"/>
                        </a:lnTo>
                        <a:lnTo>
                          <a:pt x="4" y="30"/>
                        </a:lnTo>
                        <a:lnTo>
                          <a:pt x="0" y="16"/>
                        </a:lnTo>
                        <a:lnTo>
                          <a:pt x="0" y="16"/>
                        </a:lnTo>
                        <a:lnTo>
                          <a:pt x="0" y="4"/>
                        </a:lnTo>
                        <a:lnTo>
                          <a:pt x="0" y="0"/>
                        </a:lnTo>
                        <a:lnTo>
                          <a:pt x="0" y="0"/>
                        </a:lnTo>
                        <a:lnTo>
                          <a:pt x="0" y="0"/>
                        </a:lnTo>
                        <a:lnTo>
                          <a:pt x="4" y="2"/>
                        </a:lnTo>
                        <a:lnTo>
                          <a:pt x="10" y="12"/>
                        </a:lnTo>
                        <a:lnTo>
                          <a:pt x="10" y="12"/>
                        </a:lnTo>
                        <a:lnTo>
                          <a:pt x="18" y="24"/>
                        </a:lnTo>
                        <a:lnTo>
                          <a:pt x="18" y="24"/>
                        </a:lnTo>
                        <a:lnTo>
                          <a:pt x="22" y="40"/>
                        </a:lnTo>
                        <a:lnTo>
                          <a:pt x="22" y="40"/>
                        </a:lnTo>
                        <a:lnTo>
                          <a:pt x="34" y="86"/>
                        </a:lnTo>
                        <a:lnTo>
                          <a:pt x="34" y="86"/>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3" name="Freeform 302"/>
                  <p:cNvSpPr/>
                  <p:nvPr/>
                </p:nvSpPr>
                <p:spPr bwMode="auto">
                  <a:xfrm>
                    <a:off x="6414208" y="2670413"/>
                    <a:ext cx="49866" cy="119125"/>
                  </a:xfrm>
                  <a:custGeom>
                    <a:avLst/>
                    <a:gdLst>
                      <a:gd name="T0" fmla="*/ 0 w 36"/>
                      <a:gd name="T1" fmla="*/ 86 h 86"/>
                      <a:gd name="T2" fmla="*/ 0 w 36"/>
                      <a:gd name="T3" fmla="*/ 86 h 86"/>
                      <a:gd name="T4" fmla="*/ 12 w 36"/>
                      <a:gd name="T5" fmla="*/ 40 h 86"/>
                      <a:gd name="T6" fmla="*/ 12 w 36"/>
                      <a:gd name="T7" fmla="*/ 40 h 86"/>
                      <a:gd name="T8" fmla="*/ 16 w 36"/>
                      <a:gd name="T9" fmla="*/ 24 h 86"/>
                      <a:gd name="T10" fmla="*/ 16 w 36"/>
                      <a:gd name="T11" fmla="*/ 24 h 86"/>
                      <a:gd name="T12" fmla="*/ 24 w 36"/>
                      <a:gd name="T13" fmla="*/ 12 h 86"/>
                      <a:gd name="T14" fmla="*/ 24 w 36"/>
                      <a:gd name="T15" fmla="*/ 12 h 86"/>
                      <a:gd name="T16" fmla="*/ 30 w 36"/>
                      <a:gd name="T17" fmla="*/ 2 h 86"/>
                      <a:gd name="T18" fmla="*/ 34 w 36"/>
                      <a:gd name="T19" fmla="*/ 0 h 86"/>
                      <a:gd name="T20" fmla="*/ 36 w 36"/>
                      <a:gd name="T21" fmla="*/ 0 h 86"/>
                      <a:gd name="T22" fmla="*/ 36 w 36"/>
                      <a:gd name="T23" fmla="*/ 0 h 86"/>
                      <a:gd name="T24" fmla="*/ 36 w 36"/>
                      <a:gd name="T25" fmla="*/ 4 h 86"/>
                      <a:gd name="T26" fmla="*/ 34 w 36"/>
                      <a:gd name="T27" fmla="*/ 16 h 86"/>
                      <a:gd name="T28" fmla="*/ 34 w 36"/>
                      <a:gd name="T29" fmla="*/ 16 h 86"/>
                      <a:gd name="T30" fmla="*/ 30 w 36"/>
                      <a:gd name="T31" fmla="*/ 30 h 86"/>
                      <a:gd name="T32" fmla="*/ 30 w 36"/>
                      <a:gd name="T33" fmla="*/ 30 h 86"/>
                      <a:gd name="T34" fmla="*/ 22 w 36"/>
                      <a:gd name="T35" fmla="*/ 44 h 86"/>
                      <a:gd name="T36" fmla="*/ 22 w 36"/>
                      <a:gd name="T37" fmla="*/ 44 h 86"/>
                      <a:gd name="T38" fmla="*/ 2 w 36"/>
                      <a:gd name="T39" fmla="*/ 86 h 86"/>
                      <a:gd name="T40" fmla="*/ 0 w 36"/>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86">
                        <a:moveTo>
                          <a:pt x="0" y="86"/>
                        </a:moveTo>
                        <a:lnTo>
                          <a:pt x="0" y="86"/>
                        </a:lnTo>
                        <a:lnTo>
                          <a:pt x="12" y="40"/>
                        </a:lnTo>
                        <a:lnTo>
                          <a:pt x="12" y="40"/>
                        </a:lnTo>
                        <a:lnTo>
                          <a:pt x="16" y="24"/>
                        </a:lnTo>
                        <a:lnTo>
                          <a:pt x="16" y="24"/>
                        </a:lnTo>
                        <a:lnTo>
                          <a:pt x="24" y="12"/>
                        </a:lnTo>
                        <a:lnTo>
                          <a:pt x="24" y="12"/>
                        </a:lnTo>
                        <a:lnTo>
                          <a:pt x="30" y="2"/>
                        </a:lnTo>
                        <a:lnTo>
                          <a:pt x="34" y="0"/>
                        </a:lnTo>
                        <a:lnTo>
                          <a:pt x="36" y="0"/>
                        </a:lnTo>
                        <a:lnTo>
                          <a:pt x="36" y="0"/>
                        </a:lnTo>
                        <a:lnTo>
                          <a:pt x="36" y="4"/>
                        </a:lnTo>
                        <a:lnTo>
                          <a:pt x="34" y="16"/>
                        </a:lnTo>
                        <a:lnTo>
                          <a:pt x="34" y="16"/>
                        </a:lnTo>
                        <a:lnTo>
                          <a:pt x="30" y="30"/>
                        </a:lnTo>
                        <a:lnTo>
                          <a:pt x="30" y="30"/>
                        </a:lnTo>
                        <a:lnTo>
                          <a:pt x="22" y="44"/>
                        </a:lnTo>
                        <a:lnTo>
                          <a:pt x="22" y="44"/>
                        </a:lnTo>
                        <a:lnTo>
                          <a:pt x="2" y="86"/>
                        </a:lnTo>
                        <a:lnTo>
                          <a:pt x="0" y="86"/>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4" name="Freeform 303"/>
                  <p:cNvSpPr/>
                  <p:nvPr/>
                </p:nvSpPr>
                <p:spPr bwMode="auto">
                  <a:xfrm>
                    <a:off x="5274207" y="3645577"/>
                    <a:ext cx="196695" cy="69259"/>
                  </a:xfrm>
                  <a:custGeom>
                    <a:avLst/>
                    <a:gdLst>
                      <a:gd name="T0" fmla="*/ 142 w 142"/>
                      <a:gd name="T1" fmla="*/ 2 h 50"/>
                      <a:gd name="T2" fmla="*/ 142 w 142"/>
                      <a:gd name="T3" fmla="*/ 2 h 50"/>
                      <a:gd name="T4" fmla="*/ 120 w 142"/>
                      <a:gd name="T5" fmla="*/ 12 h 50"/>
                      <a:gd name="T6" fmla="*/ 120 w 142"/>
                      <a:gd name="T7" fmla="*/ 12 h 50"/>
                      <a:gd name="T8" fmla="*/ 72 w 142"/>
                      <a:gd name="T9" fmla="*/ 30 h 50"/>
                      <a:gd name="T10" fmla="*/ 72 w 142"/>
                      <a:gd name="T11" fmla="*/ 30 h 50"/>
                      <a:gd name="T12" fmla="*/ 48 w 142"/>
                      <a:gd name="T13" fmla="*/ 42 h 50"/>
                      <a:gd name="T14" fmla="*/ 48 w 142"/>
                      <a:gd name="T15" fmla="*/ 42 h 50"/>
                      <a:gd name="T16" fmla="*/ 24 w 142"/>
                      <a:gd name="T17" fmla="*/ 48 h 50"/>
                      <a:gd name="T18" fmla="*/ 24 w 142"/>
                      <a:gd name="T19" fmla="*/ 48 h 50"/>
                      <a:gd name="T20" fmla="*/ 6 w 142"/>
                      <a:gd name="T21" fmla="*/ 50 h 50"/>
                      <a:gd name="T22" fmla="*/ 0 w 142"/>
                      <a:gd name="T23" fmla="*/ 50 h 50"/>
                      <a:gd name="T24" fmla="*/ 0 w 142"/>
                      <a:gd name="T25" fmla="*/ 48 h 50"/>
                      <a:gd name="T26" fmla="*/ 0 w 142"/>
                      <a:gd name="T27" fmla="*/ 48 h 50"/>
                      <a:gd name="T28" fmla="*/ 6 w 142"/>
                      <a:gd name="T29" fmla="*/ 44 h 50"/>
                      <a:gd name="T30" fmla="*/ 20 w 142"/>
                      <a:gd name="T31" fmla="*/ 36 h 50"/>
                      <a:gd name="T32" fmla="*/ 20 w 142"/>
                      <a:gd name="T33" fmla="*/ 36 h 50"/>
                      <a:gd name="T34" fmla="*/ 42 w 142"/>
                      <a:gd name="T35" fmla="*/ 28 h 50"/>
                      <a:gd name="T36" fmla="*/ 42 w 142"/>
                      <a:gd name="T37" fmla="*/ 28 h 50"/>
                      <a:gd name="T38" fmla="*/ 70 w 142"/>
                      <a:gd name="T39" fmla="*/ 20 h 50"/>
                      <a:gd name="T40" fmla="*/ 70 w 142"/>
                      <a:gd name="T41" fmla="*/ 20 h 50"/>
                      <a:gd name="T42" fmla="*/ 120 w 142"/>
                      <a:gd name="T43" fmla="*/ 6 h 50"/>
                      <a:gd name="T44" fmla="*/ 120 w 142"/>
                      <a:gd name="T45" fmla="*/ 6 h 50"/>
                      <a:gd name="T46" fmla="*/ 142 w 142"/>
                      <a:gd name="T47" fmla="*/ 0 h 50"/>
                      <a:gd name="T48" fmla="*/ 142 w 142"/>
                      <a:gd name="T49"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2" h="50">
                        <a:moveTo>
                          <a:pt x="142" y="2"/>
                        </a:moveTo>
                        <a:lnTo>
                          <a:pt x="142" y="2"/>
                        </a:lnTo>
                        <a:lnTo>
                          <a:pt x="120" y="12"/>
                        </a:lnTo>
                        <a:lnTo>
                          <a:pt x="120" y="12"/>
                        </a:lnTo>
                        <a:lnTo>
                          <a:pt x="72" y="30"/>
                        </a:lnTo>
                        <a:lnTo>
                          <a:pt x="72" y="30"/>
                        </a:lnTo>
                        <a:lnTo>
                          <a:pt x="48" y="42"/>
                        </a:lnTo>
                        <a:lnTo>
                          <a:pt x="48" y="42"/>
                        </a:lnTo>
                        <a:lnTo>
                          <a:pt x="24" y="48"/>
                        </a:lnTo>
                        <a:lnTo>
                          <a:pt x="24" y="48"/>
                        </a:lnTo>
                        <a:lnTo>
                          <a:pt x="6" y="50"/>
                        </a:lnTo>
                        <a:lnTo>
                          <a:pt x="0" y="50"/>
                        </a:lnTo>
                        <a:lnTo>
                          <a:pt x="0" y="48"/>
                        </a:lnTo>
                        <a:lnTo>
                          <a:pt x="0" y="48"/>
                        </a:lnTo>
                        <a:lnTo>
                          <a:pt x="6" y="44"/>
                        </a:lnTo>
                        <a:lnTo>
                          <a:pt x="20" y="36"/>
                        </a:lnTo>
                        <a:lnTo>
                          <a:pt x="20" y="36"/>
                        </a:lnTo>
                        <a:lnTo>
                          <a:pt x="42" y="28"/>
                        </a:lnTo>
                        <a:lnTo>
                          <a:pt x="42" y="28"/>
                        </a:lnTo>
                        <a:lnTo>
                          <a:pt x="70" y="20"/>
                        </a:lnTo>
                        <a:lnTo>
                          <a:pt x="70" y="20"/>
                        </a:lnTo>
                        <a:lnTo>
                          <a:pt x="120" y="6"/>
                        </a:lnTo>
                        <a:lnTo>
                          <a:pt x="120" y="6"/>
                        </a:lnTo>
                        <a:lnTo>
                          <a:pt x="142" y="0"/>
                        </a:lnTo>
                        <a:lnTo>
                          <a:pt x="142" y="2"/>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5" name="Freeform 304"/>
                  <p:cNvSpPr/>
                  <p:nvPr/>
                </p:nvSpPr>
                <p:spPr bwMode="auto">
                  <a:xfrm>
                    <a:off x="5335154" y="3224483"/>
                    <a:ext cx="160680" cy="88651"/>
                  </a:xfrm>
                  <a:custGeom>
                    <a:avLst/>
                    <a:gdLst>
                      <a:gd name="T0" fmla="*/ 114 w 116"/>
                      <a:gd name="T1" fmla="*/ 64 h 64"/>
                      <a:gd name="T2" fmla="*/ 114 w 116"/>
                      <a:gd name="T3" fmla="*/ 64 h 64"/>
                      <a:gd name="T4" fmla="*/ 96 w 116"/>
                      <a:gd name="T5" fmla="*/ 56 h 64"/>
                      <a:gd name="T6" fmla="*/ 96 w 116"/>
                      <a:gd name="T7" fmla="*/ 56 h 64"/>
                      <a:gd name="T8" fmla="*/ 54 w 116"/>
                      <a:gd name="T9" fmla="*/ 38 h 64"/>
                      <a:gd name="T10" fmla="*/ 54 w 116"/>
                      <a:gd name="T11" fmla="*/ 38 h 64"/>
                      <a:gd name="T12" fmla="*/ 32 w 116"/>
                      <a:gd name="T13" fmla="*/ 28 h 64"/>
                      <a:gd name="T14" fmla="*/ 32 w 116"/>
                      <a:gd name="T15" fmla="*/ 28 h 64"/>
                      <a:gd name="T16" fmla="*/ 14 w 116"/>
                      <a:gd name="T17" fmla="*/ 16 h 64"/>
                      <a:gd name="T18" fmla="*/ 14 w 116"/>
                      <a:gd name="T19" fmla="*/ 16 h 64"/>
                      <a:gd name="T20" fmla="*/ 4 w 116"/>
                      <a:gd name="T21" fmla="*/ 6 h 64"/>
                      <a:gd name="T22" fmla="*/ 0 w 116"/>
                      <a:gd name="T23" fmla="*/ 2 h 64"/>
                      <a:gd name="T24" fmla="*/ 0 w 116"/>
                      <a:gd name="T25" fmla="*/ 0 h 64"/>
                      <a:gd name="T26" fmla="*/ 0 w 116"/>
                      <a:gd name="T27" fmla="*/ 0 h 64"/>
                      <a:gd name="T28" fmla="*/ 6 w 116"/>
                      <a:gd name="T29" fmla="*/ 0 h 64"/>
                      <a:gd name="T30" fmla="*/ 20 w 116"/>
                      <a:gd name="T31" fmla="*/ 6 h 64"/>
                      <a:gd name="T32" fmla="*/ 20 w 116"/>
                      <a:gd name="T33" fmla="*/ 6 h 64"/>
                      <a:gd name="T34" fmla="*/ 40 w 116"/>
                      <a:gd name="T35" fmla="*/ 14 h 64"/>
                      <a:gd name="T36" fmla="*/ 40 w 116"/>
                      <a:gd name="T37" fmla="*/ 14 h 64"/>
                      <a:gd name="T38" fmla="*/ 60 w 116"/>
                      <a:gd name="T39" fmla="*/ 28 h 64"/>
                      <a:gd name="T40" fmla="*/ 60 w 116"/>
                      <a:gd name="T41" fmla="*/ 28 h 64"/>
                      <a:gd name="T42" fmla="*/ 98 w 116"/>
                      <a:gd name="T43" fmla="*/ 52 h 64"/>
                      <a:gd name="T44" fmla="*/ 98 w 116"/>
                      <a:gd name="T45" fmla="*/ 52 h 64"/>
                      <a:gd name="T46" fmla="*/ 116 w 116"/>
                      <a:gd name="T47" fmla="*/ 64 h 64"/>
                      <a:gd name="T48" fmla="*/ 114 w 116"/>
                      <a:gd name="T4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64">
                        <a:moveTo>
                          <a:pt x="114" y="64"/>
                        </a:moveTo>
                        <a:lnTo>
                          <a:pt x="114" y="64"/>
                        </a:lnTo>
                        <a:lnTo>
                          <a:pt x="96" y="56"/>
                        </a:lnTo>
                        <a:lnTo>
                          <a:pt x="96" y="56"/>
                        </a:lnTo>
                        <a:lnTo>
                          <a:pt x="54" y="38"/>
                        </a:lnTo>
                        <a:lnTo>
                          <a:pt x="54" y="38"/>
                        </a:lnTo>
                        <a:lnTo>
                          <a:pt x="32" y="28"/>
                        </a:lnTo>
                        <a:lnTo>
                          <a:pt x="32" y="28"/>
                        </a:lnTo>
                        <a:lnTo>
                          <a:pt x="14" y="16"/>
                        </a:lnTo>
                        <a:lnTo>
                          <a:pt x="14" y="16"/>
                        </a:lnTo>
                        <a:lnTo>
                          <a:pt x="4" y="6"/>
                        </a:lnTo>
                        <a:lnTo>
                          <a:pt x="0" y="2"/>
                        </a:lnTo>
                        <a:lnTo>
                          <a:pt x="0" y="0"/>
                        </a:lnTo>
                        <a:lnTo>
                          <a:pt x="0" y="0"/>
                        </a:lnTo>
                        <a:lnTo>
                          <a:pt x="6" y="0"/>
                        </a:lnTo>
                        <a:lnTo>
                          <a:pt x="20" y="6"/>
                        </a:lnTo>
                        <a:lnTo>
                          <a:pt x="20" y="6"/>
                        </a:lnTo>
                        <a:lnTo>
                          <a:pt x="40" y="14"/>
                        </a:lnTo>
                        <a:lnTo>
                          <a:pt x="40" y="14"/>
                        </a:lnTo>
                        <a:lnTo>
                          <a:pt x="60" y="28"/>
                        </a:lnTo>
                        <a:lnTo>
                          <a:pt x="60" y="28"/>
                        </a:lnTo>
                        <a:lnTo>
                          <a:pt x="98" y="52"/>
                        </a:lnTo>
                        <a:lnTo>
                          <a:pt x="98" y="52"/>
                        </a:lnTo>
                        <a:lnTo>
                          <a:pt x="116" y="64"/>
                        </a:lnTo>
                        <a:lnTo>
                          <a:pt x="114" y="64"/>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6" name="Freeform 305"/>
                  <p:cNvSpPr/>
                  <p:nvPr/>
                </p:nvSpPr>
                <p:spPr bwMode="auto">
                  <a:xfrm>
                    <a:off x="5606649" y="3872746"/>
                    <a:ext cx="77570" cy="166221"/>
                  </a:xfrm>
                  <a:custGeom>
                    <a:avLst/>
                    <a:gdLst>
                      <a:gd name="T0" fmla="*/ 56 w 56"/>
                      <a:gd name="T1" fmla="*/ 0 h 120"/>
                      <a:gd name="T2" fmla="*/ 56 w 56"/>
                      <a:gd name="T3" fmla="*/ 0 h 120"/>
                      <a:gd name="T4" fmla="*/ 48 w 56"/>
                      <a:gd name="T5" fmla="*/ 20 h 120"/>
                      <a:gd name="T6" fmla="*/ 48 w 56"/>
                      <a:gd name="T7" fmla="*/ 20 h 120"/>
                      <a:gd name="T8" fmla="*/ 32 w 56"/>
                      <a:gd name="T9" fmla="*/ 62 h 120"/>
                      <a:gd name="T10" fmla="*/ 32 w 56"/>
                      <a:gd name="T11" fmla="*/ 62 h 120"/>
                      <a:gd name="T12" fmla="*/ 24 w 56"/>
                      <a:gd name="T13" fmla="*/ 84 h 120"/>
                      <a:gd name="T14" fmla="*/ 24 w 56"/>
                      <a:gd name="T15" fmla="*/ 84 h 120"/>
                      <a:gd name="T16" fmla="*/ 14 w 56"/>
                      <a:gd name="T17" fmla="*/ 104 h 120"/>
                      <a:gd name="T18" fmla="*/ 14 w 56"/>
                      <a:gd name="T19" fmla="*/ 104 h 120"/>
                      <a:gd name="T20" fmla="*/ 6 w 56"/>
                      <a:gd name="T21" fmla="*/ 116 h 120"/>
                      <a:gd name="T22" fmla="*/ 2 w 56"/>
                      <a:gd name="T23" fmla="*/ 120 h 120"/>
                      <a:gd name="T24" fmla="*/ 0 w 56"/>
                      <a:gd name="T25" fmla="*/ 120 h 120"/>
                      <a:gd name="T26" fmla="*/ 0 w 56"/>
                      <a:gd name="T27" fmla="*/ 120 h 120"/>
                      <a:gd name="T28" fmla="*/ 0 w 56"/>
                      <a:gd name="T29" fmla="*/ 114 h 120"/>
                      <a:gd name="T30" fmla="*/ 4 w 56"/>
                      <a:gd name="T31" fmla="*/ 98 h 120"/>
                      <a:gd name="T32" fmla="*/ 4 w 56"/>
                      <a:gd name="T33" fmla="*/ 98 h 120"/>
                      <a:gd name="T34" fmla="*/ 10 w 56"/>
                      <a:gd name="T35" fmla="*/ 78 h 120"/>
                      <a:gd name="T36" fmla="*/ 10 w 56"/>
                      <a:gd name="T37" fmla="*/ 78 h 120"/>
                      <a:gd name="T38" fmla="*/ 22 w 56"/>
                      <a:gd name="T39" fmla="*/ 58 h 120"/>
                      <a:gd name="T40" fmla="*/ 22 w 56"/>
                      <a:gd name="T41" fmla="*/ 58 h 120"/>
                      <a:gd name="T42" fmla="*/ 44 w 56"/>
                      <a:gd name="T43" fmla="*/ 18 h 120"/>
                      <a:gd name="T44" fmla="*/ 44 w 56"/>
                      <a:gd name="T45" fmla="*/ 18 h 120"/>
                      <a:gd name="T46" fmla="*/ 54 w 56"/>
                      <a:gd name="T47" fmla="*/ 0 h 120"/>
                      <a:gd name="T48" fmla="*/ 56 w 56"/>
                      <a:gd name="T4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0">
                        <a:moveTo>
                          <a:pt x="56" y="0"/>
                        </a:moveTo>
                        <a:lnTo>
                          <a:pt x="56" y="0"/>
                        </a:lnTo>
                        <a:lnTo>
                          <a:pt x="48" y="20"/>
                        </a:lnTo>
                        <a:lnTo>
                          <a:pt x="48" y="20"/>
                        </a:lnTo>
                        <a:lnTo>
                          <a:pt x="32" y="62"/>
                        </a:lnTo>
                        <a:lnTo>
                          <a:pt x="32" y="62"/>
                        </a:lnTo>
                        <a:lnTo>
                          <a:pt x="24" y="84"/>
                        </a:lnTo>
                        <a:lnTo>
                          <a:pt x="24" y="84"/>
                        </a:lnTo>
                        <a:lnTo>
                          <a:pt x="14" y="104"/>
                        </a:lnTo>
                        <a:lnTo>
                          <a:pt x="14" y="104"/>
                        </a:lnTo>
                        <a:lnTo>
                          <a:pt x="6" y="116"/>
                        </a:lnTo>
                        <a:lnTo>
                          <a:pt x="2" y="120"/>
                        </a:lnTo>
                        <a:lnTo>
                          <a:pt x="0" y="120"/>
                        </a:lnTo>
                        <a:lnTo>
                          <a:pt x="0" y="120"/>
                        </a:lnTo>
                        <a:lnTo>
                          <a:pt x="0" y="114"/>
                        </a:lnTo>
                        <a:lnTo>
                          <a:pt x="4" y="98"/>
                        </a:lnTo>
                        <a:lnTo>
                          <a:pt x="4" y="98"/>
                        </a:lnTo>
                        <a:lnTo>
                          <a:pt x="10" y="78"/>
                        </a:lnTo>
                        <a:lnTo>
                          <a:pt x="10" y="78"/>
                        </a:lnTo>
                        <a:lnTo>
                          <a:pt x="22" y="58"/>
                        </a:lnTo>
                        <a:lnTo>
                          <a:pt x="22" y="58"/>
                        </a:lnTo>
                        <a:lnTo>
                          <a:pt x="44" y="18"/>
                        </a:lnTo>
                        <a:lnTo>
                          <a:pt x="44" y="18"/>
                        </a:lnTo>
                        <a:lnTo>
                          <a:pt x="54" y="0"/>
                        </a:lnTo>
                        <a:lnTo>
                          <a:pt x="56"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7" name="Freeform 306"/>
                  <p:cNvSpPr/>
                  <p:nvPr/>
                </p:nvSpPr>
                <p:spPr bwMode="auto">
                  <a:xfrm>
                    <a:off x="5440428" y="3806258"/>
                    <a:ext cx="96962" cy="85881"/>
                  </a:xfrm>
                  <a:custGeom>
                    <a:avLst/>
                    <a:gdLst>
                      <a:gd name="T0" fmla="*/ 70 w 70"/>
                      <a:gd name="T1" fmla="*/ 2 h 62"/>
                      <a:gd name="T2" fmla="*/ 70 w 70"/>
                      <a:gd name="T3" fmla="*/ 2 h 62"/>
                      <a:gd name="T4" fmla="*/ 38 w 70"/>
                      <a:gd name="T5" fmla="*/ 36 h 62"/>
                      <a:gd name="T6" fmla="*/ 38 w 70"/>
                      <a:gd name="T7" fmla="*/ 36 h 62"/>
                      <a:gd name="T8" fmla="*/ 26 w 70"/>
                      <a:gd name="T9" fmla="*/ 48 h 62"/>
                      <a:gd name="T10" fmla="*/ 26 w 70"/>
                      <a:gd name="T11" fmla="*/ 48 h 62"/>
                      <a:gd name="T12" fmla="*/ 14 w 70"/>
                      <a:gd name="T13" fmla="*/ 56 h 62"/>
                      <a:gd name="T14" fmla="*/ 14 w 70"/>
                      <a:gd name="T15" fmla="*/ 56 h 62"/>
                      <a:gd name="T16" fmla="*/ 4 w 70"/>
                      <a:gd name="T17" fmla="*/ 60 h 62"/>
                      <a:gd name="T18" fmla="*/ 0 w 70"/>
                      <a:gd name="T19" fmla="*/ 62 h 62"/>
                      <a:gd name="T20" fmla="*/ 0 w 70"/>
                      <a:gd name="T21" fmla="*/ 60 h 62"/>
                      <a:gd name="T22" fmla="*/ 0 w 70"/>
                      <a:gd name="T23" fmla="*/ 60 h 62"/>
                      <a:gd name="T24" fmla="*/ 0 w 70"/>
                      <a:gd name="T25" fmla="*/ 56 h 62"/>
                      <a:gd name="T26" fmla="*/ 6 w 70"/>
                      <a:gd name="T27" fmla="*/ 46 h 62"/>
                      <a:gd name="T28" fmla="*/ 6 w 70"/>
                      <a:gd name="T29" fmla="*/ 46 h 62"/>
                      <a:gd name="T30" fmla="*/ 16 w 70"/>
                      <a:gd name="T31" fmla="*/ 36 h 62"/>
                      <a:gd name="T32" fmla="*/ 16 w 70"/>
                      <a:gd name="T33" fmla="*/ 36 h 62"/>
                      <a:gd name="T34" fmla="*/ 30 w 70"/>
                      <a:gd name="T35" fmla="*/ 26 h 62"/>
                      <a:gd name="T36" fmla="*/ 30 w 70"/>
                      <a:gd name="T37" fmla="*/ 26 h 62"/>
                      <a:gd name="T38" fmla="*/ 70 w 70"/>
                      <a:gd name="T39" fmla="*/ 0 h 62"/>
                      <a:gd name="T40" fmla="*/ 70 w 70"/>
                      <a:gd name="T41"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 h="62">
                        <a:moveTo>
                          <a:pt x="70" y="2"/>
                        </a:moveTo>
                        <a:lnTo>
                          <a:pt x="70" y="2"/>
                        </a:lnTo>
                        <a:lnTo>
                          <a:pt x="38" y="36"/>
                        </a:lnTo>
                        <a:lnTo>
                          <a:pt x="38" y="36"/>
                        </a:lnTo>
                        <a:lnTo>
                          <a:pt x="26" y="48"/>
                        </a:lnTo>
                        <a:lnTo>
                          <a:pt x="26" y="48"/>
                        </a:lnTo>
                        <a:lnTo>
                          <a:pt x="14" y="56"/>
                        </a:lnTo>
                        <a:lnTo>
                          <a:pt x="14" y="56"/>
                        </a:lnTo>
                        <a:lnTo>
                          <a:pt x="4" y="60"/>
                        </a:lnTo>
                        <a:lnTo>
                          <a:pt x="0" y="62"/>
                        </a:lnTo>
                        <a:lnTo>
                          <a:pt x="0" y="60"/>
                        </a:lnTo>
                        <a:lnTo>
                          <a:pt x="0" y="60"/>
                        </a:lnTo>
                        <a:lnTo>
                          <a:pt x="0" y="56"/>
                        </a:lnTo>
                        <a:lnTo>
                          <a:pt x="6" y="46"/>
                        </a:lnTo>
                        <a:lnTo>
                          <a:pt x="6" y="46"/>
                        </a:lnTo>
                        <a:lnTo>
                          <a:pt x="16" y="36"/>
                        </a:lnTo>
                        <a:lnTo>
                          <a:pt x="16" y="36"/>
                        </a:lnTo>
                        <a:lnTo>
                          <a:pt x="30" y="26"/>
                        </a:lnTo>
                        <a:lnTo>
                          <a:pt x="30" y="26"/>
                        </a:lnTo>
                        <a:lnTo>
                          <a:pt x="70" y="0"/>
                        </a:lnTo>
                        <a:lnTo>
                          <a:pt x="70" y="2"/>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8" name="Freeform 307"/>
                  <p:cNvSpPr/>
                  <p:nvPr/>
                </p:nvSpPr>
                <p:spPr bwMode="auto">
                  <a:xfrm>
                    <a:off x="5293599" y="3448882"/>
                    <a:ext cx="127436" cy="19392"/>
                  </a:xfrm>
                  <a:custGeom>
                    <a:avLst/>
                    <a:gdLst>
                      <a:gd name="T0" fmla="*/ 92 w 92"/>
                      <a:gd name="T1" fmla="*/ 12 h 14"/>
                      <a:gd name="T2" fmla="*/ 92 w 92"/>
                      <a:gd name="T3" fmla="*/ 12 h 14"/>
                      <a:gd name="T4" fmla="*/ 46 w 92"/>
                      <a:gd name="T5" fmla="*/ 14 h 14"/>
                      <a:gd name="T6" fmla="*/ 46 w 92"/>
                      <a:gd name="T7" fmla="*/ 14 h 14"/>
                      <a:gd name="T8" fmla="*/ 28 w 92"/>
                      <a:gd name="T9" fmla="*/ 14 h 14"/>
                      <a:gd name="T10" fmla="*/ 28 w 92"/>
                      <a:gd name="T11" fmla="*/ 14 h 14"/>
                      <a:gd name="T12" fmla="*/ 14 w 92"/>
                      <a:gd name="T13" fmla="*/ 12 h 14"/>
                      <a:gd name="T14" fmla="*/ 14 w 92"/>
                      <a:gd name="T15" fmla="*/ 12 h 14"/>
                      <a:gd name="T16" fmla="*/ 4 w 92"/>
                      <a:gd name="T17" fmla="*/ 8 h 14"/>
                      <a:gd name="T18" fmla="*/ 0 w 92"/>
                      <a:gd name="T19" fmla="*/ 6 h 14"/>
                      <a:gd name="T20" fmla="*/ 0 w 92"/>
                      <a:gd name="T21" fmla="*/ 4 h 14"/>
                      <a:gd name="T22" fmla="*/ 0 w 92"/>
                      <a:gd name="T23" fmla="*/ 4 h 14"/>
                      <a:gd name="T24" fmla="*/ 4 w 92"/>
                      <a:gd name="T25" fmla="*/ 2 h 14"/>
                      <a:gd name="T26" fmla="*/ 16 w 92"/>
                      <a:gd name="T27" fmla="*/ 0 h 14"/>
                      <a:gd name="T28" fmla="*/ 16 w 92"/>
                      <a:gd name="T29" fmla="*/ 0 h 14"/>
                      <a:gd name="T30" fmla="*/ 30 w 92"/>
                      <a:gd name="T31" fmla="*/ 0 h 14"/>
                      <a:gd name="T32" fmla="*/ 30 w 92"/>
                      <a:gd name="T33" fmla="*/ 0 h 14"/>
                      <a:gd name="T34" fmla="*/ 46 w 92"/>
                      <a:gd name="T35" fmla="*/ 2 h 14"/>
                      <a:gd name="T36" fmla="*/ 46 w 92"/>
                      <a:gd name="T37" fmla="*/ 2 h 14"/>
                      <a:gd name="T38" fmla="*/ 92 w 92"/>
                      <a:gd name="T39" fmla="*/ 10 h 14"/>
                      <a:gd name="T40" fmla="*/ 92 w 92"/>
                      <a:gd name="T4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14">
                        <a:moveTo>
                          <a:pt x="92" y="12"/>
                        </a:moveTo>
                        <a:lnTo>
                          <a:pt x="92" y="12"/>
                        </a:lnTo>
                        <a:lnTo>
                          <a:pt x="46" y="14"/>
                        </a:lnTo>
                        <a:lnTo>
                          <a:pt x="46" y="14"/>
                        </a:lnTo>
                        <a:lnTo>
                          <a:pt x="28" y="14"/>
                        </a:lnTo>
                        <a:lnTo>
                          <a:pt x="28" y="14"/>
                        </a:lnTo>
                        <a:lnTo>
                          <a:pt x="14" y="12"/>
                        </a:lnTo>
                        <a:lnTo>
                          <a:pt x="14" y="12"/>
                        </a:lnTo>
                        <a:lnTo>
                          <a:pt x="4" y="8"/>
                        </a:lnTo>
                        <a:lnTo>
                          <a:pt x="0" y="6"/>
                        </a:lnTo>
                        <a:lnTo>
                          <a:pt x="0" y="4"/>
                        </a:lnTo>
                        <a:lnTo>
                          <a:pt x="0" y="4"/>
                        </a:lnTo>
                        <a:lnTo>
                          <a:pt x="4" y="2"/>
                        </a:lnTo>
                        <a:lnTo>
                          <a:pt x="16" y="0"/>
                        </a:lnTo>
                        <a:lnTo>
                          <a:pt x="16" y="0"/>
                        </a:lnTo>
                        <a:lnTo>
                          <a:pt x="30" y="0"/>
                        </a:lnTo>
                        <a:lnTo>
                          <a:pt x="30" y="0"/>
                        </a:lnTo>
                        <a:lnTo>
                          <a:pt x="46" y="2"/>
                        </a:lnTo>
                        <a:lnTo>
                          <a:pt x="46" y="2"/>
                        </a:lnTo>
                        <a:lnTo>
                          <a:pt x="92" y="10"/>
                        </a:lnTo>
                        <a:lnTo>
                          <a:pt x="92" y="12"/>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49" name="Freeform 308"/>
                  <p:cNvSpPr/>
                  <p:nvPr/>
                </p:nvSpPr>
                <p:spPr bwMode="auto">
                  <a:xfrm>
                    <a:off x="7007063" y="3637266"/>
                    <a:ext cx="171762" cy="38785"/>
                  </a:xfrm>
                  <a:custGeom>
                    <a:avLst/>
                    <a:gdLst>
                      <a:gd name="T0" fmla="*/ 0 w 124"/>
                      <a:gd name="T1" fmla="*/ 0 h 28"/>
                      <a:gd name="T2" fmla="*/ 0 w 124"/>
                      <a:gd name="T3" fmla="*/ 0 h 28"/>
                      <a:gd name="T4" fmla="*/ 20 w 124"/>
                      <a:gd name="T5" fmla="*/ 2 h 28"/>
                      <a:gd name="T6" fmla="*/ 20 w 124"/>
                      <a:gd name="T7" fmla="*/ 2 h 28"/>
                      <a:gd name="T8" fmla="*/ 64 w 124"/>
                      <a:gd name="T9" fmla="*/ 10 h 28"/>
                      <a:gd name="T10" fmla="*/ 64 w 124"/>
                      <a:gd name="T11" fmla="*/ 10 h 28"/>
                      <a:gd name="T12" fmla="*/ 86 w 124"/>
                      <a:gd name="T13" fmla="*/ 12 h 28"/>
                      <a:gd name="T14" fmla="*/ 86 w 124"/>
                      <a:gd name="T15" fmla="*/ 12 h 28"/>
                      <a:gd name="T16" fmla="*/ 106 w 124"/>
                      <a:gd name="T17" fmla="*/ 18 h 28"/>
                      <a:gd name="T18" fmla="*/ 106 w 124"/>
                      <a:gd name="T19" fmla="*/ 18 h 28"/>
                      <a:gd name="T20" fmla="*/ 118 w 124"/>
                      <a:gd name="T21" fmla="*/ 24 h 28"/>
                      <a:gd name="T22" fmla="*/ 124 w 124"/>
                      <a:gd name="T23" fmla="*/ 26 h 28"/>
                      <a:gd name="T24" fmla="*/ 124 w 124"/>
                      <a:gd name="T25" fmla="*/ 28 h 28"/>
                      <a:gd name="T26" fmla="*/ 124 w 124"/>
                      <a:gd name="T27" fmla="*/ 28 h 28"/>
                      <a:gd name="T28" fmla="*/ 118 w 124"/>
                      <a:gd name="T29" fmla="*/ 28 h 28"/>
                      <a:gd name="T30" fmla="*/ 104 w 124"/>
                      <a:gd name="T31" fmla="*/ 28 h 28"/>
                      <a:gd name="T32" fmla="*/ 104 w 124"/>
                      <a:gd name="T33" fmla="*/ 28 h 28"/>
                      <a:gd name="T34" fmla="*/ 84 w 124"/>
                      <a:gd name="T35" fmla="*/ 24 h 28"/>
                      <a:gd name="T36" fmla="*/ 84 w 124"/>
                      <a:gd name="T37" fmla="*/ 24 h 28"/>
                      <a:gd name="T38" fmla="*/ 62 w 124"/>
                      <a:gd name="T39" fmla="*/ 18 h 28"/>
                      <a:gd name="T40" fmla="*/ 62 w 124"/>
                      <a:gd name="T41" fmla="*/ 18 h 28"/>
                      <a:gd name="T42" fmla="*/ 20 w 124"/>
                      <a:gd name="T43" fmla="*/ 6 h 28"/>
                      <a:gd name="T44" fmla="*/ 20 w 124"/>
                      <a:gd name="T45" fmla="*/ 6 h 28"/>
                      <a:gd name="T46" fmla="*/ 0 w 124"/>
                      <a:gd name="T47" fmla="*/ 2 h 28"/>
                      <a:gd name="T48" fmla="*/ 0 w 124"/>
                      <a:gd name="T4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8">
                        <a:moveTo>
                          <a:pt x="0" y="0"/>
                        </a:moveTo>
                        <a:lnTo>
                          <a:pt x="0" y="0"/>
                        </a:lnTo>
                        <a:lnTo>
                          <a:pt x="20" y="2"/>
                        </a:lnTo>
                        <a:lnTo>
                          <a:pt x="20" y="2"/>
                        </a:lnTo>
                        <a:lnTo>
                          <a:pt x="64" y="10"/>
                        </a:lnTo>
                        <a:lnTo>
                          <a:pt x="64" y="10"/>
                        </a:lnTo>
                        <a:lnTo>
                          <a:pt x="86" y="12"/>
                        </a:lnTo>
                        <a:lnTo>
                          <a:pt x="86" y="12"/>
                        </a:lnTo>
                        <a:lnTo>
                          <a:pt x="106" y="18"/>
                        </a:lnTo>
                        <a:lnTo>
                          <a:pt x="106" y="18"/>
                        </a:lnTo>
                        <a:lnTo>
                          <a:pt x="118" y="24"/>
                        </a:lnTo>
                        <a:lnTo>
                          <a:pt x="124" y="26"/>
                        </a:lnTo>
                        <a:lnTo>
                          <a:pt x="124" y="28"/>
                        </a:lnTo>
                        <a:lnTo>
                          <a:pt x="124" y="28"/>
                        </a:lnTo>
                        <a:lnTo>
                          <a:pt x="118" y="28"/>
                        </a:lnTo>
                        <a:lnTo>
                          <a:pt x="104" y="28"/>
                        </a:lnTo>
                        <a:lnTo>
                          <a:pt x="104" y="28"/>
                        </a:lnTo>
                        <a:lnTo>
                          <a:pt x="84" y="24"/>
                        </a:lnTo>
                        <a:lnTo>
                          <a:pt x="84" y="24"/>
                        </a:lnTo>
                        <a:lnTo>
                          <a:pt x="62" y="18"/>
                        </a:lnTo>
                        <a:lnTo>
                          <a:pt x="62" y="18"/>
                        </a:lnTo>
                        <a:lnTo>
                          <a:pt x="20" y="6"/>
                        </a:lnTo>
                        <a:lnTo>
                          <a:pt x="20" y="6"/>
                        </a:lnTo>
                        <a:lnTo>
                          <a:pt x="0" y="2"/>
                        </a:lnTo>
                        <a:lnTo>
                          <a:pt x="0"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0" name="Freeform 309"/>
                  <p:cNvSpPr/>
                  <p:nvPr/>
                </p:nvSpPr>
                <p:spPr bwMode="auto">
                  <a:xfrm>
                    <a:off x="6846383" y="3869976"/>
                    <a:ext cx="77570" cy="132977"/>
                  </a:xfrm>
                  <a:custGeom>
                    <a:avLst/>
                    <a:gdLst>
                      <a:gd name="T0" fmla="*/ 0 w 56"/>
                      <a:gd name="T1" fmla="*/ 0 h 96"/>
                      <a:gd name="T2" fmla="*/ 0 w 56"/>
                      <a:gd name="T3" fmla="*/ 0 h 96"/>
                      <a:gd name="T4" fmla="*/ 10 w 56"/>
                      <a:gd name="T5" fmla="*/ 14 h 96"/>
                      <a:gd name="T6" fmla="*/ 10 w 56"/>
                      <a:gd name="T7" fmla="*/ 14 h 96"/>
                      <a:gd name="T8" fmla="*/ 32 w 56"/>
                      <a:gd name="T9" fmla="*/ 46 h 96"/>
                      <a:gd name="T10" fmla="*/ 32 w 56"/>
                      <a:gd name="T11" fmla="*/ 46 h 96"/>
                      <a:gd name="T12" fmla="*/ 44 w 56"/>
                      <a:gd name="T13" fmla="*/ 62 h 96"/>
                      <a:gd name="T14" fmla="*/ 44 w 56"/>
                      <a:gd name="T15" fmla="*/ 62 h 96"/>
                      <a:gd name="T16" fmla="*/ 52 w 56"/>
                      <a:gd name="T17" fmla="*/ 78 h 96"/>
                      <a:gd name="T18" fmla="*/ 52 w 56"/>
                      <a:gd name="T19" fmla="*/ 78 h 96"/>
                      <a:gd name="T20" fmla="*/ 56 w 56"/>
                      <a:gd name="T21" fmla="*/ 90 h 96"/>
                      <a:gd name="T22" fmla="*/ 56 w 56"/>
                      <a:gd name="T23" fmla="*/ 94 h 96"/>
                      <a:gd name="T24" fmla="*/ 56 w 56"/>
                      <a:gd name="T25" fmla="*/ 96 h 96"/>
                      <a:gd name="T26" fmla="*/ 56 w 56"/>
                      <a:gd name="T27" fmla="*/ 96 h 96"/>
                      <a:gd name="T28" fmla="*/ 52 w 56"/>
                      <a:gd name="T29" fmla="*/ 92 h 96"/>
                      <a:gd name="T30" fmla="*/ 44 w 56"/>
                      <a:gd name="T31" fmla="*/ 82 h 96"/>
                      <a:gd name="T32" fmla="*/ 44 w 56"/>
                      <a:gd name="T33" fmla="*/ 82 h 96"/>
                      <a:gd name="T34" fmla="*/ 34 w 56"/>
                      <a:gd name="T35" fmla="*/ 68 h 96"/>
                      <a:gd name="T36" fmla="*/ 34 w 56"/>
                      <a:gd name="T37" fmla="*/ 68 h 96"/>
                      <a:gd name="T38" fmla="*/ 24 w 56"/>
                      <a:gd name="T39" fmla="*/ 50 h 96"/>
                      <a:gd name="T40" fmla="*/ 24 w 56"/>
                      <a:gd name="T41" fmla="*/ 50 h 96"/>
                      <a:gd name="T42" fmla="*/ 8 w 56"/>
                      <a:gd name="T43" fmla="*/ 16 h 96"/>
                      <a:gd name="T44" fmla="*/ 8 w 56"/>
                      <a:gd name="T45" fmla="*/ 16 h 96"/>
                      <a:gd name="T46" fmla="*/ 0 w 56"/>
                      <a:gd name="T47" fmla="*/ 0 h 96"/>
                      <a:gd name="T48" fmla="*/ 0 w 56"/>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96">
                        <a:moveTo>
                          <a:pt x="0" y="0"/>
                        </a:moveTo>
                        <a:lnTo>
                          <a:pt x="0" y="0"/>
                        </a:lnTo>
                        <a:lnTo>
                          <a:pt x="10" y="14"/>
                        </a:lnTo>
                        <a:lnTo>
                          <a:pt x="10" y="14"/>
                        </a:lnTo>
                        <a:lnTo>
                          <a:pt x="32" y="46"/>
                        </a:lnTo>
                        <a:lnTo>
                          <a:pt x="32" y="46"/>
                        </a:lnTo>
                        <a:lnTo>
                          <a:pt x="44" y="62"/>
                        </a:lnTo>
                        <a:lnTo>
                          <a:pt x="44" y="62"/>
                        </a:lnTo>
                        <a:lnTo>
                          <a:pt x="52" y="78"/>
                        </a:lnTo>
                        <a:lnTo>
                          <a:pt x="52" y="78"/>
                        </a:lnTo>
                        <a:lnTo>
                          <a:pt x="56" y="90"/>
                        </a:lnTo>
                        <a:lnTo>
                          <a:pt x="56" y="94"/>
                        </a:lnTo>
                        <a:lnTo>
                          <a:pt x="56" y="96"/>
                        </a:lnTo>
                        <a:lnTo>
                          <a:pt x="56" y="96"/>
                        </a:lnTo>
                        <a:lnTo>
                          <a:pt x="52" y="92"/>
                        </a:lnTo>
                        <a:lnTo>
                          <a:pt x="44" y="82"/>
                        </a:lnTo>
                        <a:lnTo>
                          <a:pt x="44" y="82"/>
                        </a:lnTo>
                        <a:lnTo>
                          <a:pt x="34" y="68"/>
                        </a:lnTo>
                        <a:lnTo>
                          <a:pt x="34" y="68"/>
                        </a:lnTo>
                        <a:lnTo>
                          <a:pt x="24" y="50"/>
                        </a:lnTo>
                        <a:lnTo>
                          <a:pt x="24" y="50"/>
                        </a:lnTo>
                        <a:lnTo>
                          <a:pt x="8" y="16"/>
                        </a:lnTo>
                        <a:lnTo>
                          <a:pt x="8" y="16"/>
                        </a:lnTo>
                        <a:lnTo>
                          <a:pt x="0" y="0"/>
                        </a:lnTo>
                        <a:lnTo>
                          <a:pt x="0"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1" name="Freeform 310"/>
                  <p:cNvSpPr/>
                  <p:nvPr/>
                </p:nvSpPr>
                <p:spPr bwMode="auto">
                  <a:xfrm>
                    <a:off x="6951656" y="3296513"/>
                    <a:ext cx="127436" cy="88651"/>
                  </a:xfrm>
                  <a:custGeom>
                    <a:avLst/>
                    <a:gdLst>
                      <a:gd name="T0" fmla="*/ 0 w 92"/>
                      <a:gd name="T1" fmla="*/ 64 h 64"/>
                      <a:gd name="T2" fmla="*/ 0 w 92"/>
                      <a:gd name="T3" fmla="*/ 64 h 64"/>
                      <a:gd name="T4" fmla="*/ 14 w 92"/>
                      <a:gd name="T5" fmla="*/ 52 h 64"/>
                      <a:gd name="T6" fmla="*/ 14 w 92"/>
                      <a:gd name="T7" fmla="*/ 52 h 64"/>
                      <a:gd name="T8" fmla="*/ 44 w 92"/>
                      <a:gd name="T9" fmla="*/ 28 h 64"/>
                      <a:gd name="T10" fmla="*/ 44 w 92"/>
                      <a:gd name="T11" fmla="*/ 28 h 64"/>
                      <a:gd name="T12" fmla="*/ 60 w 92"/>
                      <a:gd name="T13" fmla="*/ 16 h 64"/>
                      <a:gd name="T14" fmla="*/ 60 w 92"/>
                      <a:gd name="T15" fmla="*/ 16 h 64"/>
                      <a:gd name="T16" fmla="*/ 74 w 92"/>
                      <a:gd name="T17" fmla="*/ 6 h 64"/>
                      <a:gd name="T18" fmla="*/ 74 w 92"/>
                      <a:gd name="T19" fmla="*/ 6 h 64"/>
                      <a:gd name="T20" fmla="*/ 86 w 92"/>
                      <a:gd name="T21" fmla="*/ 2 h 64"/>
                      <a:gd name="T22" fmla="*/ 92 w 92"/>
                      <a:gd name="T23" fmla="*/ 0 h 64"/>
                      <a:gd name="T24" fmla="*/ 92 w 92"/>
                      <a:gd name="T25" fmla="*/ 0 h 64"/>
                      <a:gd name="T26" fmla="*/ 92 w 92"/>
                      <a:gd name="T27" fmla="*/ 0 h 64"/>
                      <a:gd name="T28" fmla="*/ 88 w 92"/>
                      <a:gd name="T29" fmla="*/ 4 h 64"/>
                      <a:gd name="T30" fmla="*/ 80 w 92"/>
                      <a:gd name="T31" fmla="*/ 14 h 64"/>
                      <a:gd name="T32" fmla="*/ 80 w 92"/>
                      <a:gd name="T33" fmla="*/ 14 h 64"/>
                      <a:gd name="T34" fmla="*/ 66 w 92"/>
                      <a:gd name="T35" fmla="*/ 26 h 64"/>
                      <a:gd name="T36" fmla="*/ 66 w 92"/>
                      <a:gd name="T37" fmla="*/ 26 h 64"/>
                      <a:gd name="T38" fmla="*/ 48 w 92"/>
                      <a:gd name="T39" fmla="*/ 36 h 64"/>
                      <a:gd name="T40" fmla="*/ 48 w 92"/>
                      <a:gd name="T41" fmla="*/ 36 h 64"/>
                      <a:gd name="T42" fmla="*/ 16 w 92"/>
                      <a:gd name="T43" fmla="*/ 56 h 64"/>
                      <a:gd name="T44" fmla="*/ 16 w 92"/>
                      <a:gd name="T45" fmla="*/ 56 h 64"/>
                      <a:gd name="T46" fmla="*/ 2 w 92"/>
                      <a:gd name="T47" fmla="*/ 64 h 64"/>
                      <a:gd name="T48" fmla="*/ 0 w 92"/>
                      <a:gd name="T4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64">
                        <a:moveTo>
                          <a:pt x="0" y="64"/>
                        </a:moveTo>
                        <a:lnTo>
                          <a:pt x="0" y="64"/>
                        </a:lnTo>
                        <a:lnTo>
                          <a:pt x="14" y="52"/>
                        </a:lnTo>
                        <a:lnTo>
                          <a:pt x="14" y="52"/>
                        </a:lnTo>
                        <a:lnTo>
                          <a:pt x="44" y="28"/>
                        </a:lnTo>
                        <a:lnTo>
                          <a:pt x="44" y="28"/>
                        </a:lnTo>
                        <a:lnTo>
                          <a:pt x="60" y="16"/>
                        </a:lnTo>
                        <a:lnTo>
                          <a:pt x="60" y="16"/>
                        </a:lnTo>
                        <a:lnTo>
                          <a:pt x="74" y="6"/>
                        </a:lnTo>
                        <a:lnTo>
                          <a:pt x="74" y="6"/>
                        </a:lnTo>
                        <a:lnTo>
                          <a:pt x="86" y="2"/>
                        </a:lnTo>
                        <a:lnTo>
                          <a:pt x="92" y="0"/>
                        </a:lnTo>
                        <a:lnTo>
                          <a:pt x="92" y="0"/>
                        </a:lnTo>
                        <a:lnTo>
                          <a:pt x="92" y="0"/>
                        </a:lnTo>
                        <a:lnTo>
                          <a:pt x="88" y="4"/>
                        </a:lnTo>
                        <a:lnTo>
                          <a:pt x="80" y="14"/>
                        </a:lnTo>
                        <a:lnTo>
                          <a:pt x="80" y="14"/>
                        </a:lnTo>
                        <a:lnTo>
                          <a:pt x="66" y="26"/>
                        </a:lnTo>
                        <a:lnTo>
                          <a:pt x="66" y="26"/>
                        </a:lnTo>
                        <a:lnTo>
                          <a:pt x="48" y="36"/>
                        </a:lnTo>
                        <a:lnTo>
                          <a:pt x="48" y="36"/>
                        </a:lnTo>
                        <a:lnTo>
                          <a:pt x="16" y="56"/>
                        </a:lnTo>
                        <a:lnTo>
                          <a:pt x="16" y="56"/>
                        </a:lnTo>
                        <a:lnTo>
                          <a:pt x="2" y="64"/>
                        </a:lnTo>
                        <a:lnTo>
                          <a:pt x="0" y="64"/>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2" name="Freeform 311"/>
                  <p:cNvSpPr/>
                  <p:nvPr/>
                </p:nvSpPr>
                <p:spPr bwMode="auto">
                  <a:xfrm>
                    <a:off x="7029226" y="3473815"/>
                    <a:ext cx="105273" cy="22163"/>
                  </a:xfrm>
                  <a:custGeom>
                    <a:avLst/>
                    <a:gdLst>
                      <a:gd name="T0" fmla="*/ 0 w 76"/>
                      <a:gd name="T1" fmla="*/ 14 h 16"/>
                      <a:gd name="T2" fmla="*/ 0 w 76"/>
                      <a:gd name="T3" fmla="*/ 14 h 16"/>
                      <a:gd name="T4" fmla="*/ 12 w 76"/>
                      <a:gd name="T5" fmla="*/ 10 h 16"/>
                      <a:gd name="T6" fmla="*/ 12 w 76"/>
                      <a:gd name="T7" fmla="*/ 10 h 16"/>
                      <a:gd name="T8" fmla="*/ 38 w 76"/>
                      <a:gd name="T9" fmla="*/ 4 h 16"/>
                      <a:gd name="T10" fmla="*/ 38 w 76"/>
                      <a:gd name="T11" fmla="*/ 4 h 16"/>
                      <a:gd name="T12" fmla="*/ 52 w 76"/>
                      <a:gd name="T13" fmla="*/ 0 h 16"/>
                      <a:gd name="T14" fmla="*/ 52 w 76"/>
                      <a:gd name="T15" fmla="*/ 0 h 16"/>
                      <a:gd name="T16" fmla="*/ 64 w 76"/>
                      <a:gd name="T17" fmla="*/ 0 h 16"/>
                      <a:gd name="T18" fmla="*/ 64 w 76"/>
                      <a:gd name="T19" fmla="*/ 0 h 16"/>
                      <a:gd name="T20" fmla="*/ 72 w 76"/>
                      <a:gd name="T21" fmla="*/ 0 h 16"/>
                      <a:gd name="T22" fmla="*/ 76 w 76"/>
                      <a:gd name="T23" fmla="*/ 2 h 16"/>
                      <a:gd name="T24" fmla="*/ 76 w 76"/>
                      <a:gd name="T25" fmla="*/ 2 h 16"/>
                      <a:gd name="T26" fmla="*/ 76 w 76"/>
                      <a:gd name="T27" fmla="*/ 2 h 16"/>
                      <a:gd name="T28" fmla="*/ 74 w 76"/>
                      <a:gd name="T29" fmla="*/ 4 h 16"/>
                      <a:gd name="T30" fmla="*/ 66 w 76"/>
                      <a:gd name="T31" fmla="*/ 8 h 16"/>
                      <a:gd name="T32" fmla="*/ 66 w 76"/>
                      <a:gd name="T33" fmla="*/ 8 h 16"/>
                      <a:gd name="T34" fmla="*/ 54 w 76"/>
                      <a:gd name="T35" fmla="*/ 12 h 16"/>
                      <a:gd name="T36" fmla="*/ 54 w 76"/>
                      <a:gd name="T37" fmla="*/ 12 h 16"/>
                      <a:gd name="T38" fmla="*/ 40 w 76"/>
                      <a:gd name="T39" fmla="*/ 14 h 16"/>
                      <a:gd name="T40" fmla="*/ 40 w 76"/>
                      <a:gd name="T41" fmla="*/ 14 h 16"/>
                      <a:gd name="T42" fmla="*/ 12 w 76"/>
                      <a:gd name="T43" fmla="*/ 14 h 16"/>
                      <a:gd name="T44" fmla="*/ 12 w 76"/>
                      <a:gd name="T45" fmla="*/ 14 h 16"/>
                      <a:gd name="T46" fmla="*/ 0 w 76"/>
                      <a:gd name="T47" fmla="*/ 16 h 16"/>
                      <a:gd name="T48" fmla="*/ 0 w 76"/>
                      <a:gd name="T4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16">
                        <a:moveTo>
                          <a:pt x="0" y="14"/>
                        </a:moveTo>
                        <a:lnTo>
                          <a:pt x="0" y="14"/>
                        </a:lnTo>
                        <a:lnTo>
                          <a:pt x="12" y="10"/>
                        </a:lnTo>
                        <a:lnTo>
                          <a:pt x="12" y="10"/>
                        </a:lnTo>
                        <a:lnTo>
                          <a:pt x="38" y="4"/>
                        </a:lnTo>
                        <a:lnTo>
                          <a:pt x="38" y="4"/>
                        </a:lnTo>
                        <a:lnTo>
                          <a:pt x="52" y="0"/>
                        </a:lnTo>
                        <a:lnTo>
                          <a:pt x="52" y="0"/>
                        </a:lnTo>
                        <a:lnTo>
                          <a:pt x="64" y="0"/>
                        </a:lnTo>
                        <a:lnTo>
                          <a:pt x="64" y="0"/>
                        </a:lnTo>
                        <a:lnTo>
                          <a:pt x="72" y="0"/>
                        </a:lnTo>
                        <a:lnTo>
                          <a:pt x="76" y="2"/>
                        </a:lnTo>
                        <a:lnTo>
                          <a:pt x="76" y="2"/>
                        </a:lnTo>
                        <a:lnTo>
                          <a:pt x="76" y="2"/>
                        </a:lnTo>
                        <a:lnTo>
                          <a:pt x="74" y="4"/>
                        </a:lnTo>
                        <a:lnTo>
                          <a:pt x="66" y="8"/>
                        </a:lnTo>
                        <a:lnTo>
                          <a:pt x="66" y="8"/>
                        </a:lnTo>
                        <a:lnTo>
                          <a:pt x="54" y="12"/>
                        </a:lnTo>
                        <a:lnTo>
                          <a:pt x="54" y="12"/>
                        </a:lnTo>
                        <a:lnTo>
                          <a:pt x="40" y="14"/>
                        </a:lnTo>
                        <a:lnTo>
                          <a:pt x="40" y="14"/>
                        </a:lnTo>
                        <a:lnTo>
                          <a:pt x="12" y="14"/>
                        </a:lnTo>
                        <a:lnTo>
                          <a:pt x="12" y="14"/>
                        </a:lnTo>
                        <a:lnTo>
                          <a:pt x="0" y="16"/>
                        </a:lnTo>
                        <a:lnTo>
                          <a:pt x="0" y="14"/>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3" name="Freeform 312"/>
                  <p:cNvSpPr/>
                  <p:nvPr/>
                </p:nvSpPr>
                <p:spPr bwMode="auto">
                  <a:xfrm>
                    <a:off x="6962737" y="3792406"/>
                    <a:ext cx="91422" cy="60948"/>
                  </a:xfrm>
                  <a:custGeom>
                    <a:avLst/>
                    <a:gdLst>
                      <a:gd name="T0" fmla="*/ 2 w 66"/>
                      <a:gd name="T1" fmla="*/ 0 h 44"/>
                      <a:gd name="T2" fmla="*/ 2 w 66"/>
                      <a:gd name="T3" fmla="*/ 0 h 44"/>
                      <a:gd name="T4" fmla="*/ 12 w 66"/>
                      <a:gd name="T5" fmla="*/ 6 h 44"/>
                      <a:gd name="T6" fmla="*/ 12 w 66"/>
                      <a:gd name="T7" fmla="*/ 6 h 44"/>
                      <a:gd name="T8" fmla="*/ 36 w 66"/>
                      <a:gd name="T9" fmla="*/ 18 h 44"/>
                      <a:gd name="T10" fmla="*/ 36 w 66"/>
                      <a:gd name="T11" fmla="*/ 18 h 44"/>
                      <a:gd name="T12" fmla="*/ 48 w 66"/>
                      <a:gd name="T13" fmla="*/ 24 h 44"/>
                      <a:gd name="T14" fmla="*/ 48 w 66"/>
                      <a:gd name="T15" fmla="*/ 24 h 44"/>
                      <a:gd name="T16" fmla="*/ 58 w 66"/>
                      <a:gd name="T17" fmla="*/ 32 h 44"/>
                      <a:gd name="T18" fmla="*/ 58 w 66"/>
                      <a:gd name="T19" fmla="*/ 32 h 44"/>
                      <a:gd name="T20" fmla="*/ 64 w 66"/>
                      <a:gd name="T21" fmla="*/ 40 h 44"/>
                      <a:gd name="T22" fmla="*/ 66 w 66"/>
                      <a:gd name="T23" fmla="*/ 44 h 44"/>
                      <a:gd name="T24" fmla="*/ 64 w 66"/>
                      <a:gd name="T25" fmla="*/ 44 h 44"/>
                      <a:gd name="T26" fmla="*/ 64 w 66"/>
                      <a:gd name="T27" fmla="*/ 44 h 44"/>
                      <a:gd name="T28" fmla="*/ 62 w 66"/>
                      <a:gd name="T29" fmla="*/ 44 h 44"/>
                      <a:gd name="T30" fmla="*/ 52 w 66"/>
                      <a:gd name="T31" fmla="*/ 40 h 44"/>
                      <a:gd name="T32" fmla="*/ 52 w 66"/>
                      <a:gd name="T33" fmla="*/ 40 h 44"/>
                      <a:gd name="T34" fmla="*/ 42 w 66"/>
                      <a:gd name="T35" fmla="*/ 34 h 44"/>
                      <a:gd name="T36" fmla="*/ 42 w 66"/>
                      <a:gd name="T37" fmla="*/ 34 h 44"/>
                      <a:gd name="T38" fmla="*/ 30 w 66"/>
                      <a:gd name="T39" fmla="*/ 26 h 44"/>
                      <a:gd name="T40" fmla="*/ 30 w 66"/>
                      <a:gd name="T41" fmla="*/ 26 h 44"/>
                      <a:gd name="T42" fmla="*/ 10 w 66"/>
                      <a:gd name="T43" fmla="*/ 8 h 44"/>
                      <a:gd name="T44" fmla="*/ 10 w 66"/>
                      <a:gd name="T45" fmla="*/ 8 h 44"/>
                      <a:gd name="T46" fmla="*/ 0 w 66"/>
                      <a:gd name="T47" fmla="*/ 0 h 44"/>
                      <a:gd name="T48" fmla="*/ 2 w 66"/>
                      <a:gd name="T4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44">
                        <a:moveTo>
                          <a:pt x="2" y="0"/>
                        </a:moveTo>
                        <a:lnTo>
                          <a:pt x="2" y="0"/>
                        </a:lnTo>
                        <a:lnTo>
                          <a:pt x="12" y="6"/>
                        </a:lnTo>
                        <a:lnTo>
                          <a:pt x="12" y="6"/>
                        </a:lnTo>
                        <a:lnTo>
                          <a:pt x="36" y="18"/>
                        </a:lnTo>
                        <a:lnTo>
                          <a:pt x="36" y="18"/>
                        </a:lnTo>
                        <a:lnTo>
                          <a:pt x="48" y="24"/>
                        </a:lnTo>
                        <a:lnTo>
                          <a:pt x="48" y="24"/>
                        </a:lnTo>
                        <a:lnTo>
                          <a:pt x="58" y="32"/>
                        </a:lnTo>
                        <a:lnTo>
                          <a:pt x="58" y="32"/>
                        </a:lnTo>
                        <a:lnTo>
                          <a:pt x="64" y="40"/>
                        </a:lnTo>
                        <a:lnTo>
                          <a:pt x="66" y="44"/>
                        </a:lnTo>
                        <a:lnTo>
                          <a:pt x="64" y="44"/>
                        </a:lnTo>
                        <a:lnTo>
                          <a:pt x="64" y="44"/>
                        </a:lnTo>
                        <a:lnTo>
                          <a:pt x="62" y="44"/>
                        </a:lnTo>
                        <a:lnTo>
                          <a:pt x="52" y="40"/>
                        </a:lnTo>
                        <a:lnTo>
                          <a:pt x="52" y="40"/>
                        </a:lnTo>
                        <a:lnTo>
                          <a:pt x="42" y="34"/>
                        </a:lnTo>
                        <a:lnTo>
                          <a:pt x="42" y="34"/>
                        </a:lnTo>
                        <a:lnTo>
                          <a:pt x="30" y="26"/>
                        </a:lnTo>
                        <a:lnTo>
                          <a:pt x="30" y="26"/>
                        </a:lnTo>
                        <a:lnTo>
                          <a:pt x="10" y="8"/>
                        </a:lnTo>
                        <a:lnTo>
                          <a:pt x="10" y="8"/>
                        </a:lnTo>
                        <a:lnTo>
                          <a:pt x="0" y="0"/>
                        </a:lnTo>
                        <a:lnTo>
                          <a:pt x="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pic>
                <p:nvPicPr>
                  <p:cNvPr id="154" name="Picture 3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61254" y="2930826"/>
                    <a:ext cx="633026" cy="639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5" name="Freeform 314"/>
                  <p:cNvSpPr>
                    <a:spLocks noEditPoints="1"/>
                  </p:cNvSpPr>
                  <p:nvPr/>
                </p:nvSpPr>
                <p:spPr bwMode="auto">
                  <a:xfrm>
                    <a:off x="5576175" y="3207861"/>
                    <a:ext cx="619174" cy="620559"/>
                  </a:xfrm>
                  <a:custGeom>
                    <a:avLst/>
                    <a:gdLst>
                      <a:gd name="T0" fmla="*/ 196 w 447"/>
                      <a:gd name="T1" fmla="*/ 332 h 448"/>
                      <a:gd name="T2" fmla="*/ 152 w 447"/>
                      <a:gd name="T3" fmla="*/ 310 h 448"/>
                      <a:gd name="T4" fmla="*/ 124 w 447"/>
                      <a:gd name="T5" fmla="*/ 274 h 448"/>
                      <a:gd name="T6" fmla="*/ 122 w 447"/>
                      <a:gd name="T7" fmla="*/ 196 h 448"/>
                      <a:gd name="T8" fmla="*/ 158 w 447"/>
                      <a:gd name="T9" fmla="*/ 148 h 448"/>
                      <a:gd name="T10" fmla="*/ 218 w 447"/>
                      <a:gd name="T11" fmla="*/ 128 h 448"/>
                      <a:gd name="T12" fmla="*/ 254 w 447"/>
                      <a:gd name="T13" fmla="*/ 134 h 448"/>
                      <a:gd name="T14" fmla="*/ 294 w 447"/>
                      <a:gd name="T15" fmla="*/ 160 h 448"/>
                      <a:gd name="T16" fmla="*/ 320 w 447"/>
                      <a:gd name="T17" fmla="*/ 208 h 448"/>
                      <a:gd name="T18" fmla="*/ 308 w 447"/>
                      <a:gd name="T19" fmla="*/ 284 h 448"/>
                      <a:gd name="T20" fmla="*/ 266 w 447"/>
                      <a:gd name="T21" fmla="*/ 324 h 448"/>
                      <a:gd name="T22" fmla="*/ 226 w 447"/>
                      <a:gd name="T23" fmla="*/ 0 h 448"/>
                      <a:gd name="T24" fmla="*/ 212 w 447"/>
                      <a:gd name="T25" fmla="*/ 8 h 448"/>
                      <a:gd name="T26" fmla="*/ 180 w 447"/>
                      <a:gd name="T27" fmla="*/ 42 h 448"/>
                      <a:gd name="T28" fmla="*/ 136 w 447"/>
                      <a:gd name="T29" fmla="*/ 24 h 448"/>
                      <a:gd name="T30" fmla="*/ 120 w 447"/>
                      <a:gd name="T31" fmla="*/ 26 h 448"/>
                      <a:gd name="T32" fmla="*/ 60 w 447"/>
                      <a:gd name="T33" fmla="*/ 76 h 448"/>
                      <a:gd name="T34" fmla="*/ 74 w 447"/>
                      <a:gd name="T35" fmla="*/ 102 h 448"/>
                      <a:gd name="T36" fmla="*/ 28 w 447"/>
                      <a:gd name="T37" fmla="*/ 140 h 448"/>
                      <a:gd name="T38" fmla="*/ 16 w 447"/>
                      <a:gd name="T39" fmla="*/ 144 h 448"/>
                      <a:gd name="T40" fmla="*/ 0 w 447"/>
                      <a:gd name="T41" fmla="*/ 218 h 448"/>
                      <a:gd name="T42" fmla="*/ 12 w 447"/>
                      <a:gd name="T43" fmla="*/ 236 h 448"/>
                      <a:gd name="T44" fmla="*/ 30 w 447"/>
                      <a:gd name="T45" fmla="*/ 270 h 448"/>
                      <a:gd name="T46" fmla="*/ 28 w 447"/>
                      <a:gd name="T47" fmla="*/ 306 h 448"/>
                      <a:gd name="T48" fmla="*/ 26 w 447"/>
                      <a:gd name="T49" fmla="*/ 328 h 448"/>
                      <a:gd name="T50" fmla="*/ 76 w 447"/>
                      <a:gd name="T51" fmla="*/ 388 h 448"/>
                      <a:gd name="T52" fmla="*/ 94 w 447"/>
                      <a:gd name="T53" fmla="*/ 378 h 448"/>
                      <a:gd name="T54" fmla="*/ 140 w 447"/>
                      <a:gd name="T55" fmla="*/ 418 h 448"/>
                      <a:gd name="T56" fmla="*/ 148 w 447"/>
                      <a:gd name="T57" fmla="*/ 434 h 448"/>
                      <a:gd name="T58" fmla="*/ 220 w 447"/>
                      <a:gd name="T59" fmla="*/ 448 h 448"/>
                      <a:gd name="T60" fmla="*/ 234 w 447"/>
                      <a:gd name="T61" fmla="*/ 440 h 448"/>
                      <a:gd name="T62" fmla="*/ 254 w 447"/>
                      <a:gd name="T63" fmla="*/ 420 h 448"/>
                      <a:gd name="T64" fmla="*/ 306 w 447"/>
                      <a:gd name="T65" fmla="*/ 418 h 448"/>
                      <a:gd name="T66" fmla="*/ 318 w 447"/>
                      <a:gd name="T67" fmla="*/ 424 h 448"/>
                      <a:gd name="T68" fmla="*/ 380 w 447"/>
                      <a:gd name="T69" fmla="*/ 382 h 448"/>
                      <a:gd name="T70" fmla="*/ 384 w 447"/>
                      <a:gd name="T71" fmla="*/ 360 h 448"/>
                      <a:gd name="T72" fmla="*/ 398 w 447"/>
                      <a:gd name="T73" fmla="*/ 302 h 448"/>
                      <a:gd name="T74" fmla="*/ 420 w 447"/>
                      <a:gd name="T75" fmla="*/ 306 h 448"/>
                      <a:gd name="T76" fmla="*/ 437 w 447"/>
                      <a:gd name="T77" fmla="*/ 294 h 448"/>
                      <a:gd name="T78" fmla="*/ 447 w 447"/>
                      <a:gd name="T79" fmla="*/ 226 h 448"/>
                      <a:gd name="T80" fmla="*/ 435 w 447"/>
                      <a:gd name="T81" fmla="*/ 210 h 448"/>
                      <a:gd name="T82" fmla="*/ 396 w 447"/>
                      <a:gd name="T83" fmla="*/ 156 h 448"/>
                      <a:gd name="T84" fmla="*/ 424 w 447"/>
                      <a:gd name="T85" fmla="*/ 132 h 448"/>
                      <a:gd name="T86" fmla="*/ 382 w 447"/>
                      <a:gd name="T87" fmla="*/ 66 h 448"/>
                      <a:gd name="T88" fmla="*/ 364 w 447"/>
                      <a:gd name="T89" fmla="*/ 60 h 448"/>
                      <a:gd name="T90" fmla="*/ 320 w 447"/>
                      <a:gd name="T91" fmla="*/ 66 h 448"/>
                      <a:gd name="T92" fmla="*/ 306 w 447"/>
                      <a:gd name="T93" fmla="*/ 24 h 448"/>
                      <a:gd name="T94" fmla="*/ 286 w 447"/>
                      <a:gd name="T95" fmla="*/ 1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7" h="448">
                        <a:moveTo>
                          <a:pt x="218" y="334"/>
                        </a:moveTo>
                        <a:lnTo>
                          <a:pt x="218" y="334"/>
                        </a:lnTo>
                        <a:lnTo>
                          <a:pt x="206" y="334"/>
                        </a:lnTo>
                        <a:lnTo>
                          <a:pt x="196" y="332"/>
                        </a:lnTo>
                        <a:lnTo>
                          <a:pt x="184" y="328"/>
                        </a:lnTo>
                        <a:lnTo>
                          <a:pt x="172" y="324"/>
                        </a:lnTo>
                        <a:lnTo>
                          <a:pt x="162" y="318"/>
                        </a:lnTo>
                        <a:lnTo>
                          <a:pt x="152" y="310"/>
                        </a:lnTo>
                        <a:lnTo>
                          <a:pt x="144" y="302"/>
                        </a:lnTo>
                        <a:lnTo>
                          <a:pt x="136" y="292"/>
                        </a:lnTo>
                        <a:lnTo>
                          <a:pt x="136" y="292"/>
                        </a:lnTo>
                        <a:lnTo>
                          <a:pt x="124" y="274"/>
                        </a:lnTo>
                        <a:lnTo>
                          <a:pt x="118" y="254"/>
                        </a:lnTo>
                        <a:lnTo>
                          <a:pt x="116" y="236"/>
                        </a:lnTo>
                        <a:lnTo>
                          <a:pt x="116" y="216"/>
                        </a:lnTo>
                        <a:lnTo>
                          <a:pt x="122" y="196"/>
                        </a:lnTo>
                        <a:lnTo>
                          <a:pt x="130" y="178"/>
                        </a:lnTo>
                        <a:lnTo>
                          <a:pt x="142" y="162"/>
                        </a:lnTo>
                        <a:lnTo>
                          <a:pt x="158" y="148"/>
                        </a:lnTo>
                        <a:lnTo>
                          <a:pt x="158" y="148"/>
                        </a:lnTo>
                        <a:lnTo>
                          <a:pt x="172" y="138"/>
                        </a:lnTo>
                        <a:lnTo>
                          <a:pt x="188" y="132"/>
                        </a:lnTo>
                        <a:lnTo>
                          <a:pt x="202" y="128"/>
                        </a:lnTo>
                        <a:lnTo>
                          <a:pt x="218" y="128"/>
                        </a:lnTo>
                        <a:lnTo>
                          <a:pt x="218" y="128"/>
                        </a:lnTo>
                        <a:lnTo>
                          <a:pt x="230" y="128"/>
                        </a:lnTo>
                        <a:lnTo>
                          <a:pt x="242" y="130"/>
                        </a:lnTo>
                        <a:lnTo>
                          <a:pt x="254" y="134"/>
                        </a:lnTo>
                        <a:lnTo>
                          <a:pt x="264" y="138"/>
                        </a:lnTo>
                        <a:lnTo>
                          <a:pt x="276" y="144"/>
                        </a:lnTo>
                        <a:lnTo>
                          <a:pt x="286" y="152"/>
                        </a:lnTo>
                        <a:lnTo>
                          <a:pt x="294" y="160"/>
                        </a:lnTo>
                        <a:lnTo>
                          <a:pt x="302" y="170"/>
                        </a:lnTo>
                        <a:lnTo>
                          <a:pt x="302" y="170"/>
                        </a:lnTo>
                        <a:lnTo>
                          <a:pt x="314" y="188"/>
                        </a:lnTo>
                        <a:lnTo>
                          <a:pt x="320" y="208"/>
                        </a:lnTo>
                        <a:lnTo>
                          <a:pt x="322" y="226"/>
                        </a:lnTo>
                        <a:lnTo>
                          <a:pt x="322" y="246"/>
                        </a:lnTo>
                        <a:lnTo>
                          <a:pt x="316" y="266"/>
                        </a:lnTo>
                        <a:lnTo>
                          <a:pt x="308" y="284"/>
                        </a:lnTo>
                        <a:lnTo>
                          <a:pt x="296" y="300"/>
                        </a:lnTo>
                        <a:lnTo>
                          <a:pt x="280" y="314"/>
                        </a:lnTo>
                        <a:lnTo>
                          <a:pt x="280" y="314"/>
                        </a:lnTo>
                        <a:lnTo>
                          <a:pt x="266" y="324"/>
                        </a:lnTo>
                        <a:lnTo>
                          <a:pt x="250" y="330"/>
                        </a:lnTo>
                        <a:lnTo>
                          <a:pt x="234" y="334"/>
                        </a:lnTo>
                        <a:lnTo>
                          <a:pt x="218" y="334"/>
                        </a:lnTo>
                        <a:close/>
                        <a:moveTo>
                          <a:pt x="226" y="0"/>
                        </a:moveTo>
                        <a:lnTo>
                          <a:pt x="226" y="0"/>
                        </a:lnTo>
                        <a:lnTo>
                          <a:pt x="220" y="2"/>
                        </a:lnTo>
                        <a:lnTo>
                          <a:pt x="216" y="4"/>
                        </a:lnTo>
                        <a:lnTo>
                          <a:pt x="212" y="8"/>
                        </a:lnTo>
                        <a:lnTo>
                          <a:pt x="210" y="12"/>
                        </a:lnTo>
                        <a:lnTo>
                          <a:pt x="206" y="38"/>
                        </a:lnTo>
                        <a:lnTo>
                          <a:pt x="206" y="38"/>
                        </a:lnTo>
                        <a:lnTo>
                          <a:pt x="180" y="42"/>
                        </a:lnTo>
                        <a:lnTo>
                          <a:pt x="156" y="48"/>
                        </a:lnTo>
                        <a:lnTo>
                          <a:pt x="140" y="30"/>
                        </a:lnTo>
                        <a:lnTo>
                          <a:pt x="140" y="30"/>
                        </a:lnTo>
                        <a:lnTo>
                          <a:pt x="136" y="24"/>
                        </a:lnTo>
                        <a:lnTo>
                          <a:pt x="128" y="22"/>
                        </a:lnTo>
                        <a:lnTo>
                          <a:pt x="128" y="22"/>
                        </a:lnTo>
                        <a:lnTo>
                          <a:pt x="124" y="24"/>
                        </a:lnTo>
                        <a:lnTo>
                          <a:pt x="120" y="26"/>
                        </a:lnTo>
                        <a:lnTo>
                          <a:pt x="66" y="66"/>
                        </a:lnTo>
                        <a:lnTo>
                          <a:pt x="66" y="66"/>
                        </a:lnTo>
                        <a:lnTo>
                          <a:pt x="62" y="70"/>
                        </a:lnTo>
                        <a:lnTo>
                          <a:pt x="60" y="76"/>
                        </a:lnTo>
                        <a:lnTo>
                          <a:pt x="60" y="82"/>
                        </a:lnTo>
                        <a:lnTo>
                          <a:pt x="62" y="86"/>
                        </a:lnTo>
                        <a:lnTo>
                          <a:pt x="74" y="102"/>
                        </a:lnTo>
                        <a:lnTo>
                          <a:pt x="74" y="102"/>
                        </a:lnTo>
                        <a:lnTo>
                          <a:pt x="58" y="122"/>
                        </a:lnTo>
                        <a:lnTo>
                          <a:pt x="46" y="144"/>
                        </a:lnTo>
                        <a:lnTo>
                          <a:pt x="28" y="140"/>
                        </a:lnTo>
                        <a:lnTo>
                          <a:pt x="28" y="140"/>
                        </a:lnTo>
                        <a:lnTo>
                          <a:pt x="26" y="140"/>
                        </a:lnTo>
                        <a:lnTo>
                          <a:pt x="26" y="140"/>
                        </a:lnTo>
                        <a:lnTo>
                          <a:pt x="20" y="142"/>
                        </a:lnTo>
                        <a:lnTo>
                          <a:pt x="16" y="144"/>
                        </a:lnTo>
                        <a:lnTo>
                          <a:pt x="12" y="148"/>
                        </a:lnTo>
                        <a:lnTo>
                          <a:pt x="10" y="154"/>
                        </a:lnTo>
                        <a:lnTo>
                          <a:pt x="0" y="218"/>
                        </a:lnTo>
                        <a:lnTo>
                          <a:pt x="0" y="218"/>
                        </a:lnTo>
                        <a:lnTo>
                          <a:pt x="0" y="224"/>
                        </a:lnTo>
                        <a:lnTo>
                          <a:pt x="2" y="230"/>
                        </a:lnTo>
                        <a:lnTo>
                          <a:pt x="6" y="234"/>
                        </a:lnTo>
                        <a:lnTo>
                          <a:pt x="12" y="236"/>
                        </a:lnTo>
                        <a:lnTo>
                          <a:pt x="26" y="240"/>
                        </a:lnTo>
                        <a:lnTo>
                          <a:pt x="26" y="240"/>
                        </a:lnTo>
                        <a:lnTo>
                          <a:pt x="28" y="254"/>
                        </a:lnTo>
                        <a:lnTo>
                          <a:pt x="30" y="270"/>
                        </a:lnTo>
                        <a:lnTo>
                          <a:pt x="34" y="284"/>
                        </a:lnTo>
                        <a:lnTo>
                          <a:pt x="38" y="300"/>
                        </a:lnTo>
                        <a:lnTo>
                          <a:pt x="28" y="306"/>
                        </a:lnTo>
                        <a:lnTo>
                          <a:pt x="28" y="306"/>
                        </a:lnTo>
                        <a:lnTo>
                          <a:pt x="24" y="310"/>
                        </a:lnTo>
                        <a:lnTo>
                          <a:pt x="22" y="316"/>
                        </a:lnTo>
                        <a:lnTo>
                          <a:pt x="22" y="322"/>
                        </a:lnTo>
                        <a:lnTo>
                          <a:pt x="26" y="328"/>
                        </a:lnTo>
                        <a:lnTo>
                          <a:pt x="64" y="382"/>
                        </a:lnTo>
                        <a:lnTo>
                          <a:pt x="64" y="382"/>
                        </a:lnTo>
                        <a:lnTo>
                          <a:pt x="70" y="386"/>
                        </a:lnTo>
                        <a:lnTo>
                          <a:pt x="76" y="388"/>
                        </a:lnTo>
                        <a:lnTo>
                          <a:pt x="76" y="388"/>
                        </a:lnTo>
                        <a:lnTo>
                          <a:pt x="82" y="386"/>
                        </a:lnTo>
                        <a:lnTo>
                          <a:pt x="86" y="384"/>
                        </a:lnTo>
                        <a:lnTo>
                          <a:pt x="94" y="378"/>
                        </a:lnTo>
                        <a:lnTo>
                          <a:pt x="94" y="378"/>
                        </a:lnTo>
                        <a:lnTo>
                          <a:pt x="118" y="394"/>
                        </a:lnTo>
                        <a:lnTo>
                          <a:pt x="142" y="408"/>
                        </a:lnTo>
                        <a:lnTo>
                          <a:pt x="140" y="418"/>
                        </a:lnTo>
                        <a:lnTo>
                          <a:pt x="140" y="418"/>
                        </a:lnTo>
                        <a:lnTo>
                          <a:pt x="140" y="424"/>
                        </a:lnTo>
                        <a:lnTo>
                          <a:pt x="144" y="430"/>
                        </a:lnTo>
                        <a:lnTo>
                          <a:pt x="148" y="434"/>
                        </a:lnTo>
                        <a:lnTo>
                          <a:pt x="154" y="436"/>
                        </a:lnTo>
                        <a:lnTo>
                          <a:pt x="218" y="448"/>
                        </a:lnTo>
                        <a:lnTo>
                          <a:pt x="218" y="448"/>
                        </a:lnTo>
                        <a:lnTo>
                          <a:pt x="220" y="448"/>
                        </a:lnTo>
                        <a:lnTo>
                          <a:pt x="220" y="448"/>
                        </a:lnTo>
                        <a:lnTo>
                          <a:pt x="226" y="446"/>
                        </a:lnTo>
                        <a:lnTo>
                          <a:pt x="230" y="444"/>
                        </a:lnTo>
                        <a:lnTo>
                          <a:pt x="234" y="440"/>
                        </a:lnTo>
                        <a:lnTo>
                          <a:pt x="236" y="434"/>
                        </a:lnTo>
                        <a:lnTo>
                          <a:pt x="238" y="422"/>
                        </a:lnTo>
                        <a:lnTo>
                          <a:pt x="238" y="422"/>
                        </a:lnTo>
                        <a:lnTo>
                          <a:pt x="254" y="420"/>
                        </a:lnTo>
                        <a:lnTo>
                          <a:pt x="268" y="418"/>
                        </a:lnTo>
                        <a:lnTo>
                          <a:pt x="282" y="412"/>
                        </a:lnTo>
                        <a:lnTo>
                          <a:pt x="298" y="408"/>
                        </a:lnTo>
                        <a:lnTo>
                          <a:pt x="306" y="418"/>
                        </a:lnTo>
                        <a:lnTo>
                          <a:pt x="306" y="418"/>
                        </a:lnTo>
                        <a:lnTo>
                          <a:pt x="312" y="422"/>
                        </a:lnTo>
                        <a:lnTo>
                          <a:pt x="318" y="424"/>
                        </a:lnTo>
                        <a:lnTo>
                          <a:pt x="318" y="424"/>
                        </a:lnTo>
                        <a:lnTo>
                          <a:pt x="322" y="424"/>
                        </a:lnTo>
                        <a:lnTo>
                          <a:pt x="328" y="422"/>
                        </a:lnTo>
                        <a:lnTo>
                          <a:pt x="380" y="382"/>
                        </a:lnTo>
                        <a:lnTo>
                          <a:pt x="380" y="382"/>
                        </a:lnTo>
                        <a:lnTo>
                          <a:pt x="384" y="378"/>
                        </a:lnTo>
                        <a:lnTo>
                          <a:pt x="386" y="372"/>
                        </a:lnTo>
                        <a:lnTo>
                          <a:pt x="386" y="366"/>
                        </a:lnTo>
                        <a:lnTo>
                          <a:pt x="384" y="360"/>
                        </a:lnTo>
                        <a:lnTo>
                          <a:pt x="374" y="346"/>
                        </a:lnTo>
                        <a:lnTo>
                          <a:pt x="374" y="346"/>
                        </a:lnTo>
                        <a:lnTo>
                          <a:pt x="388" y="326"/>
                        </a:lnTo>
                        <a:lnTo>
                          <a:pt x="398" y="302"/>
                        </a:lnTo>
                        <a:lnTo>
                          <a:pt x="418" y="306"/>
                        </a:lnTo>
                        <a:lnTo>
                          <a:pt x="418" y="306"/>
                        </a:lnTo>
                        <a:lnTo>
                          <a:pt x="420" y="306"/>
                        </a:lnTo>
                        <a:lnTo>
                          <a:pt x="420" y="306"/>
                        </a:lnTo>
                        <a:lnTo>
                          <a:pt x="426" y="306"/>
                        </a:lnTo>
                        <a:lnTo>
                          <a:pt x="430" y="302"/>
                        </a:lnTo>
                        <a:lnTo>
                          <a:pt x="435" y="298"/>
                        </a:lnTo>
                        <a:lnTo>
                          <a:pt x="437" y="294"/>
                        </a:lnTo>
                        <a:lnTo>
                          <a:pt x="447" y="228"/>
                        </a:lnTo>
                        <a:lnTo>
                          <a:pt x="447" y="228"/>
                        </a:lnTo>
                        <a:lnTo>
                          <a:pt x="447" y="226"/>
                        </a:lnTo>
                        <a:lnTo>
                          <a:pt x="447" y="226"/>
                        </a:lnTo>
                        <a:lnTo>
                          <a:pt x="447" y="220"/>
                        </a:lnTo>
                        <a:lnTo>
                          <a:pt x="443" y="216"/>
                        </a:lnTo>
                        <a:lnTo>
                          <a:pt x="439" y="212"/>
                        </a:lnTo>
                        <a:lnTo>
                          <a:pt x="435" y="210"/>
                        </a:lnTo>
                        <a:lnTo>
                          <a:pt x="410" y="206"/>
                        </a:lnTo>
                        <a:lnTo>
                          <a:pt x="410" y="206"/>
                        </a:lnTo>
                        <a:lnTo>
                          <a:pt x="406" y="182"/>
                        </a:lnTo>
                        <a:lnTo>
                          <a:pt x="396" y="156"/>
                        </a:lnTo>
                        <a:lnTo>
                          <a:pt x="418" y="142"/>
                        </a:lnTo>
                        <a:lnTo>
                          <a:pt x="418" y="142"/>
                        </a:lnTo>
                        <a:lnTo>
                          <a:pt x="422" y="136"/>
                        </a:lnTo>
                        <a:lnTo>
                          <a:pt x="424" y="132"/>
                        </a:lnTo>
                        <a:lnTo>
                          <a:pt x="424" y="126"/>
                        </a:lnTo>
                        <a:lnTo>
                          <a:pt x="420" y="120"/>
                        </a:lnTo>
                        <a:lnTo>
                          <a:pt x="382" y="66"/>
                        </a:lnTo>
                        <a:lnTo>
                          <a:pt x="382" y="66"/>
                        </a:lnTo>
                        <a:lnTo>
                          <a:pt x="376" y="62"/>
                        </a:lnTo>
                        <a:lnTo>
                          <a:pt x="370" y="60"/>
                        </a:lnTo>
                        <a:lnTo>
                          <a:pt x="370" y="60"/>
                        </a:lnTo>
                        <a:lnTo>
                          <a:pt x="364" y="60"/>
                        </a:lnTo>
                        <a:lnTo>
                          <a:pt x="360" y="64"/>
                        </a:lnTo>
                        <a:lnTo>
                          <a:pt x="338" y="80"/>
                        </a:lnTo>
                        <a:lnTo>
                          <a:pt x="338" y="80"/>
                        </a:lnTo>
                        <a:lnTo>
                          <a:pt x="320" y="66"/>
                        </a:lnTo>
                        <a:lnTo>
                          <a:pt x="302" y="56"/>
                        </a:lnTo>
                        <a:lnTo>
                          <a:pt x="306" y="30"/>
                        </a:lnTo>
                        <a:lnTo>
                          <a:pt x="306" y="30"/>
                        </a:lnTo>
                        <a:lnTo>
                          <a:pt x="306" y="24"/>
                        </a:lnTo>
                        <a:lnTo>
                          <a:pt x="304" y="18"/>
                        </a:lnTo>
                        <a:lnTo>
                          <a:pt x="298" y="14"/>
                        </a:lnTo>
                        <a:lnTo>
                          <a:pt x="294" y="12"/>
                        </a:lnTo>
                        <a:lnTo>
                          <a:pt x="286" y="10"/>
                        </a:lnTo>
                        <a:lnTo>
                          <a:pt x="228" y="0"/>
                        </a:lnTo>
                        <a:lnTo>
                          <a:pt x="228" y="0"/>
                        </a:lnTo>
                        <a:lnTo>
                          <a:pt x="226" y="0"/>
                        </a:lnTo>
                        <a:close/>
                      </a:path>
                    </a:pathLst>
                  </a:custGeom>
                  <a:solidFill>
                    <a:srgbClr val="409B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6" name="Freeform 315"/>
                  <p:cNvSpPr/>
                  <p:nvPr/>
                </p:nvSpPr>
                <p:spPr bwMode="auto">
                  <a:xfrm>
                    <a:off x="5736856" y="3385164"/>
                    <a:ext cx="285346" cy="285346"/>
                  </a:xfrm>
                  <a:custGeom>
                    <a:avLst/>
                    <a:gdLst>
                      <a:gd name="T0" fmla="*/ 102 w 206"/>
                      <a:gd name="T1" fmla="*/ 206 h 206"/>
                      <a:gd name="T2" fmla="*/ 102 w 206"/>
                      <a:gd name="T3" fmla="*/ 206 h 206"/>
                      <a:gd name="T4" fmla="*/ 90 w 206"/>
                      <a:gd name="T5" fmla="*/ 206 h 206"/>
                      <a:gd name="T6" fmla="*/ 80 w 206"/>
                      <a:gd name="T7" fmla="*/ 204 h 206"/>
                      <a:gd name="T8" fmla="*/ 68 w 206"/>
                      <a:gd name="T9" fmla="*/ 200 h 206"/>
                      <a:gd name="T10" fmla="*/ 56 w 206"/>
                      <a:gd name="T11" fmla="*/ 196 h 206"/>
                      <a:gd name="T12" fmla="*/ 46 w 206"/>
                      <a:gd name="T13" fmla="*/ 190 h 206"/>
                      <a:gd name="T14" fmla="*/ 36 w 206"/>
                      <a:gd name="T15" fmla="*/ 182 h 206"/>
                      <a:gd name="T16" fmla="*/ 28 w 206"/>
                      <a:gd name="T17" fmla="*/ 174 h 206"/>
                      <a:gd name="T18" fmla="*/ 20 w 206"/>
                      <a:gd name="T19" fmla="*/ 164 h 206"/>
                      <a:gd name="T20" fmla="*/ 20 w 206"/>
                      <a:gd name="T21" fmla="*/ 164 h 206"/>
                      <a:gd name="T22" fmla="*/ 8 w 206"/>
                      <a:gd name="T23" fmla="*/ 146 h 206"/>
                      <a:gd name="T24" fmla="*/ 2 w 206"/>
                      <a:gd name="T25" fmla="*/ 126 h 206"/>
                      <a:gd name="T26" fmla="*/ 0 w 206"/>
                      <a:gd name="T27" fmla="*/ 108 h 206"/>
                      <a:gd name="T28" fmla="*/ 0 w 206"/>
                      <a:gd name="T29" fmla="*/ 88 h 206"/>
                      <a:gd name="T30" fmla="*/ 6 w 206"/>
                      <a:gd name="T31" fmla="*/ 68 h 206"/>
                      <a:gd name="T32" fmla="*/ 14 w 206"/>
                      <a:gd name="T33" fmla="*/ 50 h 206"/>
                      <a:gd name="T34" fmla="*/ 26 w 206"/>
                      <a:gd name="T35" fmla="*/ 34 h 206"/>
                      <a:gd name="T36" fmla="*/ 42 w 206"/>
                      <a:gd name="T37" fmla="*/ 20 h 206"/>
                      <a:gd name="T38" fmla="*/ 42 w 206"/>
                      <a:gd name="T39" fmla="*/ 20 h 206"/>
                      <a:gd name="T40" fmla="*/ 56 w 206"/>
                      <a:gd name="T41" fmla="*/ 10 h 206"/>
                      <a:gd name="T42" fmla="*/ 72 w 206"/>
                      <a:gd name="T43" fmla="*/ 4 h 206"/>
                      <a:gd name="T44" fmla="*/ 86 w 206"/>
                      <a:gd name="T45" fmla="*/ 0 h 206"/>
                      <a:gd name="T46" fmla="*/ 102 w 206"/>
                      <a:gd name="T47" fmla="*/ 0 h 206"/>
                      <a:gd name="T48" fmla="*/ 102 w 206"/>
                      <a:gd name="T49" fmla="*/ 0 h 206"/>
                      <a:gd name="T50" fmla="*/ 114 w 206"/>
                      <a:gd name="T51" fmla="*/ 0 h 206"/>
                      <a:gd name="T52" fmla="*/ 126 w 206"/>
                      <a:gd name="T53" fmla="*/ 2 h 206"/>
                      <a:gd name="T54" fmla="*/ 138 w 206"/>
                      <a:gd name="T55" fmla="*/ 6 h 206"/>
                      <a:gd name="T56" fmla="*/ 148 w 206"/>
                      <a:gd name="T57" fmla="*/ 10 h 206"/>
                      <a:gd name="T58" fmla="*/ 160 w 206"/>
                      <a:gd name="T59" fmla="*/ 16 h 206"/>
                      <a:gd name="T60" fmla="*/ 170 w 206"/>
                      <a:gd name="T61" fmla="*/ 24 h 206"/>
                      <a:gd name="T62" fmla="*/ 178 w 206"/>
                      <a:gd name="T63" fmla="*/ 32 h 206"/>
                      <a:gd name="T64" fmla="*/ 186 w 206"/>
                      <a:gd name="T65" fmla="*/ 42 h 206"/>
                      <a:gd name="T66" fmla="*/ 186 w 206"/>
                      <a:gd name="T67" fmla="*/ 42 h 206"/>
                      <a:gd name="T68" fmla="*/ 198 w 206"/>
                      <a:gd name="T69" fmla="*/ 60 h 206"/>
                      <a:gd name="T70" fmla="*/ 204 w 206"/>
                      <a:gd name="T71" fmla="*/ 80 h 206"/>
                      <a:gd name="T72" fmla="*/ 206 w 206"/>
                      <a:gd name="T73" fmla="*/ 98 h 206"/>
                      <a:gd name="T74" fmla="*/ 206 w 206"/>
                      <a:gd name="T75" fmla="*/ 118 h 206"/>
                      <a:gd name="T76" fmla="*/ 200 w 206"/>
                      <a:gd name="T77" fmla="*/ 138 h 206"/>
                      <a:gd name="T78" fmla="*/ 192 w 206"/>
                      <a:gd name="T79" fmla="*/ 156 h 206"/>
                      <a:gd name="T80" fmla="*/ 180 w 206"/>
                      <a:gd name="T81" fmla="*/ 172 h 206"/>
                      <a:gd name="T82" fmla="*/ 164 w 206"/>
                      <a:gd name="T83" fmla="*/ 186 h 206"/>
                      <a:gd name="T84" fmla="*/ 164 w 206"/>
                      <a:gd name="T85" fmla="*/ 186 h 206"/>
                      <a:gd name="T86" fmla="*/ 150 w 206"/>
                      <a:gd name="T87" fmla="*/ 196 h 206"/>
                      <a:gd name="T88" fmla="*/ 134 w 206"/>
                      <a:gd name="T89" fmla="*/ 202 h 206"/>
                      <a:gd name="T90" fmla="*/ 118 w 206"/>
                      <a:gd name="T91" fmla="*/ 206 h 206"/>
                      <a:gd name="T92" fmla="*/ 102 w 206"/>
                      <a:gd name="T93"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06">
                        <a:moveTo>
                          <a:pt x="102" y="206"/>
                        </a:moveTo>
                        <a:lnTo>
                          <a:pt x="102" y="206"/>
                        </a:lnTo>
                        <a:lnTo>
                          <a:pt x="90" y="206"/>
                        </a:lnTo>
                        <a:lnTo>
                          <a:pt x="80" y="204"/>
                        </a:lnTo>
                        <a:lnTo>
                          <a:pt x="68" y="200"/>
                        </a:lnTo>
                        <a:lnTo>
                          <a:pt x="56" y="196"/>
                        </a:lnTo>
                        <a:lnTo>
                          <a:pt x="46" y="190"/>
                        </a:lnTo>
                        <a:lnTo>
                          <a:pt x="36" y="182"/>
                        </a:lnTo>
                        <a:lnTo>
                          <a:pt x="28" y="174"/>
                        </a:lnTo>
                        <a:lnTo>
                          <a:pt x="20" y="164"/>
                        </a:lnTo>
                        <a:lnTo>
                          <a:pt x="20" y="164"/>
                        </a:lnTo>
                        <a:lnTo>
                          <a:pt x="8" y="146"/>
                        </a:lnTo>
                        <a:lnTo>
                          <a:pt x="2" y="126"/>
                        </a:lnTo>
                        <a:lnTo>
                          <a:pt x="0" y="108"/>
                        </a:lnTo>
                        <a:lnTo>
                          <a:pt x="0" y="88"/>
                        </a:lnTo>
                        <a:lnTo>
                          <a:pt x="6" y="68"/>
                        </a:lnTo>
                        <a:lnTo>
                          <a:pt x="14" y="50"/>
                        </a:lnTo>
                        <a:lnTo>
                          <a:pt x="26" y="34"/>
                        </a:lnTo>
                        <a:lnTo>
                          <a:pt x="42" y="20"/>
                        </a:lnTo>
                        <a:lnTo>
                          <a:pt x="42" y="20"/>
                        </a:lnTo>
                        <a:lnTo>
                          <a:pt x="56" y="10"/>
                        </a:lnTo>
                        <a:lnTo>
                          <a:pt x="72" y="4"/>
                        </a:lnTo>
                        <a:lnTo>
                          <a:pt x="86" y="0"/>
                        </a:lnTo>
                        <a:lnTo>
                          <a:pt x="102" y="0"/>
                        </a:lnTo>
                        <a:lnTo>
                          <a:pt x="102" y="0"/>
                        </a:lnTo>
                        <a:lnTo>
                          <a:pt x="114" y="0"/>
                        </a:lnTo>
                        <a:lnTo>
                          <a:pt x="126" y="2"/>
                        </a:lnTo>
                        <a:lnTo>
                          <a:pt x="138" y="6"/>
                        </a:lnTo>
                        <a:lnTo>
                          <a:pt x="148" y="10"/>
                        </a:lnTo>
                        <a:lnTo>
                          <a:pt x="160" y="16"/>
                        </a:lnTo>
                        <a:lnTo>
                          <a:pt x="170" y="24"/>
                        </a:lnTo>
                        <a:lnTo>
                          <a:pt x="178" y="32"/>
                        </a:lnTo>
                        <a:lnTo>
                          <a:pt x="186" y="42"/>
                        </a:lnTo>
                        <a:lnTo>
                          <a:pt x="186" y="42"/>
                        </a:lnTo>
                        <a:lnTo>
                          <a:pt x="198" y="60"/>
                        </a:lnTo>
                        <a:lnTo>
                          <a:pt x="204" y="80"/>
                        </a:lnTo>
                        <a:lnTo>
                          <a:pt x="206" y="98"/>
                        </a:lnTo>
                        <a:lnTo>
                          <a:pt x="206" y="118"/>
                        </a:lnTo>
                        <a:lnTo>
                          <a:pt x="200" y="138"/>
                        </a:lnTo>
                        <a:lnTo>
                          <a:pt x="192" y="156"/>
                        </a:lnTo>
                        <a:lnTo>
                          <a:pt x="180" y="172"/>
                        </a:lnTo>
                        <a:lnTo>
                          <a:pt x="164" y="186"/>
                        </a:lnTo>
                        <a:lnTo>
                          <a:pt x="164" y="186"/>
                        </a:lnTo>
                        <a:lnTo>
                          <a:pt x="150" y="196"/>
                        </a:lnTo>
                        <a:lnTo>
                          <a:pt x="134" y="202"/>
                        </a:lnTo>
                        <a:lnTo>
                          <a:pt x="118" y="206"/>
                        </a:lnTo>
                        <a:lnTo>
                          <a:pt x="102"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7" name="Freeform 316"/>
                  <p:cNvSpPr/>
                  <p:nvPr/>
                </p:nvSpPr>
                <p:spPr bwMode="auto">
                  <a:xfrm>
                    <a:off x="5576175" y="3207861"/>
                    <a:ext cx="619174" cy="620559"/>
                  </a:xfrm>
                  <a:custGeom>
                    <a:avLst/>
                    <a:gdLst>
                      <a:gd name="T0" fmla="*/ 220 w 447"/>
                      <a:gd name="T1" fmla="*/ 2 h 448"/>
                      <a:gd name="T2" fmla="*/ 210 w 447"/>
                      <a:gd name="T3" fmla="*/ 12 h 448"/>
                      <a:gd name="T4" fmla="*/ 180 w 447"/>
                      <a:gd name="T5" fmla="*/ 42 h 448"/>
                      <a:gd name="T6" fmla="*/ 140 w 447"/>
                      <a:gd name="T7" fmla="*/ 30 h 448"/>
                      <a:gd name="T8" fmla="*/ 128 w 447"/>
                      <a:gd name="T9" fmla="*/ 22 h 448"/>
                      <a:gd name="T10" fmla="*/ 66 w 447"/>
                      <a:gd name="T11" fmla="*/ 66 h 448"/>
                      <a:gd name="T12" fmla="*/ 60 w 447"/>
                      <a:gd name="T13" fmla="*/ 76 h 448"/>
                      <a:gd name="T14" fmla="*/ 74 w 447"/>
                      <a:gd name="T15" fmla="*/ 102 h 448"/>
                      <a:gd name="T16" fmla="*/ 46 w 447"/>
                      <a:gd name="T17" fmla="*/ 144 h 448"/>
                      <a:gd name="T18" fmla="*/ 26 w 447"/>
                      <a:gd name="T19" fmla="*/ 140 h 448"/>
                      <a:gd name="T20" fmla="*/ 16 w 447"/>
                      <a:gd name="T21" fmla="*/ 144 h 448"/>
                      <a:gd name="T22" fmla="*/ 0 w 447"/>
                      <a:gd name="T23" fmla="*/ 218 h 448"/>
                      <a:gd name="T24" fmla="*/ 2 w 447"/>
                      <a:gd name="T25" fmla="*/ 230 h 448"/>
                      <a:gd name="T26" fmla="*/ 26 w 447"/>
                      <a:gd name="T27" fmla="*/ 240 h 448"/>
                      <a:gd name="T28" fmla="*/ 30 w 447"/>
                      <a:gd name="T29" fmla="*/ 270 h 448"/>
                      <a:gd name="T30" fmla="*/ 28 w 447"/>
                      <a:gd name="T31" fmla="*/ 306 h 448"/>
                      <a:gd name="T32" fmla="*/ 22 w 447"/>
                      <a:gd name="T33" fmla="*/ 316 h 448"/>
                      <a:gd name="T34" fmla="*/ 64 w 447"/>
                      <a:gd name="T35" fmla="*/ 382 h 448"/>
                      <a:gd name="T36" fmla="*/ 76 w 447"/>
                      <a:gd name="T37" fmla="*/ 388 h 448"/>
                      <a:gd name="T38" fmla="*/ 86 w 447"/>
                      <a:gd name="T39" fmla="*/ 384 h 448"/>
                      <a:gd name="T40" fmla="*/ 118 w 447"/>
                      <a:gd name="T41" fmla="*/ 394 h 448"/>
                      <a:gd name="T42" fmla="*/ 140 w 447"/>
                      <a:gd name="T43" fmla="*/ 418 h 448"/>
                      <a:gd name="T44" fmla="*/ 148 w 447"/>
                      <a:gd name="T45" fmla="*/ 434 h 448"/>
                      <a:gd name="T46" fmla="*/ 218 w 447"/>
                      <a:gd name="T47" fmla="*/ 448 h 448"/>
                      <a:gd name="T48" fmla="*/ 226 w 447"/>
                      <a:gd name="T49" fmla="*/ 446 h 448"/>
                      <a:gd name="T50" fmla="*/ 236 w 447"/>
                      <a:gd name="T51" fmla="*/ 434 h 448"/>
                      <a:gd name="T52" fmla="*/ 254 w 447"/>
                      <a:gd name="T53" fmla="*/ 420 h 448"/>
                      <a:gd name="T54" fmla="*/ 298 w 447"/>
                      <a:gd name="T55" fmla="*/ 408 h 448"/>
                      <a:gd name="T56" fmla="*/ 312 w 447"/>
                      <a:gd name="T57" fmla="*/ 422 h 448"/>
                      <a:gd name="T58" fmla="*/ 322 w 447"/>
                      <a:gd name="T59" fmla="*/ 424 h 448"/>
                      <a:gd name="T60" fmla="*/ 380 w 447"/>
                      <a:gd name="T61" fmla="*/ 382 h 448"/>
                      <a:gd name="T62" fmla="*/ 386 w 447"/>
                      <a:gd name="T63" fmla="*/ 366 h 448"/>
                      <a:gd name="T64" fmla="*/ 374 w 447"/>
                      <a:gd name="T65" fmla="*/ 346 h 448"/>
                      <a:gd name="T66" fmla="*/ 418 w 447"/>
                      <a:gd name="T67" fmla="*/ 306 h 448"/>
                      <a:gd name="T68" fmla="*/ 420 w 447"/>
                      <a:gd name="T69" fmla="*/ 306 h 448"/>
                      <a:gd name="T70" fmla="*/ 435 w 447"/>
                      <a:gd name="T71" fmla="*/ 298 h 448"/>
                      <a:gd name="T72" fmla="*/ 447 w 447"/>
                      <a:gd name="T73" fmla="*/ 228 h 448"/>
                      <a:gd name="T74" fmla="*/ 447 w 447"/>
                      <a:gd name="T75" fmla="*/ 220 h 448"/>
                      <a:gd name="T76" fmla="*/ 435 w 447"/>
                      <a:gd name="T77" fmla="*/ 210 h 448"/>
                      <a:gd name="T78" fmla="*/ 406 w 447"/>
                      <a:gd name="T79" fmla="*/ 182 h 448"/>
                      <a:gd name="T80" fmla="*/ 418 w 447"/>
                      <a:gd name="T81" fmla="*/ 142 h 448"/>
                      <a:gd name="T82" fmla="*/ 424 w 447"/>
                      <a:gd name="T83" fmla="*/ 126 h 448"/>
                      <a:gd name="T84" fmla="*/ 382 w 447"/>
                      <a:gd name="T85" fmla="*/ 66 h 448"/>
                      <a:gd name="T86" fmla="*/ 370 w 447"/>
                      <a:gd name="T87" fmla="*/ 60 h 448"/>
                      <a:gd name="T88" fmla="*/ 338 w 447"/>
                      <a:gd name="T89" fmla="*/ 80 h 448"/>
                      <a:gd name="T90" fmla="*/ 302 w 447"/>
                      <a:gd name="T91" fmla="*/ 56 h 448"/>
                      <a:gd name="T92" fmla="*/ 306 w 447"/>
                      <a:gd name="T93" fmla="*/ 24 h 448"/>
                      <a:gd name="T94" fmla="*/ 294 w 447"/>
                      <a:gd name="T95" fmla="*/ 12 h 448"/>
                      <a:gd name="T96" fmla="*/ 228 w 447"/>
                      <a:gd name="T9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7" h="448">
                        <a:moveTo>
                          <a:pt x="226" y="0"/>
                        </a:moveTo>
                        <a:lnTo>
                          <a:pt x="226" y="0"/>
                        </a:lnTo>
                        <a:lnTo>
                          <a:pt x="220" y="2"/>
                        </a:lnTo>
                        <a:lnTo>
                          <a:pt x="216" y="4"/>
                        </a:lnTo>
                        <a:lnTo>
                          <a:pt x="212" y="8"/>
                        </a:lnTo>
                        <a:lnTo>
                          <a:pt x="210" y="12"/>
                        </a:lnTo>
                        <a:lnTo>
                          <a:pt x="206" y="38"/>
                        </a:lnTo>
                        <a:lnTo>
                          <a:pt x="206" y="38"/>
                        </a:lnTo>
                        <a:lnTo>
                          <a:pt x="180" y="42"/>
                        </a:lnTo>
                        <a:lnTo>
                          <a:pt x="156" y="48"/>
                        </a:lnTo>
                        <a:lnTo>
                          <a:pt x="140" y="30"/>
                        </a:lnTo>
                        <a:lnTo>
                          <a:pt x="140" y="30"/>
                        </a:lnTo>
                        <a:lnTo>
                          <a:pt x="136" y="24"/>
                        </a:lnTo>
                        <a:lnTo>
                          <a:pt x="128" y="22"/>
                        </a:lnTo>
                        <a:lnTo>
                          <a:pt x="128" y="22"/>
                        </a:lnTo>
                        <a:lnTo>
                          <a:pt x="124" y="24"/>
                        </a:lnTo>
                        <a:lnTo>
                          <a:pt x="120" y="26"/>
                        </a:lnTo>
                        <a:lnTo>
                          <a:pt x="66" y="66"/>
                        </a:lnTo>
                        <a:lnTo>
                          <a:pt x="66" y="66"/>
                        </a:lnTo>
                        <a:lnTo>
                          <a:pt x="62" y="70"/>
                        </a:lnTo>
                        <a:lnTo>
                          <a:pt x="60" y="76"/>
                        </a:lnTo>
                        <a:lnTo>
                          <a:pt x="60" y="82"/>
                        </a:lnTo>
                        <a:lnTo>
                          <a:pt x="62" y="86"/>
                        </a:lnTo>
                        <a:lnTo>
                          <a:pt x="74" y="102"/>
                        </a:lnTo>
                        <a:lnTo>
                          <a:pt x="74" y="102"/>
                        </a:lnTo>
                        <a:lnTo>
                          <a:pt x="58" y="122"/>
                        </a:lnTo>
                        <a:lnTo>
                          <a:pt x="46" y="144"/>
                        </a:lnTo>
                        <a:lnTo>
                          <a:pt x="28" y="140"/>
                        </a:lnTo>
                        <a:lnTo>
                          <a:pt x="28" y="140"/>
                        </a:lnTo>
                        <a:lnTo>
                          <a:pt x="26" y="140"/>
                        </a:lnTo>
                        <a:lnTo>
                          <a:pt x="26" y="140"/>
                        </a:lnTo>
                        <a:lnTo>
                          <a:pt x="20" y="142"/>
                        </a:lnTo>
                        <a:lnTo>
                          <a:pt x="16" y="144"/>
                        </a:lnTo>
                        <a:lnTo>
                          <a:pt x="12" y="148"/>
                        </a:lnTo>
                        <a:lnTo>
                          <a:pt x="10" y="154"/>
                        </a:lnTo>
                        <a:lnTo>
                          <a:pt x="0" y="218"/>
                        </a:lnTo>
                        <a:lnTo>
                          <a:pt x="0" y="218"/>
                        </a:lnTo>
                        <a:lnTo>
                          <a:pt x="0" y="224"/>
                        </a:lnTo>
                        <a:lnTo>
                          <a:pt x="2" y="230"/>
                        </a:lnTo>
                        <a:lnTo>
                          <a:pt x="6" y="234"/>
                        </a:lnTo>
                        <a:lnTo>
                          <a:pt x="12" y="236"/>
                        </a:lnTo>
                        <a:lnTo>
                          <a:pt x="26" y="240"/>
                        </a:lnTo>
                        <a:lnTo>
                          <a:pt x="26" y="240"/>
                        </a:lnTo>
                        <a:lnTo>
                          <a:pt x="28" y="254"/>
                        </a:lnTo>
                        <a:lnTo>
                          <a:pt x="30" y="270"/>
                        </a:lnTo>
                        <a:lnTo>
                          <a:pt x="34" y="284"/>
                        </a:lnTo>
                        <a:lnTo>
                          <a:pt x="38" y="300"/>
                        </a:lnTo>
                        <a:lnTo>
                          <a:pt x="28" y="306"/>
                        </a:lnTo>
                        <a:lnTo>
                          <a:pt x="28" y="306"/>
                        </a:lnTo>
                        <a:lnTo>
                          <a:pt x="24" y="310"/>
                        </a:lnTo>
                        <a:lnTo>
                          <a:pt x="22" y="316"/>
                        </a:lnTo>
                        <a:lnTo>
                          <a:pt x="22" y="322"/>
                        </a:lnTo>
                        <a:lnTo>
                          <a:pt x="26" y="328"/>
                        </a:lnTo>
                        <a:lnTo>
                          <a:pt x="64" y="382"/>
                        </a:lnTo>
                        <a:lnTo>
                          <a:pt x="64" y="382"/>
                        </a:lnTo>
                        <a:lnTo>
                          <a:pt x="70" y="386"/>
                        </a:lnTo>
                        <a:lnTo>
                          <a:pt x="76" y="388"/>
                        </a:lnTo>
                        <a:lnTo>
                          <a:pt x="76" y="388"/>
                        </a:lnTo>
                        <a:lnTo>
                          <a:pt x="82" y="386"/>
                        </a:lnTo>
                        <a:lnTo>
                          <a:pt x="86" y="384"/>
                        </a:lnTo>
                        <a:lnTo>
                          <a:pt x="94" y="378"/>
                        </a:lnTo>
                        <a:lnTo>
                          <a:pt x="94" y="378"/>
                        </a:lnTo>
                        <a:lnTo>
                          <a:pt x="118" y="394"/>
                        </a:lnTo>
                        <a:lnTo>
                          <a:pt x="142" y="408"/>
                        </a:lnTo>
                        <a:lnTo>
                          <a:pt x="140" y="418"/>
                        </a:lnTo>
                        <a:lnTo>
                          <a:pt x="140" y="418"/>
                        </a:lnTo>
                        <a:lnTo>
                          <a:pt x="140" y="424"/>
                        </a:lnTo>
                        <a:lnTo>
                          <a:pt x="144" y="430"/>
                        </a:lnTo>
                        <a:lnTo>
                          <a:pt x="148" y="434"/>
                        </a:lnTo>
                        <a:lnTo>
                          <a:pt x="154" y="436"/>
                        </a:lnTo>
                        <a:lnTo>
                          <a:pt x="218" y="448"/>
                        </a:lnTo>
                        <a:lnTo>
                          <a:pt x="218" y="448"/>
                        </a:lnTo>
                        <a:lnTo>
                          <a:pt x="220" y="448"/>
                        </a:lnTo>
                        <a:lnTo>
                          <a:pt x="220" y="448"/>
                        </a:lnTo>
                        <a:lnTo>
                          <a:pt x="226" y="446"/>
                        </a:lnTo>
                        <a:lnTo>
                          <a:pt x="230" y="444"/>
                        </a:lnTo>
                        <a:lnTo>
                          <a:pt x="234" y="440"/>
                        </a:lnTo>
                        <a:lnTo>
                          <a:pt x="236" y="434"/>
                        </a:lnTo>
                        <a:lnTo>
                          <a:pt x="238" y="422"/>
                        </a:lnTo>
                        <a:lnTo>
                          <a:pt x="238" y="422"/>
                        </a:lnTo>
                        <a:lnTo>
                          <a:pt x="254" y="420"/>
                        </a:lnTo>
                        <a:lnTo>
                          <a:pt x="268" y="418"/>
                        </a:lnTo>
                        <a:lnTo>
                          <a:pt x="282" y="412"/>
                        </a:lnTo>
                        <a:lnTo>
                          <a:pt x="298" y="408"/>
                        </a:lnTo>
                        <a:lnTo>
                          <a:pt x="306" y="418"/>
                        </a:lnTo>
                        <a:lnTo>
                          <a:pt x="306" y="418"/>
                        </a:lnTo>
                        <a:lnTo>
                          <a:pt x="312" y="422"/>
                        </a:lnTo>
                        <a:lnTo>
                          <a:pt x="318" y="424"/>
                        </a:lnTo>
                        <a:lnTo>
                          <a:pt x="318" y="424"/>
                        </a:lnTo>
                        <a:lnTo>
                          <a:pt x="322" y="424"/>
                        </a:lnTo>
                        <a:lnTo>
                          <a:pt x="328" y="422"/>
                        </a:lnTo>
                        <a:lnTo>
                          <a:pt x="380" y="382"/>
                        </a:lnTo>
                        <a:lnTo>
                          <a:pt x="380" y="382"/>
                        </a:lnTo>
                        <a:lnTo>
                          <a:pt x="384" y="378"/>
                        </a:lnTo>
                        <a:lnTo>
                          <a:pt x="386" y="372"/>
                        </a:lnTo>
                        <a:lnTo>
                          <a:pt x="386" y="366"/>
                        </a:lnTo>
                        <a:lnTo>
                          <a:pt x="384" y="360"/>
                        </a:lnTo>
                        <a:lnTo>
                          <a:pt x="374" y="346"/>
                        </a:lnTo>
                        <a:lnTo>
                          <a:pt x="374" y="346"/>
                        </a:lnTo>
                        <a:lnTo>
                          <a:pt x="388" y="326"/>
                        </a:lnTo>
                        <a:lnTo>
                          <a:pt x="398" y="302"/>
                        </a:lnTo>
                        <a:lnTo>
                          <a:pt x="418" y="306"/>
                        </a:lnTo>
                        <a:lnTo>
                          <a:pt x="418" y="306"/>
                        </a:lnTo>
                        <a:lnTo>
                          <a:pt x="420" y="306"/>
                        </a:lnTo>
                        <a:lnTo>
                          <a:pt x="420" y="306"/>
                        </a:lnTo>
                        <a:lnTo>
                          <a:pt x="426" y="306"/>
                        </a:lnTo>
                        <a:lnTo>
                          <a:pt x="430" y="302"/>
                        </a:lnTo>
                        <a:lnTo>
                          <a:pt x="435" y="298"/>
                        </a:lnTo>
                        <a:lnTo>
                          <a:pt x="437" y="294"/>
                        </a:lnTo>
                        <a:lnTo>
                          <a:pt x="447" y="228"/>
                        </a:lnTo>
                        <a:lnTo>
                          <a:pt x="447" y="228"/>
                        </a:lnTo>
                        <a:lnTo>
                          <a:pt x="447" y="226"/>
                        </a:lnTo>
                        <a:lnTo>
                          <a:pt x="447" y="226"/>
                        </a:lnTo>
                        <a:lnTo>
                          <a:pt x="447" y="220"/>
                        </a:lnTo>
                        <a:lnTo>
                          <a:pt x="443" y="216"/>
                        </a:lnTo>
                        <a:lnTo>
                          <a:pt x="439" y="212"/>
                        </a:lnTo>
                        <a:lnTo>
                          <a:pt x="435" y="210"/>
                        </a:lnTo>
                        <a:lnTo>
                          <a:pt x="410" y="206"/>
                        </a:lnTo>
                        <a:lnTo>
                          <a:pt x="410" y="206"/>
                        </a:lnTo>
                        <a:lnTo>
                          <a:pt x="406" y="182"/>
                        </a:lnTo>
                        <a:lnTo>
                          <a:pt x="396" y="156"/>
                        </a:lnTo>
                        <a:lnTo>
                          <a:pt x="418" y="142"/>
                        </a:lnTo>
                        <a:lnTo>
                          <a:pt x="418" y="142"/>
                        </a:lnTo>
                        <a:lnTo>
                          <a:pt x="422" y="136"/>
                        </a:lnTo>
                        <a:lnTo>
                          <a:pt x="424" y="132"/>
                        </a:lnTo>
                        <a:lnTo>
                          <a:pt x="424" y="126"/>
                        </a:lnTo>
                        <a:lnTo>
                          <a:pt x="420" y="120"/>
                        </a:lnTo>
                        <a:lnTo>
                          <a:pt x="382" y="66"/>
                        </a:lnTo>
                        <a:lnTo>
                          <a:pt x="382" y="66"/>
                        </a:lnTo>
                        <a:lnTo>
                          <a:pt x="376" y="62"/>
                        </a:lnTo>
                        <a:lnTo>
                          <a:pt x="370" y="60"/>
                        </a:lnTo>
                        <a:lnTo>
                          <a:pt x="370" y="60"/>
                        </a:lnTo>
                        <a:lnTo>
                          <a:pt x="364" y="60"/>
                        </a:lnTo>
                        <a:lnTo>
                          <a:pt x="360" y="64"/>
                        </a:lnTo>
                        <a:lnTo>
                          <a:pt x="338" y="80"/>
                        </a:lnTo>
                        <a:lnTo>
                          <a:pt x="338" y="80"/>
                        </a:lnTo>
                        <a:lnTo>
                          <a:pt x="320" y="66"/>
                        </a:lnTo>
                        <a:lnTo>
                          <a:pt x="302" y="56"/>
                        </a:lnTo>
                        <a:lnTo>
                          <a:pt x="306" y="30"/>
                        </a:lnTo>
                        <a:lnTo>
                          <a:pt x="306" y="30"/>
                        </a:lnTo>
                        <a:lnTo>
                          <a:pt x="306" y="24"/>
                        </a:lnTo>
                        <a:lnTo>
                          <a:pt x="304" y="18"/>
                        </a:lnTo>
                        <a:lnTo>
                          <a:pt x="298" y="14"/>
                        </a:lnTo>
                        <a:lnTo>
                          <a:pt x="294" y="12"/>
                        </a:lnTo>
                        <a:lnTo>
                          <a:pt x="286" y="10"/>
                        </a:lnTo>
                        <a:lnTo>
                          <a:pt x="228" y="0"/>
                        </a:lnTo>
                        <a:lnTo>
                          <a:pt x="228" y="0"/>
                        </a:lnTo>
                        <a:lnTo>
                          <a:pt x="2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8" name="Freeform 317"/>
                  <p:cNvSpPr>
                    <a:spLocks noEditPoints="1"/>
                  </p:cNvSpPr>
                  <p:nvPr/>
                </p:nvSpPr>
                <p:spPr bwMode="auto">
                  <a:xfrm>
                    <a:off x="6641376" y="3471045"/>
                    <a:ext cx="321361" cy="324131"/>
                  </a:xfrm>
                  <a:custGeom>
                    <a:avLst/>
                    <a:gdLst>
                      <a:gd name="T0" fmla="*/ 104 w 232"/>
                      <a:gd name="T1" fmla="*/ 174 h 234"/>
                      <a:gd name="T2" fmla="*/ 80 w 232"/>
                      <a:gd name="T3" fmla="*/ 164 h 234"/>
                      <a:gd name="T4" fmla="*/ 64 w 232"/>
                      <a:gd name="T5" fmla="*/ 146 h 234"/>
                      <a:gd name="T6" fmla="*/ 58 w 232"/>
                      <a:gd name="T7" fmla="*/ 126 h 234"/>
                      <a:gd name="T8" fmla="*/ 64 w 232"/>
                      <a:gd name="T9" fmla="*/ 96 h 234"/>
                      <a:gd name="T10" fmla="*/ 84 w 232"/>
                      <a:gd name="T11" fmla="*/ 72 h 234"/>
                      <a:gd name="T12" fmla="*/ 104 w 232"/>
                      <a:gd name="T13" fmla="*/ 66 h 234"/>
                      <a:gd name="T14" fmla="*/ 120 w 232"/>
                      <a:gd name="T15" fmla="*/ 66 h 234"/>
                      <a:gd name="T16" fmla="*/ 144 w 232"/>
                      <a:gd name="T17" fmla="*/ 76 h 234"/>
                      <a:gd name="T18" fmla="*/ 160 w 232"/>
                      <a:gd name="T19" fmla="*/ 94 h 234"/>
                      <a:gd name="T20" fmla="*/ 166 w 232"/>
                      <a:gd name="T21" fmla="*/ 114 h 234"/>
                      <a:gd name="T22" fmla="*/ 162 w 232"/>
                      <a:gd name="T23" fmla="*/ 144 h 234"/>
                      <a:gd name="T24" fmla="*/ 140 w 232"/>
                      <a:gd name="T25" fmla="*/ 168 h 234"/>
                      <a:gd name="T26" fmla="*/ 122 w 232"/>
                      <a:gd name="T27" fmla="*/ 174 h 234"/>
                      <a:gd name="T28" fmla="*/ 98 w 232"/>
                      <a:gd name="T29" fmla="*/ 0 h 234"/>
                      <a:gd name="T30" fmla="*/ 62 w 232"/>
                      <a:gd name="T31" fmla="*/ 12 h 234"/>
                      <a:gd name="T32" fmla="*/ 56 w 232"/>
                      <a:gd name="T33" fmla="*/ 20 h 234"/>
                      <a:gd name="T34" fmla="*/ 60 w 232"/>
                      <a:gd name="T35" fmla="*/ 32 h 234"/>
                      <a:gd name="T36" fmla="*/ 32 w 232"/>
                      <a:gd name="T37" fmla="*/ 44 h 234"/>
                      <a:gd name="T38" fmla="*/ 28 w 232"/>
                      <a:gd name="T39" fmla="*/ 44 h 234"/>
                      <a:gd name="T40" fmla="*/ 4 w 232"/>
                      <a:gd name="T41" fmla="*/ 80 h 234"/>
                      <a:gd name="T42" fmla="*/ 4 w 232"/>
                      <a:gd name="T43" fmla="*/ 86 h 234"/>
                      <a:gd name="T44" fmla="*/ 14 w 232"/>
                      <a:gd name="T45" fmla="*/ 94 h 234"/>
                      <a:gd name="T46" fmla="*/ 10 w 232"/>
                      <a:gd name="T47" fmla="*/ 126 h 234"/>
                      <a:gd name="T48" fmla="*/ 2 w 232"/>
                      <a:gd name="T49" fmla="*/ 130 h 234"/>
                      <a:gd name="T50" fmla="*/ 0 w 232"/>
                      <a:gd name="T51" fmla="*/ 138 h 234"/>
                      <a:gd name="T52" fmla="*/ 14 w 232"/>
                      <a:gd name="T53" fmla="*/ 176 h 234"/>
                      <a:gd name="T54" fmla="*/ 22 w 232"/>
                      <a:gd name="T55" fmla="*/ 176 h 234"/>
                      <a:gd name="T56" fmla="*/ 36 w 232"/>
                      <a:gd name="T57" fmla="*/ 186 h 234"/>
                      <a:gd name="T58" fmla="*/ 44 w 232"/>
                      <a:gd name="T59" fmla="*/ 202 h 234"/>
                      <a:gd name="T60" fmla="*/ 44 w 232"/>
                      <a:gd name="T61" fmla="*/ 210 h 234"/>
                      <a:gd name="T62" fmla="*/ 78 w 232"/>
                      <a:gd name="T63" fmla="*/ 228 h 234"/>
                      <a:gd name="T64" fmla="*/ 86 w 232"/>
                      <a:gd name="T65" fmla="*/ 228 h 234"/>
                      <a:gd name="T66" fmla="*/ 92 w 232"/>
                      <a:gd name="T67" fmla="*/ 220 h 234"/>
                      <a:gd name="T68" fmla="*/ 124 w 232"/>
                      <a:gd name="T69" fmla="*/ 222 h 234"/>
                      <a:gd name="T70" fmla="*/ 130 w 232"/>
                      <a:gd name="T71" fmla="*/ 232 h 234"/>
                      <a:gd name="T72" fmla="*/ 136 w 232"/>
                      <a:gd name="T73" fmla="*/ 234 h 234"/>
                      <a:gd name="T74" fmla="*/ 172 w 232"/>
                      <a:gd name="T75" fmla="*/ 220 h 234"/>
                      <a:gd name="T76" fmla="*/ 174 w 232"/>
                      <a:gd name="T77" fmla="*/ 212 h 234"/>
                      <a:gd name="T78" fmla="*/ 182 w 232"/>
                      <a:gd name="T79" fmla="*/ 194 h 234"/>
                      <a:gd name="T80" fmla="*/ 200 w 232"/>
                      <a:gd name="T81" fmla="*/ 190 h 234"/>
                      <a:gd name="T82" fmla="*/ 208 w 232"/>
                      <a:gd name="T83" fmla="*/ 190 h 234"/>
                      <a:gd name="T84" fmla="*/ 228 w 232"/>
                      <a:gd name="T85" fmla="*/ 156 h 234"/>
                      <a:gd name="T86" fmla="*/ 226 w 232"/>
                      <a:gd name="T87" fmla="*/ 146 h 234"/>
                      <a:gd name="T88" fmla="*/ 212 w 232"/>
                      <a:gd name="T89" fmla="*/ 138 h 234"/>
                      <a:gd name="T90" fmla="*/ 226 w 232"/>
                      <a:gd name="T91" fmla="*/ 106 h 234"/>
                      <a:gd name="T92" fmla="*/ 232 w 232"/>
                      <a:gd name="T93" fmla="*/ 102 h 234"/>
                      <a:gd name="T94" fmla="*/ 220 w 232"/>
                      <a:gd name="T95" fmla="*/ 64 h 234"/>
                      <a:gd name="T96" fmla="*/ 212 w 232"/>
                      <a:gd name="T97" fmla="*/ 58 h 234"/>
                      <a:gd name="T98" fmla="*/ 196 w 232"/>
                      <a:gd name="T99" fmla="*/ 62 h 234"/>
                      <a:gd name="T100" fmla="*/ 182 w 232"/>
                      <a:gd name="T101" fmla="*/ 46 h 234"/>
                      <a:gd name="T102" fmla="*/ 190 w 232"/>
                      <a:gd name="T103" fmla="*/ 30 h 234"/>
                      <a:gd name="T104" fmla="*/ 184 w 232"/>
                      <a:gd name="T105" fmla="*/ 22 h 234"/>
                      <a:gd name="T106" fmla="*/ 150 w 232"/>
                      <a:gd name="T107" fmla="*/ 4 h 234"/>
                      <a:gd name="T108" fmla="*/ 142 w 232"/>
                      <a:gd name="T109" fmla="*/ 10 h 234"/>
                      <a:gd name="T110" fmla="*/ 124 w 232"/>
                      <a:gd name="T111" fmla="*/ 20 h 234"/>
                      <a:gd name="T112" fmla="*/ 110 w 232"/>
                      <a:gd name="T113" fmla="*/ 18 h 234"/>
                      <a:gd name="T114" fmla="*/ 102 w 232"/>
                      <a:gd name="T115" fmla="*/ 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34">
                        <a:moveTo>
                          <a:pt x="112" y="174"/>
                        </a:moveTo>
                        <a:lnTo>
                          <a:pt x="112" y="174"/>
                        </a:lnTo>
                        <a:lnTo>
                          <a:pt x="104" y="174"/>
                        </a:lnTo>
                        <a:lnTo>
                          <a:pt x="96" y="172"/>
                        </a:lnTo>
                        <a:lnTo>
                          <a:pt x="88" y="170"/>
                        </a:lnTo>
                        <a:lnTo>
                          <a:pt x="80" y="164"/>
                        </a:lnTo>
                        <a:lnTo>
                          <a:pt x="74" y="160"/>
                        </a:lnTo>
                        <a:lnTo>
                          <a:pt x="68" y="154"/>
                        </a:lnTo>
                        <a:lnTo>
                          <a:pt x="64" y="146"/>
                        </a:lnTo>
                        <a:lnTo>
                          <a:pt x="60" y="138"/>
                        </a:lnTo>
                        <a:lnTo>
                          <a:pt x="60" y="138"/>
                        </a:lnTo>
                        <a:lnTo>
                          <a:pt x="58" y="126"/>
                        </a:lnTo>
                        <a:lnTo>
                          <a:pt x="58" y="116"/>
                        </a:lnTo>
                        <a:lnTo>
                          <a:pt x="60" y="106"/>
                        </a:lnTo>
                        <a:lnTo>
                          <a:pt x="64" y="96"/>
                        </a:lnTo>
                        <a:lnTo>
                          <a:pt x="68" y="88"/>
                        </a:lnTo>
                        <a:lnTo>
                          <a:pt x="76" y="80"/>
                        </a:lnTo>
                        <a:lnTo>
                          <a:pt x="84" y="72"/>
                        </a:lnTo>
                        <a:lnTo>
                          <a:pt x="94" y="68"/>
                        </a:lnTo>
                        <a:lnTo>
                          <a:pt x="94" y="68"/>
                        </a:lnTo>
                        <a:lnTo>
                          <a:pt x="104" y="66"/>
                        </a:lnTo>
                        <a:lnTo>
                          <a:pt x="112" y="66"/>
                        </a:lnTo>
                        <a:lnTo>
                          <a:pt x="112" y="66"/>
                        </a:lnTo>
                        <a:lnTo>
                          <a:pt x="120" y="66"/>
                        </a:lnTo>
                        <a:lnTo>
                          <a:pt x="130" y="68"/>
                        </a:lnTo>
                        <a:lnTo>
                          <a:pt x="136" y="72"/>
                        </a:lnTo>
                        <a:lnTo>
                          <a:pt x="144" y="76"/>
                        </a:lnTo>
                        <a:lnTo>
                          <a:pt x="150" y="80"/>
                        </a:lnTo>
                        <a:lnTo>
                          <a:pt x="156" y="88"/>
                        </a:lnTo>
                        <a:lnTo>
                          <a:pt x="160" y="94"/>
                        </a:lnTo>
                        <a:lnTo>
                          <a:pt x="164" y="102"/>
                        </a:lnTo>
                        <a:lnTo>
                          <a:pt x="164" y="102"/>
                        </a:lnTo>
                        <a:lnTo>
                          <a:pt x="166" y="114"/>
                        </a:lnTo>
                        <a:lnTo>
                          <a:pt x="168" y="124"/>
                        </a:lnTo>
                        <a:lnTo>
                          <a:pt x="166" y="134"/>
                        </a:lnTo>
                        <a:lnTo>
                          <a:pt x="162" y="144"/>
                        </a:lnTo>
                        <a:lnTo>
                          <a:pt x="156" y="154"/>
                        </a:lnTo>
                        <a:lnTo>
                          <a:pt x="148" y="162"/>
                        </a:lnTo>
                        <a:lnTo>
                          <a:pt x="140" y="168"/>
                        </a:lnTo>
                        <a:lnTo>
                          <a:pt x="130" y="172"/>
                        </a:lnTo>
                        <a:lnTo>
                          <a:pt x="130" y="172"/>
                        </a:lnTo>
                        <a:lnTo>
                          <a:pt x="122" y="174"/>
                        </a:lnTo>
                        <a:lnTo>
                          <a:pt x="112" y="174"/>
                        </a:lnTo>
                        <a:close/>
                        <a:moveTo>
                          <a:pt x="98" y="0"/>
                        </a:move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8" y="44"/>
                        </a:lnTo>
                        <a:lnTo>
                          <a:pt x="24" y="44"/>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4" y="176"/>
                        </a:lnTo>
                        <a:lnTo>
                          <a:pt x="18"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2" y="230"/>
                        </a:lnTo>
                        <a:lnTo>
                          <a:pt x="82" y="230"/>
                        </a:lnTo>
                        <a:lnTo>
                          <a:pt x="86" y="228"/>
                        </a:lnTo>
                        <a:lnTo>
                          <a:pt x="88" y="226"/>
                        </a:lnTo>
                        <a:lnTo>
                          <a:pt x="92" y="220"/>
                        </a:lnTo>
                        <a:lnTo>
                          <a:pt x="92" y="220"/>
                        </a:lnTo>
                        <a:lnTo>
                          <a:pt x="112" y="222"/>
                        </a:lnTo>
                        <a:lnTo>
                          <a:pt x="112" y="222"/>
                        </a:lnTo>
                        <a:lnTo>
                          <a:pt x="124" y="222"/>
                        </a:lnTo>
                        <a:lnTo>
                          <a:pt x="126" y="228"/>
                        </a:lnTo>
                        <a:lnTo>
                          <a:pt x="126" y="228"/>
                        </a:lnTo>
                        <a:lnTo>
                          <a:pt x="130" y="232"/>
                        </a:lnTo>
                        <a:lnTo>
                          <a:pt x="134" y="234"/>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4" y="190"/>
                        </a:lnTo>
                        <a:lnTo>
                          <a:pt x="208" y="190"/>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20" y="64"/>
                        </a:lnTo>
                        <a:lnTo>
                          <a:pt x="220" y="64"/>
                        </a:lnTo>
                        <a:lnTo>
                          <a:pt x="218" y="60"/>
                        </a:lnTo>
                        <a:lnTo>
                          <a:pt x="212" y="58"/>
                        </a:lnTo>
                        <a:lnTo>
                          <a:pt x="212"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50" y="4"/>
                        </a:lnTo>
                        <a:lnTo>
                          <a:pt x="146" y="6"/>
                        </a:lnTo>
                        <a:lnTo>
                          <a:pt x="142" y="10"/>
                        </a:lnTo>
                        <a:lnTo>
                          <a:pt x="136" y="22"/>
                        </a:lnTo>
                        <a:lnTo>
                          <a:pt x="136" y="22"/>
                        </a:lnTo>
                        <a:lnTo>
                          <a:pt x="124" y="20"/>
                        </a:lnTo>
                        <a:lnTo>
                          <a:pt x="112" y="18"/>
                        </a:lnTo>
                        <a:lnTo>
                          <a:pt x="112" y="18"/>
                        </a:lnTo>
                        <a:lnTo>
                          <a:pt x="110" y="18"/>
                        </a:lnTo>
                        <a:lnTo>
                          <a:pt x="106" y="6"/>
                        </a:lnTo>
                        <a:lnTo>
                          <a:pt x="106" y="6"/>
                        </a:lnTo>
                        <a:lnTo>
                          <a:pt x="102" y="2"/>
                        </a:lnTo>
                        <a:lnTo>
                          <a:pt x="98" y="0"/>
                        </a:lnTo>
                        <a:close/>
                      </a:path>
                    </a:pathLst>
                  </a:custGeom>
                  <a:solidFill>
                    <a:srgbClr val="409B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59" name="Freeform 318"/>
                  <p:cNvSpPr/>
                  <p:nvPr/>
                </p:nvSpPr>
                <p:spPr bwMode="auto">
                  <a:xfrm>
                    <a:off x="6721717" y="3562466"/>
                    <a:ext cx="152369" cy="149599"/>
                  </a:xfrm>
                  <a:custGeom>
                    <a:avLst/>
                    <a:gdLst>
                      <a:gd name="T0" fmla="*/ 54 w 110"/>
                      <a:gd name="T1" fmla="*/ 108 h 108"/>
                      <a:gd name="T2" fmla="*/ 54 w 110"/>
                      <a:gd name="T3" fmla="*/ 108 h 108"/>
                      <a:gd name="T4" fmla="*/ 46 w 110"/>
                      <a:gd name="T5" fmla="*/ 108 h 108"/>
                      <a:gd name="T6" fmla="*/ 38 w 110"/>
                      <a:gd name="T7" fmla="*/ 106 h 108"/>
                      <a:gd name="T8" fmla="*/ 30 w 110"/>
                      <a:gd name="T9" fmla="*/ 104 h 108"/>
                      <a:gd name="T10" fmla="*/ 22 w 110"/>
                      <a:gd name="T11" fmla="*/ 98 h 108"/>
                      <a:gd name="T12" fmla="*/ 16 w 110"/>
                      <a:gd name="T13" fmla="*/ 94 h 108"/>
                      <a:gd name="T14" fmla="*/ 10 w 110"/>
                      <a:gd name="T15" fmla="*/ 88 h 108"/>
                      <a:gd name="T16" fmla="*/ 6 w 110"/>
                      <a:gd name="T17" fmla="*/ 80 h 108"/>
                      <a:gd name="T18" fmla="*/ 2 w 110"/>
                      <a:gd name="T19" fmla="*/ 72 h 108"/>
                      <a:gd name="T20" fmla="*/ 2 w 110"/>
                      <a:gd name="T21" fmla="*/ 72 h 108"/>
                      <a:gd name="T22" fmla="*/ 0 w 110"/>
                      <a:gd name="T23" fmla="*/ 60 h 108"/>
                      <a:gd name="T24" fmla="*/ 0 w 110"/>
                      <a:gd name="T25" fmla="*/ 50 h 108"/>
                      <a:gd name="T26" fmla="*/ 2 w 110"/>
                      <a:gd name="T27" fmla="*/ 40 h 108"/>
                      <a:gd name="T28" fmla="*/ 6 w 110"/>
                      <a:gd name="T29" fmla="*/ 30 h 108"/>
                      <a:gd name="T30" fmla="*/ 10 w 110"/>
                      <a:gd name="T31" fmla="*/ 22 h 108"/>
                      <a:gd name="T32" fmla="*/ 18 w 110"/>
                      <a:gd name="T33" fmla="*/ 14 h 108"/>
                      <a:gd name="T34" fmla="*/ 26 w 110"/>
                      <a:gd name="T35" fmla="*/ 6 h 108"/>
                      <a:gd name="T36" fmla="*/ 36 w 110"/>
                      <a:gd name="T37" fmla="*/ 2 h 108"/>
                      <a:gd name="T38" fmla="*/ 36 w 110"/>
                      <a:gd name="T39" fmla="*/ 2 h 108"/>
                      <a:gd name="T40" fmla="*/ 46 w 110"/>
                      <a:gd name="T41" fmla="*/ 0 h 108"/>
                      <a:gd name="T42" fmla="*/ 54 w 110"/>
                      <a:gd name="T43" fmla="*/ 0 h 108"/>
                      <a:gd name="T44" fmla="*/ 54 w 110"/>
                      <a:gd name="T45" fmla="*/ 0 h 108"/>
                      <a:gd name="T46" fmla="*/ 62 w 110"/>
                      <a:gd name="T47" fmla="*/ 0 h 108"/>
                      <a:gd name="T48" fmla="*/ 72 w 110"/>
                      <a:gd name="T49" fmla="*/ 2 h 108"/>
                      <a:gd name="T50" fmla="*/ 78 w 110"/>
                      <a:gd name="T51" fmla="*/ 6 h 108"/>
                      <a:gd name="T52" fmla="*/ 86 w 110"/>
                      <a:gd name="T53" fmla="*/ 10 h 108"/>
                      <a:gd name="T54" fmla="*/ 92 w 110"/>
                      <a:gd name="T55" fmla="*/ 14 h 108"/>
                      <a:gd name="T56" fmla="*/ 98 w 110"/>
                      <a:gd name="T57" fmla="*/ 22 h 108"/>
                      <a:gd name="T58" fmla="*/ 102 w 110"/>
                      <a:gd name="T59" fmla="*/ 28 h 108"/>
                      <a:gd name="T60" fmla="*/ 106 w 110"/>
                      <a:gd name="T61" fmla="*/ 36 h 108"/>
                      <a:gd name="T62" fmla="*/ 106 w 110"/>
                      <a:gd name="T63" fmla="*/ 36 h 108"/>
                      <a:gd name="T64" fmla="*/ 108 w 110"/>
                      <a:gd name="T65" fmla="*/ 48 h 108"/>
                      <a:gd name="T66" fmla="*/ 110 w 110"/>
                      <a:gd name="T67" fmla="*/ 58 h 108"/>
                      <a:gd name="T68" fmla="*/ 108 w 110"/>
                      <a:gd name="T69" fmla="*/ 68 h 108"/>
                      <a:gd name="T70" fmla="*/ 104 w 110"/>
                      <a:gd name="T71" fmla="*/ 78 h 108"/>
                      <a:gd name="T72" fmla="*/ 98 w 110"/>
                      <a:gd name="T73" fmla="*/ 88 h 108"/>
                      <a:gd name="T74" fmla="*/ 90 w 110"/>
                      <a:gd name="T75" fmla="*/ 96 h 108"/>
                      <a:gd name="T76" fmla="*/ 82 w 110"/>
                      <a:gd name="T77" fmla="*/ 102 h 108"/>
                      <a:gd name="T78" fmla="*/ 72 w 110"/>
                      <a:gd name="T79" fmla="*/ 106 h 108"/>
                      <a:gd name="T80" fmla="*/ 72 w 110"/>
                      <a:gd name="T81" fmla="*/ 106 h 108"/>
                      <a:gd name="T82" fmla="*/ 64 w 110"/>
                      <a:gd name="T83" fmla="*/ 108 h 108"/>
                      <a:gd name="T84" fmla="*/ 54 w 110"/>
                      <a:gd name="T8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108">
                        <a:moveTo>
                          <a:pt x="54" y="108"/>
                        </a:moveTo>
                        <a:lnTo>
                          <a:pt x="54" y="108"/>
                        </a:lnTo>
                        <a:lnTo>
                          <a:pt x="46" y="108"/>
                        </a:lnTo>
                        <a:lnTo>
                          <a:pt x="38" y="106"/>
                        </a:lnTo>
                        <a:lnTo>
                          <a:pt x="30" y="104"/>
                        </a:lnTo>
                        <a:lnTo>
                          <a:pt x="22" y="98"/>
                        </a:lnTo>
                        <a:lnTo>
                          <a:pt x="16" y="94"/>
                        </a:lnTo>
                        <a:lnTo>
                          <a:pt x="10" y="88"/>
                        </a:lnTo>
                        <a:lnTo>
                          <a:pt x="6" y="80"/>
                        </a:lnTo>
                        <a:lnTo>
                          <a:pt x="2" y="72"/>
                        </a:lnTo>
                        <a:lnTo>
                          <a:pt x="2" y="72"/>
                        </a:lnTo>
                        <a:lnTo>
                          <a:pt x="0" y="60"/>
                        </a:lnTo>
                        <a:lnTo>
                          <a:pt x="0" y="50"/>
                        </a:lnTo>
                        <a:lnTo>
                          <a:pt x="2" y="40"/>
                        </a:lnTo>
                        <a:lnTo>
                          <a:pt x="6" y="30"/>
                        </a:lnTo>
                        <a:lnTo>
                          <a:pt x="10" y="22"/>
                        </a:lnTo>
                        <a:lnTo>
                          <a:pt x="18" y="14"/>
                        </a:lnTo>
                        <a:lnTo>
                          <a:pt x="26" y="6"/>
                        </a:lnTo>
                        <a:lnTo>
                          <a:pt x="36" y="2"/>
                        </a:lnTo>
                        <a:lnTo>
                          <a:pt x="36" y="2"/>
                        </a:lnTo>
                        <a:lnTo>
                          <a:pt x="46" y="0"/>
                        </a:lnTo>
                        <a:lnTo>
                          <a:pt x="54" y="0"/>
                        </a:lnTo>
                        <a:lnTo>
                          <a:pt x="54" y="0"/>
                        </a:lnTo>
                        <a:lnTo>
                          <a:pt x="62" y="0"/>
                        </a:lnTo>
                        <a:lnTo>
                          <a:pt x="72" y="2"/>
                        </a:lnTo>
                        <a:lnTo>
                          <a:pt x="78" y="6"/>
                        </a:lnTo>
                        <a:lnTo>
                          <a:pt x="86" y="10"/>
                        </a:lnTo>
                        <a:lnTo>
                          <a:pt x="92" y="14"/>
                        </a:lnTo>
                        <a:lnTo>
                          <a:pt x="98" y="22"/>
                        </a:lnTo>
                        <a:lnTo>
                          <a:pt x="102" y="28"/>
                        </a:lnTo>
                        <a:lnTo>
                          <a:pt x="106" y="36"/>
                        </a:lnTo>
                        <a:lnTo>
                          <a:pt x="106" y="36"/>
                        </a:lnTo>
                        <a:lnTo>
                          <a:pt x="108" y="48"/>
                        </a:lnTo>
                        <a:lnTo>
                          <a:pt x="110" y="58"/>
                        </a:lnTo>
                        <a:lnTo>
                          <a:pt x="108" y="68"/>
                        </a:lnTo>
                        <a:lnTo>
                          <a:pt x="104" y="78"/>
                        </a:lnTo>
                        <a:lnTo>
                          <a:pt x="98" y="88"/>
                        </a:lnTo>
                        <a:lnTo>
                          <a:pt x="90" y="96"/>
                        </a:lnTo>
                        <a:lnTo>
                          <a:pt x="82" y="102"/>
                        </a:lnTo>
                        <a:lnTo>
                          <a:pt x="72" y="106"/>
                        </a:lnTo>
                        <a:lnTo>
                          <a:pt x="72" y="106"/>
                        </a:lnTo>
                        <a:lnTo>
                          <a:pt x="64" y="108"/>
                        </a:lnTo>
                        <a:lnTo>
                          <a:pt x="54"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0" name="Freeform 319"/>
                  <p:cNvSpPr/>
                  <p:nvPr/>
                </p:nvSpPr>
                <p:spPr bwMode="auto">
                  <a:xfrm>
                    <a:off x="6641376" y="3471045"/>
                    <a:ext cx="321361" cy="324131"/>
                  </a:xfrm>
                  <a:custGeom>
                    <a:avLst/>
                    <a:gdLst>
                      <a:gd name="T0" fmla="*/ 94 w 232"/>
                      <a:gd name="T1" fmla="*/ 2 h 234"/>
                      <a:gd name="T2" fmla="*/ 58 w 232"/>
                      <a:gd name="T3" fmla="*/ 14 h 234"/>
                      <a:gd name="T4" fmla="*/ 56 w 232"/>
                      <a:gd name="T5" fmla="*/ 22 h 234"/>
                      <a:gd name="T6" fmla="*/ 50 w 232"/>
                      <a:gd name="T7" fmla="*/ 40 h 234"/>
                      <a:gd name="T8" fmla="*/ 32 w 232"/>
                      <a:gd name="T9" fmla="*/ 44 h 234"/>
                      <a:gd name="T10" fmla="*/ 24 w 232"/>
                      <a:gd name="T11" fmla="*/ 44 h 234"/>
                      <a:gd name="T12" fmla="*/ 4 w 232"/>
                      <a:gd name="T13" fmla="*/ 80 h 234"/>
                      <a:gd name="T14" fmla="*/ 6 w 232"/>
                      <a:gd name="T15" fmla="*/ 88 h 234"/>
                      <a:gd name="T16" fmla="*/ 14 w 232"/>
                      <a:gd name="T17" fmla="*/ 94 h 234"/>
                      <a:gd name="T18" fmla="*/ 4 w 232"/>
                      <a:gd name="T19" fmla="*/ 128 h 234"/>
                      <a:gd name="T20" fmla="*/ 0 w 232"/>
                      <a:gd name="T21" fmla="*/ 132 h 234"/>
                      <a:gd name="T22" fmla="*/ 10 w 232"/>
                      <a:gd name="T23" fmla="*/ 172 h 234"/>
                      <a:gd name="T24" fmla="*/ 18 w 232"/>
                      <a:gd name="T25" fmla="*/ 176 h 234"/>
                      <a:gd name="T26" fmla="*/ 26 w 232"/>
                      <a:gd name="T27" fmla="*/ 174 h 234"/>
                      <a:gd name="T28" fmla="*/ 46 w 232"/>
                      <a:gd name="T29" fmla="*/ 198 h 234"/>
                      <a:gd name="T30" fmla="*/ 42 w 232"/>
                      <a:gd name="T31" fmla="*/ 204 h 234"/>
                      <a:gd name="T32" fmla="*/ 46 w 232"/>
                      <a:gd name="T33" fmla="*/ 212 h 234"/>
                      <a:gd name="T34" fmla="*/ 82 w 232"/>
                      <a:gd name="T35" fmla="*/ 230 h 234"/>
                      <a:gd name="T36" fmla="*/ 88 w 232"/>
                      <a:gd name="T37" fmla="*/ 226 h 234"/>
                      <a:gd name="T38" fmla="*/ 112 w 232"/>
                      <a:gd name="T39" fmla="*/ 222 h 234"/>
                      <a:gd name="T40" fmla="*/ 126 w 232"/>
                      <a:gd name="T41" fmla="*/ 228 h 234"/>
                      <a:gd name="T42" fmla="*/ 134 w 232"/>
                      <a:gd name="T43" fmla="*/ 234 h 234"/>
                      <a:gd name="T44" fmla="*/ 170 w 232"/>
                      <a:gd name="T45" fmla="*/ 222 h 234"/>
                      <a:gd name="T46" fmla="*/ 174 w 232"/>
                      <a:gd name="T47" fmla="*/ 218 h 234"/>
                      <a:gd name="T48" fmla="*/ 172 w 232"/>
                      <a:gd name="T49" fmla="*/ 202 h 234"/>
                      <a:gd name="T50" fmla="*/ 192 w 232"/>
                      <a:gd name="T51" fmla="*/ 184 h 234"/>
                      <a:gd name="T52" fmla="*/ 204 w 232"/>
                      <a:gd name="T53" fmla="*/ 190 h 234"/>
                      <a:gd name="T54" fmla="*/ 212 w 232"/>
                      <a:gd name="T55" fmla="*/ 186 h 234"/>
                      <a:gd name="T56" fmla="*/ 228 w 232"/>
                      <a:gd name="T57" fmla="*/ 152 h 234"/>
                      <a:gd name="T58" fmla="*/ 224 w 232"/>
                      <a:gd name="T59" fmla="*/ 144 h 234"/>
                      <a:gd name="T60" fmla="*/ 214 w 232"/>
                      <a:gd name="T61" fmla="*/ 124 h 234"/>
                      <a:gd name="T62" fmla="*/ 226 w 232"/>
                      <a:gd name="T63" fmla="*/ 106 h 234"/>
                      <a:gd name="T64" fmla="*/ 232 w 232"/>
                      <a:gd name="T65" fmla="*/ 100 h 234"/>
                      <a:gd name="T66" fmla="*/ 220 w 232"/>
                      <a:gd name="T67" fmla="*/ 64 h 234"/>
                      <a:gd name="T68" fmla="*/ 212 w 232"/>
                      <a:gd name="T69" fmla="*/ 58 h 234"/>
                      <a:gd name="T70" fmla="*/ 196 w 232"/>
                      <a:gd name="T71" fmla="*/ 62 h 234"/>
                      <a:gd name="T72" fmla="*/ 188 w 232"/>
                      <a:gd name="T73" fmla="*/ 32 h 234"/>
                      <a:gd name="T74" fmla="*/ 188 w 232"/>
                      <a:gd name="T75" fmla="*/ 26 h 234"/>
                      <a:gd name="T76" fmla="*/ 154 w 232"/>
                      <a:gd name="T77" fmla="*/ 6 h 234"/>
                      <a:gd name="T78" fmla="*/ 150 w 232"/>
                      <a:gd name="T79" fmla="*/ 4 h 234"/>
                      <a:gd name="T80" fmla="*/ 136 w 232"/>
                      <a:gd name="T81" fmla="*/ 22 h 234"/>
                      <a:gd name="T82" fmla="*/ 112 w 232"/>
                      <a:gd name="T83" fmla="*/ 18 h 234"/>
                      <a:gd name="T84" fmla="*/ 106 w 232"/>
                      <a:gd name="T85" fmla="*/ 6 h 234"/>
                      <a:gd name="T86" fmla="*/ 98 w 232"/>
                      <a:gd name="T8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 h="234">
                        <a:moveTo>
                          <a:pt x="98" y="0"/>
                        </a:move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8" y="44"/>
                        </a:lnTo>
                        <a:lnTo>
                          <a:pt x="24" y="44"/>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4" y="176"/>
                        </a:lnTo>
                        <a:lnTo>
                          <a:pt x="18"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2" y="230"/>
                        </a:lnTo>
                        <a:lnTo>
                          <a:pt x="82" y="230"/>
                        </a:lnTo>
                        <a:lnTo>
                          <a:pt x="86" y="228"/>
                        </a:lnTo>
                        <a:lnTo>
                          <a:pt x="88" y="226"/>
                        </a:lnTo>
                        <a:lnTo>
                          <a:pt x="92" y="220"/>
                        </a:lnTo>
                        <a:lnTo>
                          <a:pt x="92" y="220"/>
                        </a:lnTo>
                        <a:lnTo>
                          <a:pt x="112" y="222"/>
                        </a:lnTo>
                        <a:lnTo>
                          <a:pt x="112" y="222"/>
                        </a:lnTo>
                        <a:lnTo>
                          <a:pt x="124" y="222"/>
                        </a:lnTo>
                        <a:lnTo>
                          <a:pt x="126" y="228"/>
                        </a:lnTo>
                        <a:lnTo>
                          <a:pt x="126" y="228"/>
                        </a:lnTo>
                        <a:lnTo>
                          <a:pt x="130" y="232"/>
                        </a:lnTo>
                        <a:lnTo>
                          <a:pt x="134" y="234"/>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4" y="190"/>
                        </a:lnTo>
                        <a:lnTo>
                          <a:pt x="208" y="190"/>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20" y="64"/>
                        </a:lnTo>
                        <a:lnTo>
                          <a:pt x="220" y="64"/>
                        </a:lnTo>
                        <a:lnTo>
                          <a:pt x="218" y="60"/>
                        </a:lnTo>
                        <a:lnTo>
                          <a:pt x="212" y="58"/>
                        </a:lnTo>
                        <a:lnTo>
                          <a:pt x="212"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50" y="4"/>
                        </a:lnTo>
                        <a:lnTo>
                          <a:pt x="146" y="6"/>
                        </a:lnTo>
                        <a:lnTo>
                          <a:pt x="142" y="10"/>
                        </a:lnTo>
                        <a:lnTo>
                          <a:pt x="136" y="22"/>
                        </a:lnTo>
                        <a:lnTo>
                          <a:pt x="136" y="22"/>
                        </a:lnTo>
                        <a:lnTo>
                          <a:pt x="124" y="20"/>
                        </a:lnTo>
                        <a:lnTo>
                          <a:pt x="112" y="18"/>
                        </a:lnTo>
                        <a:lnTo>
                          <a:pt x="112" y="18"/>
                        </a:lnTo>
                        <a:lnTo>
                          <a:pt x="110" y="18"/>
                        </a:lnTo>
                        <a:lnTo>
                          <a:pt x="106" y="6"/>
                        </a:lnTo>
                        <a:lnTo>
                          <a:pt x="106" y="6"/>
                        </a:lnTo>
                        <a:lnTo>
                          <a:pt x="102" y="2"/>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1" name="Freeform 320"/>
                  <p:cNvSpPr>
                    <a:spLocks noEditPoints="1"/>
                  </p:cNvSpPr>
                  <p:nvPr/>
                </p:nvSpPr>
                <p:spPr bwMode="auto">
                  <a:xfrm>
                    <a:off x="5958484" y="2911433"/>
                    <a:ext cx="619174" cy="617789"/>
                  </a:xfrm>
                  <a:custGeom>
                    <a:avLst/>
                    <a:gdLst>
                      <a:gd name="T0" fmla="*/ 361 w 447"/>
                      <a:gd name="T1" fmla="*/ 46 h 446"/>
                      <a:gd name="T2" fmla="*/ 345 w 447"/>
                      <a:gd name="T3" fmla="*/ 44 h 446"/>
                      <a:gd name="T4" fmla="*/ 319 w 447"/>
                      <a:gd name="T5" fmla="*/ 66 h 446"/>
                      <a:gd name="T6" fmla="*/ 281 w 447"/>
                      <a:gd name="T7" fmla="*/ 20 h 446"/>
                      <a:gd name="T8" fmla="*/ 277 w 447"/>
                      <a:gd name="T9" fmla="*/ 8 h 446"/>
                      <a:gd name="T10" fmla="*/ 201 w 447"/>
                      <a:gd name="T11" fmla="*/ 0 h 446"/>
                      <a:gd name="T12" fmla="*/ 189 w 447"/>
                      <a:gd name="T13" fmla="*/ 4 h 446"/>
                      <a:gd name="T14" fmla="*/ 183 w 447"/>
                      <a:gd name="T15" fmla="*/ 42 h 446"/>
                      <a:gd name="T16" fmla="*/ 134 w 447"/>
                      <a:gd name="T17" fmla="*/ 58 h 446"/>
                      <a:gd name="T18" fmla="*/ 112 w 447"/>
                      <a:gd name="T19" fmla="*/ 38 h 446"/>
                      <a:gd name="T20" fmla="*/ 94 w 447"/>
                      <a:gd name="T21" fmla="*/ 40 h 446"/>
                      <a:gd name="T22" fmla="*/ 44 w 447"/>
                      <a:gd name="T23" fmla="*/ 90 h 446"/>
                      <a:gd name="T24" fmla="*/ 46 w 447"/>
                      <a:gd name="T25" fmla="*/ 108 h 446"/>
                      <a:gd name="T26" fmla="*/ 48 w 447"/>
                      <a:gd name="T27" fmla="*/ 144 h 446"/>
                      <a:gd name="T28" fmla="*/ 20 w 447"/>
                      <a:gd name="T29" fmla="*/ 166 h 446"/>
                      <a:gd name="T30" fmla="*/ 6 w 447"/>
                      <a:gd name="T31" fmla="*/ 174 h 446"/>
                      <a:gd name="T32" fmla="*/ 0 w 447"/>
                      <a:gd name="T33" fmla="*/ 246 h 446"/>
                      <a:gd name="T34" fmla="*/ 10 w 447"/>
                      <a:gd name="T35" fmla="*/ 260 h 446"/>
                      <a:gd name="T36" fmla="*/ 30 w 447"/>
                      <a:gd name="T37" fmla="*/ 264 h 446"/>
                      <a:gd name="T38" fmla="*/ 42 w 447"/>
                      <a:gd name="T39" fmla="*/ 308 h 446"/>
                      <a:gd name="T40" fmla="*/ 40 w 447"/>
                      <a:gd name="T41" fmla="*/ 330 h 446"/>
                      <a:gd name="T42" fmla="*/ 36 w 447"/>
                      <a:gd name="T43" fmla="*/ 346 h 446"/>
                      <a:gd name="T44" fmla="*/ 86 w 447"/>
                      <a:gd name="T45" fmla="*/ 400 h 446"/>
                      <a:gd name="T46" fmla="*/ 102 w 447"/>
                      <a:gd name="T47" fmla="*/ 402 h 446"/>
                      <a:gd name="T48" fmla="*/ 114 w 447"/>
                      <a:gd name="T49" fmla="*/ 392 h 446"/>
                      <a:gd name="T50" fmla="*/ 167 w 447"/>
                      <a:gd name="T51" fmla="*/ 426 h 446"/>
                      <a:gd name="T52" fmla="*/ 171 w 447"/>
                      <a:gd name="T53" fmla="*/ 438 h 446"/>
                      <a:gd name="T54" fmla="*/ 247 w 447"/>
                      <a:gd name="T55" fmla="*/ 446 h 446"/>
                      <a:gd name="T56" fmla="*/ 259 w 447"/>
                      <a:gd name="T57" fmla="*/ 442 h 446"/>
                      <a:gd name="T58" fmla="*/ 265 w 447"/>
                      <a:gd name="T59" fmla="*/ 418 h 446"/>
                      <a:gd name="T60" fmla="*/ 293 w 447"/>
                      <a:gd name="T61" fmla="*/ 410 h 446"/>
                      <a:gd name="T62" fmla="*/ 331 w 447"/>
                      <a:gd name="T63" fmla="*/ 406 h 446"/>
                      <a:gd name="T64" fmla="*/ 341 w 447"/>
                      <a:gd name="T65" fmla="*/ 410 h 446"/>
                      <a:gd name="T66" fmla="*/ 401 w 447"/>
                      <a:gd name="T67" fmla="*/ 360 h 446"/>
                      <a:gd name="T68" fmla="*/ 405 w 447"/>
                      <a:gd name="T69" fmla="*/ 350 h 446"/>
                      <a:gd name="T70" fmla="*/ 389 w 447"/>
                      <a:gd name="T71" fmla="*/ 326 h 446"/>
                      <a:gd name="T72" fmla="*/ 407 w 447"/>
                      <a:gd name="T73" fmla="*/ 280 h 446"/>
                      <a:gd name="T74" fmla="*/ 433 w 447"/>
                      <a:gd name="T75" fmla="*/ 280 h 446"/>
                      <a:gd name="T76" fmla="*/ 443 w 447"/>
                      <a:gd name="T77" fmla="*/ 266 h 446"/>
                      <a:gd name="T78" fmla="*/ 445 w 447"/>
                      <a:gd name="T79" fmla="*/ 194 h 446"/>
                      <a:gd name="T80" fmla="*/ 431 w 447"/>
                      <a:gd name="T81" fmla="*/ 184 h 446"/>
                      <a:gd name="T82" fmla="*/ 399 w 447"/>
                      <a:gd name="T83" fmla="*/ 158 h 446"/>
                      <a:gd name="T84" fmla="*/ 407 w 447"/>
                      <a:gd name="T85" fmla="*/ 116 h 446"/>
                      <a:gd name="T86" fmla="*/ 411 w 447"/>
                      <a:gd name="T87" fmla="*/ 100 h 446"/>
                      <a:gd name="T88" fmla="*/ 279 w 447"/>
                      <a:gd name="T89" fmla="*/ 174 h 446"/>
                      <a:gd name="T90" fmla="*/ 297 w 447"/>
                      <a:gd name="T91" fmla="*/ 202 h 446"/>
                      <a:gd name="T92" fmla="*/ 301 w 447"/>
                      <a:gd name="T93" fmla="*/ 248 h 446"/>
                      <a:gd name="T94" fmla="*/ 277 w 447"/>
                      <a:gd name="T95" fmla="*/ 290 h 446"/>
                      <a:gd name="T96" fmla="*/ 249 w 447"/>
                      <a:gd name="T97" fmla="*/ 306 h 446"/>
                      <a:gd name="T98" fmla="*/ 203 w 447"/>
                      <a:gd name="T99" fmla="*/ 310 h 446"/>
                      <a:gd name="T100" fmla="*/ 161 w 447"/>
                      <a:gd name="T101" fmla="*/ 286 h 446"/>
                      <a:gd name="T102" fmla="*/ 144 w 447"/>
                      <a:gd name="T103" fmla="*/ 260 h 446"/>
                      <a:gd name="T104" fmla="*/ 140 w 447"/>
                      <a:gd name="T105" fmla="*/ 214 h 446"/>
                      <a:gd name="T106" fmla="*/ 165 w 447"/>
                      <a:gd name="T107" fmla="*/ 172 h 446"/>
                      <a:gd name="T108" fmla="*/ 193 w 447"/>
                      <a:gd name="T109" fmla="*/ 154 h 446"/>
                      <a:gd name="T110" fmla="*/ 239 w 447"/>
                      <a:gd name="T111" fmla="*/ 152 h 446"/>
                      <a:gd name="T112" fmla="*/ 279 w 447"/>
                      <a:gd name="T113" fmla="*/ 17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46">
                        <a:moveTo>
                          <a:pt x="407" y="94"/>
                        </a:moveTo>
                        <a:lnTo>
                          <a:pt x="361" y="46"/>
                        </a:lnTo>
                        <a:lnTo>
                          <a:pt x="361" y="46"/>
                        </a:lnTo>
                        <a:lnTo>
                          <a:pt x="357" y="44"/>
                        </a:lnTo>
                        <a:lnTo>
                          <a:pt x="351" y="42"/>
                        </a:lnTo>
                        <a:lnTo>
                          <a:pt x="345" y="44"/>
                        </a:lnTo>
                        <a:lnTo>
                          <a:pt x="339" y="46"/>
                        </a:lnTo>
                        <a:lnTo>
                          <a:pt x="319" y="66"/>
                        </a:lnTo>
                        <a:lnTo>
                          <a:pt x="319" y="66"/>
                        </a:lnTo>
                        <a:lnTo>
                          <a:pt x="301" y="56"/>
                        </a:lnTo>
                        <a:lnTo>
                          <a:pt x="281" y="48"/>
                        </a:lnTo>
                        <a:lnTo>
                          <a:pt x="281" y="20"/>
                        </a:lnTo>
                        <a:lnTo>
                          <a:pt x="281" y="20"/>
                        </a:lnTo>
                        <a:lnTo>
                          <a:pt x="281" y="14"/>
                        </a:lnTo>
                        <a:lnTo>
                          <a:pt x="277" y="8"/>
                        </a:lnTo>
                        <a:lnTo>
                          <a:pt x="273" y="6"/>
                        </a:lnTo>
                        <a:lnTo>
                          <a:pt x="267" y="4"/>
                        </a:lnTo>
                        <a:lnTo>
                          <a:pt x="201" y="0"/>
                        </a:lnTo>
                        <a:lnTo>
                          <a:pt x="201" y="0"/>
                        </a:lnTo>
                        <a:lnTo>
                          <a:pt x="195" y="2"/>
                        </a:lnTo>
                        <a:lnTo>
                          <a:pt x="189" y="4"/>
                        </a:lnTo>
                        <a:lnTo>
                          <a:pt x="187" y="10"/>
                        </a:lnTo>
                        <a:lnTo>
                          <a:pt x="185" y="16"/>
                        </a:lnTo>
                        <a:lnTo>
                          <a:pt x="183" y="42"/>
                        </a:lnTo>
                        <a:lnTo>
                          <a:pt x="183" y="42"/>
                        </a:lnTo>
                        <a:lnTo>
                          <a:pt x="159" y="48"/>
                        </a:lnTo>
                        <a:lnTo>
                          <a:pt x="134" y="58"/>
                        </a:lnTo>
                        <a:lnTo>
                          <a:pt x="116" y="40"/>
                        </a:lnTo>
                        <a:lnTo>
                          <a:pt x="116" y="40"/>
                        </a:lnTo>
                        <a:lnTo>
                          <a:pt x="112" y="38"/>
                        </a:lnTo>
                        <a:lnTo>
                          <a:pt x="106" y="36"/>
                        </a:lnTo>
                        <a:lnTo>
                          <a:pt x="100" y="36"/>
                        </a:lnTo>
                        <a:lnTo>
                          <a:pt x="94" y="40"/>
                        </a:lnTo>
                        <a:lnTo>
                          <a:pt x="46" y="86"/>
                        </a:lnTo>
                        <a:lnTo>
                          <a:pt x="46" y="86"/>
                        </a:lnTo>
                        <a:lnTo>
                          <a:pt x="44" y="90"/>
                        </a:lnTo>
                        <a:lnTo>
                          <a:pt x="42" y="96"/>
                        </a:lnTo>
                        <a:lnTo>
                          <a:pt x="44" y="102"/>
                        </a:lnTo>
                        <a:lnTo>
                          <a:pt x="46" y="108"/>
                        </a:lnTo>
                        <a:lnTo>
                          <a:pt x="60" y="122"/>
                        </a:lnTo>
                        <a:lnTo>
                          <a:pt x="60" y="122"/>
                        </a:lnTo>
                        <a:lnTo>
                          <a:pt x="48" y="144"/>
                        </a:lnTo>
                        <a:lnTo>
                          <a:pt x="38" y="166"/>
                        </a:lnTo>
                        <a:lnTo>
                          <a:pt x="20" y="166"/>
                        </a:lnTo>
                        <a:lnTo>
                          <a:pt x="20" y="166"/>
                        </a:lnTo>
                        <a:lnTo>
                          <a:pt x="14" y="166"/>
                        </a:lnTo>
                        <a:lnTo>
                          <a:pt x="8" y="170"/>
                        </a:lnTo>
                        <a:lnTo>
                          <a:pt x="6" y="174"/>
                        </a:lnTo>
                        <a:lnTo>
                          <a:pt x="4" y="180"/>
                        </a:lnTo>
                        <a:lnTo>
                          <a:pt x="0" y="246"/>
                        </a:lnTo>
                        <a:lnTo>
                          <a:pt x="0" y="246"/>
                        </a:lnTo>
                        <a:lnTo>
                          <a:pt x="2" y="252"/>
                        </a:lnTo>
                        <a:lnTo>
                          <a:pt x="4" y="258"/>
                        </a:lnTo>
                        <a:lnTo>
                          <a:pt x="10" y="260"/>
                        </a:lnTo>
                        <a:lnTo>
                          <a:pt x="16" y="262"/>
                        </a:lnTo>
                        <a:lnTo>
                          <a:pt x="30" y="264"/>
                        </a:lnTo>
                        <a:lnTo>
                          <a:pt x="30" y="264"/>
                        </a:lnTo>
                        <a:lnTo>
                          <a:pt x="32" y="278"/>
                        </a:lnTo>
                        <a:lnTo>
                          <a:pt x="36" y="292"/>
                        </a:lnTo>
                        <a:lnTo>
                          <a:pt x="42" y="308"/>
                        </a:lnTo>
                        <a:lnTo>
                          <a:pt x="50" y="322"/>
                        </a:lnTo>
                        <a:lnTo>
                          <a:pt x="40" y="330"/>
                        </a:lnTo>
                        <a:lnTo>
                          <a:pt x="40" y="330"/>
                        </a:lnTo>
                        <a:lnTo>
                          <a:pt x="38" y="334"/>
                        </a:lnTo>
                        <a:lnTo>
                          <a:pt x="36" y="340"/>
                        </a:lnTo>
                        <a:lnTo>
                          <a:pt x="36" y="346"/>
                        </a:lnTo>
                        <a:lnTo>
                          <a:pt x="40" y="352"/>
                        </a:lnTo>
                        <a:lnTo>
                          <a:pt x="86" y="400"/>
                        </a:lnTo>
                        <a:lnTo>
                          <a:pt x="86" y="400"/>
                        </a:lnTo>
                        <a:lnTo>
                          <a:pt x="90" y="402"/>
                        </a:lnTo>
                        <a:lnTo>
                          <a:pt x="96" y="404"/>
                        </a:lnTo>
                        <a:lnTo>
                          <a:pt x="102" y="402"/>
                        </a:lnTo>
                        <a:lnTo>
                          <a:pt x="108" y="400"/>
                        </a:lnTo>
                        <a:lnTo>
                          <a:pt x="114" y="392"/>
                        </a:lnTo>
                        <a:lnTo>
                          <a:pt x="114" y="392"/>
                        </a:lnTo>
                        <a:lnTo>
                          <a:pt x="140" y="406"/>
                        </a:lnTo>
                        <a:lnTo>
                          <a:pt x="167" y="416"/>
                        </a:lnTo>
                        <a:lnTo>
                          <a:pt x="167" y="426"/>
                        </a:lnTo>
                        <a:lnTo>
                          <a:pt x="167" y="426"/>
                        </a:lnTo>
                        <a:lnTo>
                          <a:pt x="167" y="432"/>
                        </a:lnTo>
                        <a:lnTo>
                          <a:pt x="171" y="438"/>
                        </a:lnTo>
                        <a:lnTo>
                          <a:pt x="175" y="440"/>
                        </a:lnTo>
                        <a:lnTo>
                          <a:pt x="181" y="442"/>
                        </a:lnTo>
                        <a:lnTo>
                          <a:pt x="247" y="446"/>
                        </a:lnTo>
                        <a:lnTo>
                          <a:pt x="247" y="446"/>
                        </a:lnTo>
                        <a:lnTo>
                          <a:pt x="253" y="444"/>
                        </a:lnTo>
                        <a:lnTo>
                          <a:pt x="259" y="442"/>
                        </a:lnTo>
                        <a:lnTo>
                          <a:pt x="263" y="436"/>
                        </a:lnTo>
                        <a:lnTo>
                          <a:pt x="263" y="430"/>
                        </a:lnTo>
                        <a:lnTo>
                          <a:pt x="265" y="418"/>
                        </a:lnTo>
                        <a:lnTo>
                          <a:pt x="265" y="418"/>
                        </a:lnTo>
                        <a:lnTo>
                          <a:pt x="279" y="414"/>
                        </a:lnTo>
                        <a:lnTo>
                          <a:pt x="293" y="410"/>
                        </a:lnTo>
                        <a:lnTo>
                          <a:pt x="307" y="404"/>
                        </a:lnTo>
                        <a:lnTo>
                          <a:pt x="321" y="396"/>
                        </a:lnTo>
                        <a:lnTo>
                          <a:pt x="331" y="406"/>
                        </a:lnTo>
                        <a:lnTo>
                          <a:pt x="331" y="406"/>
                        </a:lnTo>
                        <a:lnTo>
                          <a:pt x="335" y="410"/>
                        </a:lnTo>
                        <a:lnTo>
                          <a:pt x="341" y="410"/>
                        </a:lnTo>
                        <a:lnTo>
                          <a:pt x="347" y="410"/>
                        </a:lnTo>
                        <a:lnTo>
                          <a:pt x="353" y="406"/>
                        </a:lnTo>
                        <a:lnTo>
                          <a:pt x="401" y="360"/>
                        </a:lnTo>
                        <a:lnTo>
                          <a:pt x="401" y="360"/>
                        </a:lnTo>
                        <a:lnTo>
                          <a:pt x="403" y="356"/>
                        </a:lnTo>
                        <a:lnTo>
                          <a:pt x="405" y="350"/>
                        </a:lnTo>
                        <a:lnTo>
                          <a:pt x="403" y="344"/>
                        </a:lnTo>
                        <a:lnTo>
                          <a:pt x="401" y="338"/>
                        </a:lnTo>
                        <a:lnTo>
                          <a:pt x="389" y="326"/>
                        </a:lnTo>
                        <a:lnTo>
                          <a:pt x="389" y="326"/>
                        </a:lnTo>
                        <a:lnTo>
                          <a:pt x="399" y="304"/>
                        </a:lnTo>
                        <a:lnTo>
                          <a:pt x="407" y="280"/>
                        </a:lnTo>
                        <a:lnTo>
                          <a:pt x="427" y="280"/>
                        </a:lnTo>
                        <a:lnTo>
                          <a:pt x="427" y="280"/>
                        </a:lnTo>
                        <a:lnTo>
                          <a:pt x="433" y="280"/>
                        </a:lnTo>
                        <a:lnTo>
                          <a:pt x="439" y="276"/>
                        </a:lnTo>
                        <a:lnTo>
                          <a:pt x="441" y="272"/>
                        </a:lnTo>
                        <a:lnTo>
                          <a:pt x="443" y="266"/>
                        </a:lnTo>
                        <a:lnTo>
                          <a:pt x="447" y="200"/>
                        </a:lnTo>
                        <a:lnTo>
                          <a:pt x="447" y="200"/>
                        </a:lnTo>
                        <a:lnTo>
                          <a:pt x="445" y="194"/>
                        </a:lnTo>
                        <a:lnTo>
                          <a:pt x="443" y="188"/>
                        </a:lnTo>
                        <a:lnTo>
                          <a:pt x="437" y="186"/>
                        </a:lnTo>
                        <a:lnTo>
                          <a:pt x="431" y="184"/>
                        </a:lnTo>
                        <a:lnTo>
                          <a:pt x="407" y="182"/>
                        </a:lnTo>
                        <a:lnTo>
                          <a:pt x="407" y="182"/>
                        </a:lnTo>
                        <a:lnTo>
                          <a:pt x="399" y="158"/>
                        </a:lnTo>
                        <a:lnTo>
                          <a:pt x="387" y="134"/>
                        </a:lnTo>
                        <a:lnTo>
                          <a:pt x="407" y="116"/>
                        </a:lnTo>
                        <a:lnTo>
                          <a:pt x="407" y="116"/>
                        </a:lnTo>
                        <a:lnTo>
                          <a:pt x="411" y="112"/>
                        </a:lnTo>
                        <a:lnTo>
                          <a:pt x="411" y="106"/>
                        </a:lnTo>
                        <a:lnTo>
                          <a:pt x="411" y="100"/>
                        </a:lnTo>
                        <a:lnTo>
                          <a:pt x="407" y="94"/>
                        </a:lnTo>
                        <a:lnTo>
                          <a:pt x="407" y="94"/>
                        </a:lnTo>
                        <a:close/>
                        <a:moveTo>
                          <a:pt x="279" y="174"/>
                        </a:moveTo>
                        <a:lnTo>
                          <a:pt x="279" y="174"/>
                        </a:lnTo>
                        <a:lnTo>
                          <a:pt x="289" y="188"/>
                        </a:lnTo>
                        <a:lnTo>
                          <a:pt x="297" y="202"/>
                        </a:lnTo>
                        <a:lnTo>
                          <a:pt x="301" y="218"/>
                        </a:lnTo>
                        <a:lnTo>
                          <a:pt x="303" y="232"/>
                        </a:lnTo>
                        <a:lnTo>
                          <a:pt x="301" y="248"/>
                        </a:lnTo>
                        <a:lnTo>
                          <a:pt x="295" y="264"/>
                        </a:lnTo>
                        <a:lnTo>
                          <a:pt x="287" y="278"/>
                        </a:lnTo>
                        <a:lnTo>
                          <a:pt x="277" y="290"/>
                        </a:lnTo>
                        <a:lnTo>
                          <a:pt x="277" y="290"/>
                        </a:lnTo>
                        <a:lnTo>
                          <a:pt x="263" y="300"/>
                        </a:lnTo>
                        <a:lnTo>
                          <a:pt x="249" y="306"/>
                        </a:lnTo>
                        <a:lnTo>
                          <a:pt x="235" y="310"/>
                        </a:lnTo>
                        <a:lnTo>
                          <a:pt x="219" y="312"/>
                        </a:lnTo>
                        <a:lnTo>
                          <a:pt x="203" y="310"/>
                        </a:lnTo>
                        <a:lnTo>
                          <a:pt x="189" y="306"/>
                        </a:lnTo>
                        <a:lnTo>
                          <a:pt x="175" y="298"/>
                        </a:lnTo>
                        <a:lnTo>
                          <a:pt x="161" y="286"/>
                        </a:lnTo>
                        <a:lnTo>
                          <a:pt x="161" y="286"/>
                        </a:lnTo>
                        <a:lnTo>
                          <a:pt x="150" y="274"/>
                        </a:lnTo>
                        <a:lnTo>
                          <a:pt x="144" y="260"/>
                        </a:lnTo>
                        <a:lnTo>
                          <a:pt x="140" y="244"/>
                        </a:lnTo>
                        <a:lnTo>
                          <a:pt x="138" y="228"/>
                        </a:lnTo>
                        <a:lnTo>
                          <a:pt x="140" y="214"/>
                        </a:lnTo>
                        <a:lnTo>
                          <a:pt x="146" y="198"/>
                        </a:lnTo>
                        <a:lnTo>
                          <a:pt x="154" y="184"/>
                        </a:lnTo>
                        <a:lnTo>
                          <a:pt x="165" y="172"/>
                        </a:lnTo>
                        <a:lnTo>
                          <a:pt x="165" y="172"/>
                        </a:lnTo>
                        <a:lnTo>
                          <a:pt x="177" y="162"/>
                        </a:lnTo>
                        <a:lnTo>
                          <a:pt x="193" y="154"/>
                        </a:lnTo>
                        <a:lnTo>
                          <a:pt x="207" y="150"/>
                        </a:lnTo>
                        <a:lnTo>
                          <a:pt x="223" y="150"/>
                        </a:lnTo>
                        <a:lnTo>
                          <a:pt x="239" y="152"/>
                        </a:lnTo>
                        <a:lnTo>
                          <a:pt x="253" y="156"/>
                        </a:lnTo>
                        <a:lnTo>
                          <a:pt x="267" y="164"/>
                        </a:lnTo>
                        <a:lnTo>
                          <a:pt x="279" y="174"/>
                        </a:lnTo>
                        <a:lnTo>
                          <a:pt x="279" y="174"/>
                        </a:lnTo>
                        <a:close/>
                      </a:path>
                    </a:pathLst>
                  </a:custGeom>
                  <a:solidFill>
                    <a:srgbClr val="ADC9C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2" name="Freeform 321"/>
                  <p:cNvSpPr>
                    <a:spLocks noEditPoints="1"/>
                  </p:cNvSpPr>
                  <p:nvPr/>
                </p:nvSpPr>
                <p:spPr bwMode="auto">
                  <a:xfrm>
                    <a:off x="5565094" y="3174617"/>
                    <a:ext cx="619174" cy="620559"/>
                  </a:xfrm>
                  <a:custGeom>
                    <a:avLst/>
                    <a:gdLst>
                      <a:gd name="T0" fmla="*/ 382 w 447"/>
                      <a:gd name="T1" fmla="*/ 66 h 448"/>
                      <a:gd name="T2" fmla="*/ 366 w 447"/>
                      <a:gd name="T3" fmla="*/ 60 h 448"/>
                      <a:gd name="T4" fmla="*/ 338 w 447"/>
                      <a:gd name="T5" fmla="*/ 80 h 448"/>
                      <a:gd name="T6" fmla="*/ 306 w 447"/>
                      <a:gd name="T7" fmla="*/ 30 h 448"/>
                      <a:gd name="T8" fmla="*/ 304 w 447"/>
                      <a:gd name="T9" fmla="*/ 18 h 448"/>
                      <a:gd name="T10" fmla="*/ 228 w 447"/>
                      <a:gd name="T11" fmla="*/ 0 h 448"/>
                      <a:gd name="T12" fmla="*/ 216 w 447"/>
                      <a:gd name="T13" fmla="*/ 2 h 448"/>
                      <a:gd name="T14" fmla="*/ 206 w 447"/>
                      <a:gd name="T15" fmla="*/ 38 h 448"/>
                      <a:gd name="T16" fmla="*/ 156 w 447"/>
                      <a:gd name="T17" fmla="*/ 48 h 448"/>
                      <a:gd name="T18" fmla="*/ 136 w 447"/>
                      <a:gd name="T19" fmla="*/ 26 h 448"/>
                      <a:gd name="T20" fmla="*/ 120 w 447"/>
                      <a:gd name="T21" fmla="*/ 26 h 448"/>
                      <a:gd name="T22" fmla="*/ 62 w 447"/>
                      <a:gd name="T23" fmla="*/ 70 h 448"/>
                      <a:gd name="T24" fmla="*/ 62 w 447"/>
                      <a:gd name="T25" fmla="*/ 86 h 448"/>
                      <a:gd name="T26" fmla="*/ 58 w 447"/>
                      <a:gd name="T27" fmla="*/ 122 h 448"/>
                      <a:gd name="T28" fmla="*/ 28 w 447"/>
                      <a:gd name="T29" fmla="*/ 140 h 448"/>
                      <a:gd name="T30" fmla="*/ 14 w 447"/>
                      <a:gd name="T31" fmla="*/ 148 h 448"/>
                      <a:gd name="T32" fmla="*/ 0 w 447"/>
                      <a:gd name="T33" fmla="*/ 218 h 448"/>
                      <a:gd name="T34" fmla="*/ 6 w 447"/>
                      <a:gd name="T35" fmla="*/ 234 h 448"/>
                      <a:gd name="T36" fmla="*/ 26 w 447"/>
                      <a:gd name="T37" fmla="*/ 240 h 448"/>
                      <a:gd name="T38" fmla="*/ 34 w 447"/>
                      <a:gd name="T39" fmla="*/ 284 h 448"/>
                      <a:gd name="T40" fmla="*/ 28 w 447"/>
                      <a:gd name="T41" fmla="*/ 306 h 448"/>
                      <a:gd name="T42" fmla="*/ 22 w 447"/>
                      <a:gd name="T43" fmla="*/ 322 h 448"/>
                      <a:gd name="T44" fmla="*/ 64 w 447"/>
                      <a:gd name="T45" fmla="*/ 382 h 448"/>
                      <a:gd name="T46" fmla="*/ 80 w 447"/>
                      <a:gd name="T47" fmla="*/ 386 h 448"/>
                      <a:gd name="T48" fmla="*/ 94 w 447"/>
                      <a:gd name="T49" fmla="*/ 378 h 448"/>
                      <a:gd name="T50" fmla="*/ 140 w 447"/>
                      <a:gd name="T51" fmla="*/ 418 h 448"/>
                      <a:gd name="T52" fmla="*/ 144 w 447"/>
                      <a:gd name="T53" fmla="*/ 430 h 448"/>
                      <a:gd name="T54" fmla="*/ 218 w 447"/>
                      <a:gd name="T55" fmla="*/ 448 h 448"/>
                      <a:gd name="T56" fmla="*/ 230 w 447"/>
                      <a:gd name="T57" fmla="*/ 444 h 448"/>
                      <a:gd name="T58" fmla="*/ 238 w 447"/>
                      <a:gd name="T59" fmla="*/ 422 h 448"/>
                      <a:gd name="T60" fmla="*/ 268 w 447"/>
                      <a:gd name="T61" fmla="*/ 418 h 448"/>
                      <a:gd name="T62" fmla="*/ 306 w 447"/>
                      <a:gd name="T63" fmla="*/ 418 h 448"/>
                      <a:gd name="T64" fmla="*/ 316 w 447"/>
                      <a:gd name="T65" fmla="*/ 424 h 448"/>
                      <a:gd name="T66" fmla="*/ 380 w 447"/>
                      <a:gd name="T67" fmla="*/ 382 h 448"/>
                      <a:gd name="T68" fmla="*/ 386 w 447"/>
                      <a:gd name="T69" fmla="*/ 372 h 448"/>
                      <a:gd name="T70" fmla="*/ 374 w 447"/>
                      <a:gd name="T71" fmla="*/ 346 h 448"/>
                      <a:gd name="T72" fmla="*/ 398 w 447"/>
                      <a:gd name="T73" fmla="*/ 302 h 448"/>
                      <a:gd name="T74" fmla="*/ 424 w 447"/>
                      <a:gd name="T75" fmla="*/ 306 h 448"/>
                      <a:gd name="T76" fmla="*/ 436 w 447"/>
                      <a:gd name="T77" fmla="*/ 294 h 448"/>
                      <a:gd name="T78" fmla="*/ 447 w 447"/>
                      <a:gd name="T79" fmla="*/ 222 h 448"/>
                      <a:gd name="T80" fmla="*/ 434 w 447"/>
                      <a:gd name="T81" fmla="*/ 210 h 448"/>
                      <a:gd name="T82" fmla="*/ 406 w 447"/>
                      <a:gd name="T83" fmla="*/ 182 h 448"/>
                      <a:gd name="T84" fmla="*/ 418 w 447"/>
                      <a:gd name="T85" fmla="*/ 142 h 448"/>
                      <a:gd name="T86" fmla="*/ 424 w 447"/>
                      <a:gd name="T87" fmla="*/ 126 h 448"/>
                      <a:gd name="T88" fmla="*/ 302 w 447"/>
                      <a:gd name="T89" fmla="*/ 170 h 448"/>
                      <a:gd name="T90" fmla="*/ 320 w 447"/>
                      <a:gd name="T91" fmla="*/ 208 h 448"/>
                      <a:gd name="T92" fmla="*/ 316 w 447"/>
                      <a:gd name="T93" fmla="*/ 266 h 448"/>
                      <a:gd name="T94" fmla="*/ 280 w 447"/>
                      <a:gd name="T95" fmla="*/ 314 h 448"/>
                      <a:gd name="T96" fmla="*/ 242 w 447"/>
                      <a:gd name="T97" fmla="*/ 332 h 448"/>
                      <a:gd name="T98" fmla="*/ 184 w 447"/>
                      <a:gd name="T99" fmla="*/ 328 h 448"/>
                      <a:gd name="T100" fmla="*/ 136 w 447"/>
                      <a:gd name="T101" fmla="*/ 292 h 448"/>
                      <a:gd name="T102" fmla="*/ 118 w 447"/>
                      <a:gd name="T103" fmla="*/ 254 h 448"/>
                      <a:gd name="T104" fmla="*/ 122 w 447"/>
                      <a:gd name="T105" fmla="*/ 196 h 448"/>
                      <a:gd name="T106" fmla="*/ 158 w 447"/>
                      <a:gd name="T107" fmla="*/ 148 h 448"/>
                      <a:gd name="T108" fmla="*/ 194 w 447"/>
                      <a:gd name="T109" fmla="*/ 130 h 448"/>
                      <a:gd name="T110" fmla="*/ 254 w 447"/>
                      <a:gd name="T111" fmla="*/ 134 h 448"/>
                      <a:gd name="T112" fmla="*/ 302 w 447"/>
                      <a:gd name="T113" fmla="*/ 17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48">
                        <a:moveTo>
                          <a:pt x="420" y="120"/>
                        </a:moveTo>
                        <a:lnTo>
                          <a:pt x="382" y="66"/>
                        </a:lnTo>
                        <a:lnTo>
                          <a:pt x="382" y="66"/>
                        </a:lnTo>
                        <a:lnTo>
                          <a:pt x="378" y="62"/>
                        </a:lnTo>
                        <a:lnTo>
                          <a:pt x="372" y="60"/>
                        </a:lnTo>
                        <a:lnTo>
                          <a:pt x="366" y="60"/>
                        </a:lnTo>
                        <a:lnTo>
                          <a:pt x="360" y="64"/>
                        </a:lnTo>
                        <a:lnTo>
                          <a:pt x="338" y="80"/>
                        </a:lnTo>
                        <a:lnTo>
                          <a:pt x="338" y="80"/>
                        </a:lnTo>
                        <a:lnTo>
                          <a:pt x="320" y="66"/>
                        </a:lnTo>
                        <a:lnTo>
                          <a:pt x="302" y="56"/>
                        </a:lnTo>
                        <a:lnTo>
                          <a:pt x="306" y="30"/>
                        </a:lnTo>
                        <a:lnTo>
                          <a:pt x="306" y="30"/>
                        </a:lnTo>
                        <a:lnTo>
                          <a:pt x="306" y="24"/>
                        </a:lnTo>
                        <a:lnTo>
                          <a:pt x="304" y="18"/>
                        </a:lnTo>
                        <a:lnTo>
                          <a:pt x="298" y="14"/>
                        </a:lnTo>
                        <a:lnTo>
                          <a:pt x="294" y="12"/>
                        </a:lnTo>
                        <a:lnTo>
                          <a:pt x="228" y="0"/>
                        </a:lnTo>
                        <a:lnTo>
                          <a:pt x="228" y="0"/>
                        </a:lnTo>
                        <a:lnTo>
                          <a:pt x="222" y="0"/>
                        </a:lnTo>
                        <a:lnTo>
                          <a:pt x="216" y="2"/>
                        </a:lnTo>
                        <a:lnTo>
                          <a:pt x="212" y="8"/>
                        </a:lnTo>
                        <a:lnTo>
                          <a:pt x="210" y="12"/>
                        </a:lnTo>
                        <a:lnTo>
                          <a:pt x="206" y="38"/>
                        </a:lnTo>
                        <a:lnTo>
                          <a:pt x="206" y="38"/>
                        </a:lnTo>
                        <a:lnTo>
                          <a:pt x="180" y="42"/>
                        </a:lnTo>
                        <a:lnTo>
                          <a:pt x="156" y="48"/>
                        </a:lnTo>
                        <a:lnTo>
                          <a:pt x="140" y="30"/>
                        </a:lnTo>
                        <a:lnTo>
                          <a:pt x="140" y="30"/>
                        </a:lnTo>
                        <a:lnTo>
                          <a:pt x="136" y="26"/>
                        </a:lnTo>
                        <a:lnTo>
                          <a:pt x="130" y="24"/>
                        </a:lnTo>
                        <a:lnTo>
                          <a:pt x="124" y="24"/>
                        </a:lnTo>
                        <a:lnTo>
                          <a:pt x="120" y="26"/>
                        </a:lnTo>
                        <a:lnTo>
                          <a:pt x="66" y="66"/>
                        </a:lnTo>
                        <a:lnTo>
                          <a:pt x="66" y="66"/>
                        </a:lnTo>
                        <a:lnTo>
                          <a:pt x="62" y="70"/>
                        </a:lnTo>
                        <a:lnTo>
                          <a:pt x="60" y="76"/>
                        </a:lnTo>
                        <a:lnTo>
                          <a:pt x="60" y="82"/>
                        </a:lnTo>
                        <a:lnTo>
                          <a:pt x="62" y="86"/>
                        </a:lnTo>
                        <a:lnTo>
                          <a:pt x="74" y="102"/>
                        </a:lnTo>
                        <a:lnTo>
                          <a:pt x="74" y="102"/>
                        </a:lnTo>
                        <a:lnTo>
                          <a:pt x="58" y="122"/>
                        </a:lnTo>
                        <a:lnTo>
                          <a:pt x="46" y="144"/>
                        </a:lnTo>
                        <a:lnTo>
                          <a:pt x="28" y="140"/>
                        </a:lnTo>
                        <a:lnTo>
                          <a:pt x="28" y="140"/>
                        </a:lnTo>
                        <a:lnTo>
                          <a:pt x="22" y="142"/>
                        </a:lnTo>
                        <a:lnTo>
                          <a:pt x="18" y="144"/>
                        </a:lnTo>
                        <a:lnTo>
                          <a:pt x="14" y="148"/>
                        </a:lnTo>
                        <a:lnTo>
                          <a:pt x="10" y="154"/>
                        </a:lnTo>
                        <a:lnTo>
                          <a:pt x="0" y="218"/>
                        </a:lnTo>
                        <a:lnTo>
                          <a:pt x="0" y="218"/>
                        </a:lnTo>
                        <a:lnTo>
                          <a:pt x="0" y="224"/>
                        </a:lnTo>
                        <a:lnTo>
                          <a:pt x="2" y="230"/>
                        </a:lnTo>
                        <a:lnTo>
                          <a:pt x="6" y="234"/>
                        </a:lnTo>
                        <a:lnTo>
                          <a:pt x="12" y="236"/>
                        </a:lnTo>
                        <a:lnTo>
                          <a:pt x="26" y="240"/>
                        </a:lnTo>
                        <a:lnTo>
                          <a:pt x="26" y="240"/>
                        </a:lnTo>
                        <a:lnTo>
                          <a:pt x="28" y="254"/>
                        </a:lnTo>
                        <a:lnTo>
                          <a:pt x="30" y="270"/>
                        </a:lnTo>
                        <a:lnTo>
                          <a:pt x="34" y="284"/>
                        </a:lnTo>
                        <a:lnTo>
                          <a:pt x="38" y="300"/>
                        </a:lnTo>
                        <a:lnTo>
                          <a:pt x="28" y="306"/>
                        </a:lnTo>
                        <a:lnTo>
                          <a:pt x="28" y="306"/>
                        </a:lnTo>
                        <a:lnTo>
                          <a:pt x="24" y="310"/>
                        </a:lnTo>
                        <a:lnTo>
                          <a:pt x="22" y="316"/>
                        </a:lnTo>
                        <a:lnTo>
                          <a:pt x="22" y="322"/>
                        </a:lnTo>
                        <a:lnTo>
                          <a:pt x="26" y="328"/>
                        </a:lnTo>
                        <a:lnTo>
                          <a:pt x="64" y="382"/>
                        </a:lnTo>
                        <a:lnTo>
                          <a:pt x="64" y="382"/>
                        </a:lnTo>
                        <a:lnTo>
                          <a:pt x="68" y="386"/>
                        </a:lnTo>
                        <a:lnTo>
                          <a:pt x="74" y="388"/>
                        </a:lnTo>
                        <a:lnTo>
                          <a:pt x="80" y="386"/>
                        </a:lnTo>
                        <a:lnTo>
                          <a:pt x="86" y="384"/>
                        </a:lnTo>
                        <a:lnTo>
                          <a:pt x="94" y="378"/>
                        </a:lnTo>
                        <a:lnTo>
                          <a:pt x="94" y="378"/>
                        </a:lnTo>
                        <a:lnTo>
                          <a:pt x="118" y="394"/>
                        </a:lnTo>
                        <a:lnTo>
                          <a:pt x="142" y="408"/>
                        </a:lnTo>
                        <a:lnTo>
                          <a:pt x="140" y="418"/>
                        </a:lnTo>
                        <a:lnTo>
                          <a:pt x="140" y="418"/>
                        </a:lnTo>
                        <a:lnTo>
                          <a:pt x="140" y="424"/>
                        </a:lnTo>
                        <a:lnTo>
                          <a:pt x="144" y="430"/>
                        </a:lnTo>
                        <a:lnTo>
                          <a:pt x="148" y="434"/>
                        </a:lnTo>
                        <a:lnTo>
                          <a:pt x="154" y="436"/>
                        </a:lnTo>
                        <a:lnTo>
                          <a:pt x="218" y="448"/>
                        </a:lnTo>
                        <a:lnTo>
                          <a:pt x="218" y="448"/>
                        </a:lnTo>
                        <a:lnTo>
                          <a:pt x="224" y="446"/>
                        </a:lnTo>
                        <a:lnTo>
                          <a:pt x="230" y="444"/>
                        </a:lnTo>
                        <a:lnTo>
                          <a:pt x="234" y="440"/>
                        </a:lnTo>
                        <a:lnTo>
                          <a:pt x="236" y="434"/>
                        </a:lnTo>
                        <a:lnTo>
                          <a:pt x="238" y="422"/>
                        </a:lnTo>
                        <a:lnTo>
                          <a:pt x="238" y="422"/>
                        </a:lnTo>
                        <a:lnTo>
                          <a:pt x="254" y="420"/>
                        </a:lnTo>
                        <a:lnTo>
                          <a:pt x="268" y="418"/>
                        </a:lnTo>
                        <a:lnTo>
                          <a:pt x="282" y="412"/>
                        </a:lnTo>
                        <a:lnTo>
                          <a:pt x="298" y="408"/>
                        </a:lnTo>
                        <a:lnTo>
                          <a:pt x="306" y="418"/>
                        </a:lnTo>
                        <a:lnTo>
                          <a:pt x="306" y="418"/>
                        </a:lnTo>
                        <a:lnTo>
                          <a:pt x="310" y="422"/>
                        </a:lnTo>
                        <a:lnTo>
                          <a:pt x="316" y="424"/>
                        </a:lnTo>
                        <a:lnTo>
                          <a:pt x="322" y="424"/>
                        </a:lnTo>
                        <a:lnTo>
                          <a:pt x="328" y="422"/>
                        </a:lnTo>
                        <a:lnTo>
                          <a:pt x="380" y="382"/>
                        </a:lnTo>
                        <a:lnTo>
                          <a:pt x="380" y="382"/>
                        </a:lnTo>
                        <a:lnTo>
                          <a:pt x="384" y="378"/>
                        </a:lnTo>
                        <a:lnTo>
                          <a:pt x="386" y="372"/>
                        </a:lnTo>
                        <a:lnTo>
                          <a:pt x="386" y="366"/>
                        </a:lnTo>
                        <a:lnTo>
                          <a:pt x="384" y="360"/>
                        </a:lnTo>
                        <a:lnTo>
                          <a:pt x="374" y="346"/>
                        </a:lnTo>
                        <a:lnTo>
                          <a:pt x="374" y="346"/>
                        </a:lnTo>
                        <a:lnTo>
                          <a:pt x="388" y="326"/>
                        </a:lnTo>
                        <a:lnTo>
                          <a:pt x="398" y="302"/>
                        </a:lnTo>
                        <a:lnTo>
                          <a:pt x="418" y="306"/>
                        </a:lnTo>
                        <a:lnTo>
                          <a:pt x="418" y="306"/>
                        </a:lnTo>
                        <a:lnTo>
                          <a:pt x="424" y="306"/>
                        </a:lnTo>
                        <a:lnTo>
                          <a:pt x="428" y="304"/>
                        </a:lnTo>
                        <a:lnTo>
                          <a:pt x="434" y="300"/>
                        </a:lnTo>
                        <a:lnTo>
                          <a:pt x="436" y="294"/>
                        </a:lnTo>
                        <a:lnTo>
                          <a:pt x="447" y="228"/>
                        </a:lnTo>
                        <a:lnTo>
                          <a:pt x="447" y="228"/>
                        </a:lnTo>
                        <a:lnTo>
                          <a:pt x="447" y="222"/>
                        </a:lnTo>
                        <a:lnTo>
                          <a:pt x="445" y="218"/>
                        </a:lnTo>
                        <a:lnTo>
                          <a:pt x="440" y="212"/>
                        </a:lnTo>
                        <a:lnTo>
                          <a:pt x="434" y="210"/>
                        </a:lnTo>
                        <a:lnTo>
                          <a:pt x="410" y="206"/>
                        </a:lnTo>
                        <a:lnTo>
                          <a:pt x="410" y="206"/>
                        </a:lnTo>
                        <a:lnTo>
                          <a:pt x="406" y="182"/>
                        </a:lnTo>
                        <a:lnTo>
                          <a:pt x="396" y="156"/>
                        </a:lnTo>
                        <a:lnTo>
                          <a:pt x="418" y="142"/>
                        </a:lnTo>
                        <a:lnTo>
                          <a:pt x="418" y="142"/>
                        </a:lnTo>
                        <a:lnTo>
                          <a:pt x="422" y="136"/>
                        </a:lnTo>
                        <a:lnTo>
                          <a:pt x="424" y="132"/>
                        </a:lnTo>
                        <a:lnTo>
                          <a:pt x="424" y="126"/>
                        </a:lnTo>
                        <a:lnTo>
                          <a:pt x="420" y="120"/>
                        </a:lnTo>
                        <a:lnTo>
                          <a:pt x="420" y="120"/>
                        </a:lnTo>
                        <a:close/>
                        <a:moveTo>
                          <a:pt x="302" y="170"/>
                        </a:moveTo>
                        <a:lnTo>
                          <a:pt x="302" y="170"/>
                        </a:lnTo>
                        <a:lnTo>
                          <a:pt x="314" y="188"/>
                        </a:lnTo>
                        <a:lnTo>
                          <a:pt x="320" y="208"/>
                        </a:lnTo>
                        <a:lnTo>
                          <a:pt x="322" y="226"/>
                        </a:lnTo>
                        <a:lnTo>
                          <a:pt x="322" y="246"/>
                        </a:lnTo>
                        <a:lnTo>
                          <a:pt x="316" y="266"/>
                        </a:lnTo>
                        <a:lnTo>
                          <a:pt x="308" y="284"/>
                        </a:lnTo>
                        <a:lnTo>
                          <a:pt x="296" y="300"/>
                        </a:lnTo>
                        <a:lnTo>
                          <a:pt x="280" y="314"/>
                        </a:lnTo>
                        <a:lnTo>
                          <a:pt x="280" y="314"/>
                        </a:lnTo>
                        <a:lnTo>
                          <a:pt x="262" y="326"/>
                        </a:lnTo>
                        <a:lnTo>
                          <a:pt x="242" y="332"/>
                        </a:lnTo>
                        <a:lnTo>
                          <a:pt x="222" y="334"/>
                        </a:lnTo>
                        <a:lnTo>
                          <a:pt x="204" y="334"/>
                        </a:lnTo>
                        <a:lnTo>
                          <a:pt x="184" y="328"/>
                        </a:lnTo>
                        <a:lnTo>
                          <a:pt x="166" y="320"/>
                        </a:lnTo>
                        <a:lnTo>
                          <a:pt x="150" y="308"/>
                        </a:lnTo>
                        <a:lnTo>
                          <a:pt x="136" y="292"/>
                        </a:lnTo>
                        <a:lnTo>
                          <a:pt x="136" y="292"/>
                        </a:lnTo>
                        <a:lnTo>
                          <a:pt x="124" y="274"/>
                        </a:lnTo>
                        <a:lnTo>
                          <a:pt x="118" y="254"/>
                        </a:lnTo>
                        <a:lnTo>
                          <a:pt x="116" y="236"/>
                        </a:lnTo>
                        <a:lnTo>
                          <a:pt x="116" y="216"/>
                        </a:lnTo>
                        <a:lnTo>
                          <a:pt x="122" y="196"/>
                        </a:lnTo>
                        <a:lnTo>
                          <a:pt x="130" y="178"/>
                        </a:lnTo>
                        <a:lnTo>
                          <a:pt x="142" y="162"/>
                        </a:lnTo>
                        <a:lnTo>
                          <a:pt x="158" y="148"/>
                        </a:lnTo>
                        <a:lnTo>
                          <a:pt x="158" y="148"/>
                        </a:lnTo>
                        <a:lnTo>
                          <a:pt x="176" y="136"/>
                        </a:lnTo>
                        <a:lnTo>
                          <a:pt x="194" y="130"/>
                        </a:lnTo>
                        <a:lnTo>
                          <a:pt x="214" y="128"/>
                        </a:lnTo>
                        <a:lnTo>
                          <a:pt x="234" y="128"/>
                        </a:lnTo>
                        <a:lnTo>
                          <a:pt x="254" y="134"/>
                        </a:lnTo>
                        <a:lnTo>
                          <a:pt x="272" y="142"/>
                        </a:lnTo>
                        <a:lnTo>
                          <a:pt x="288" y="154"/>
                        </a:lnTo>
                        <a:lnTo>
                          <a:pt x="302" y="170"/>
                        </a:lnTo>
                        <a:lnTo>
                          <a:pt x="302" y="170"/>
                        </a:lnTo>
                        <a:close/>
                      </a:path>
                    </a:pathLst>
                  </a:custGeom>
                  <a:solidFill>
                    <a:srgbClr val="DFEF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3" name="Freeform 322"/>
                  <p:cNvSpPr>
                    <a:spLocks noEditPoints="1"/>
                  </p:cNvSpPr>
                  <p:nvPr/>
                </p:nvSpPr>
                <p:spPr bwMode="auto">
                  <a:xfrm>
                    <a:off x="6630295" y="3437801"/>
                    <a:ext cx="321361" cy="324131"/>
                  </a:xfrm>
                  <a:custGeom>
                    <a:avLst/>
                    <a:gdLst>
                      <a:gd name="T0" fmla="*/ 220 w 232"/>
                      <a:gd name="T1" fmla="*/ 64 h 234"/>
                      <a:gd name="T2" fmla="*/ 214 w 232"/>
                      <a:gd name="T3" fmla="*/ 58 h 234"/>
                      <a:gd name="T4" fmla="*/ 196 w 232"/>
                      <a:gd name="T5" fmla="*/ 62 h 234"/>
                      <a:gd name="T6" fmla="*/ 188 w 232"/>
                      <a:gd name="T7" fmla="*/ 32 h 234"/>
                      <a:gd name="T8" fmla="*/ 188 w 232"/>
                      <a:gd name="T9" fmla="*/ 26 h 234"/>
                      <a:gd name="T10" fmla="*/ 154 w 232"/>
                      <a:gd name="T11" fmla="*/ 6 h 234"/>
                      <a:gd name="T12" fmla="*/ 148 w 232"/>
                      <a:gd name="T13" fmla="*/ 4 h 234"/>
                      <a:gd name="T14" fmla="*/ 136 w 232"/>
                      <a:gd name="T15" fmla="*/ 22 h 234"/>
                      <a:gd name="T16" fmla="*/ 110 w 232"/>
                      <a:gd name="T17" fmla="*/ 18 h 234"/>
                      <a:gd name="T18" fmla="*/ 104 w 232"/>
                      <a:gd name="T19" fmla="*/ 4 h 234"/>
                      <a:gd name="T20" fmla="*/ 94 w 232"/>
                      <a:gd name="T21" fmla="*/ 2 h 234"/>
                      <a:gd name="T22" fmla="*/ 58 w 232"/>
                      <a:gd name="T23" fmla="*/ 14 h 234"/>
                      <a:gd name="T24" fmla="*/ 56 w 232"/>
                      <a:gd name="T25" fmla="*/ 22 h 234"/>
                      <a:gd name="T26" fmla="*/ 50 w 232"/>
                      <a:gd name="T27" fmla="*/ 40 h 234"/>
                      <a:gd name="T28" fmla="*/ 32 w 232"/>
                      <a:gd name="T29" fmla="*/ 44 h 234"/>
                      <a:gd name="T30" fmla="*/ 22 w 232"/>
                      <a:gd name="T31" fmla="*/ 46 h 234"/>
                      <a:gd name="T32" fmla="*/ 4 w 232"/>
                      <a:gd name="T33" fmla="*/ 80 h 234"/>
                      <a:gd name="T34" fmla="*/ 6 w 232"/>
                      <a:gd name="T35" fmla="*/ 88 h 234"/>
                      <a:gd name="T36" fmla="*/ 14 w 232"/>
                      <a:gd name="T37" fmla="*/ 94 h 234"/>
                      <a:gd name="T38" fmla="*/ 4 w 232"/>
                      <a:gd name="T39" fmla="*/ 128 h 234"/>
                      <a:gd name="T40" fmla="*/ 0 w 232"/>
                      <a:gd name="T41" fmla="*/ 132 h 234"/>
                      <a:gd name="T42" fmla="*/ 10 w 232"/>
                      <a:gd name="T43" fmla="*/ 172 h 234"/>
                      <a:gd name="T44" fmla="*/ 14 w 232"/>
                      <a:gd name="T45" fmla="*/ 176 h 234"/>
                      <a:gd name="T46" fmla="*/ 26 w 232"/>
                      <a:gd name="T47" fmla="*/ 174 h 234"/>
                      <a:gd name="T48" fmla="*/ 46 w 232"/>
                      <a:gd name="T49" fmla="*/ 198 h 234"/>
                      <a:gd name="T50" fmla="*/ 42 w 232"/>
                      <a:gd name="T51" fmla="*/ 204 h 234"/>
                      <a:gd name="T52" fmla="*/ 46 w 232"/>
                      <a:gd name="T53" fmla="*/ 212 h 234"/>
                      <a:gd name="T54" fmla="*/ 80 w 232"/>
                      <a:gd name="T55" fmla="*/ 230 h 234"/>
                      <a:gd name="T56" fmla="*/ 88 w 232"/>
                      <a:gd name="T57" fmla="*/ 226 h 234"/>
                      <a:gd name="T58" fmla="*/ 108 w 232"/>
                      <a:gd name="T59" fmla="*/ 222 h 234"/>
                      <a:gd name="T60" fmla="*/ 126 w 232"/>
                      <a:gd name="T61" fmla="*/ 228 h 234"/>
                      <a:gd name="T62" fmla="*/ 134 w 232"/>
                      <a:gd name="T63" fmla="*/ 234 h 234"/>
                      <a:gd name="T64" fmla="*/ 170 w 232"/>
                      <a:gd name="T65" fmla="*/ 222 h 234"/>
                      <a:gd name="T66" fmla="*/ 176 w 232"/>
                      <a:gd name="T67" fmla="*/ 214 h 234"/>
                      <a:gd name="T68" fmla="*/ 172 w 232"/>
                      <a:gd name="T69" fmla="*/ 202 h 234"/>
                      <a:gd name="T70" fmla="*/ 200 w 232"/>
                      <a:gd name="T71" fmla="*/ 190 h 234"/>
                      <a:gd name="T72" fmla="*/ 206 w 232"/>
                      <a:gd name="T73" fmla="*/ 190 h 234"/>
                      <a:gd name="T74" fmla="*/ 228 w 232"/>
                      <a:gd name="T75" fmla="*/ 156 h 234"/>
                      <a:gd name="T76" fmla="*/ 228 w 232"/>
                      <a:gd name="T77" fmla="*/ 148 h 234"/>
                      <a:gd name="T78" fmla="*/ 212 w 232"/>
                      <a:gd name="T79" fmla="*/ 138 h 234"/>
                      <a:gd name="T80" fmla="*/ 214 w 232"/>
                      <a:gd name="T81" fmla="*/ 110 h 234"/>
                      <a:gd name="T82" fmla="*/ 230 w 232"/>
                      <a:gd name="T83" fmla="*/ 104 h 234"/>
                      <a:gd name="T84" fmla="*/ 232 w 232"/>
                      <a:gd name="T85" fmla="*/ 96 h 234"/>
                      <a:gd name="T86" fmla="*/ 164 w 232"/>
                      <a:gd name="T87" fmla="*/ 102 h 234"/>
                      <a:gd name="T88" fmla="*/ 166 w 232"/>
                      <a:gd name="T89" fmla="*/ 134 h 234"/>
                      <a:gd name="T90" fmla="*/ 148 w 232"/>
                      <a:gd name="T91" fmla="*/ 162 h 234"/>
                      <a:gd name="T92" fmla="*/ 130 w 232"/>
                      <a:gd name="T93" fmla="*/ 172 h 234"/>
                      <a:gd name="T94" fmla="*/ 98 w 232"/>
                      <a:gd name="T95" fmla="*/ 172 h 234"/>
                      <a:gd name="T96" fmla="*/ 72 w 232"/>
                      <a:gd name="T97" fmla="*/ 156 h 234"/>
                      <a:gd name="T98" fmla="*/ 60 w 232"/>
                      <a:gd name="T99" fmla="*/ 138 h 234"/>
                      <a:gd name="T100" fmla="*/ 60 w 232"/>
                      <a:gd name="T101" fmla="*/ 106 h 234"/>
                      <a:gd name="T102" fmla="*/ 76 w 232"/>
                      <a:gd name="T103" fmla="*/ 80 h 234"/>
                      <a:gd name="T104" fmla="*/ 94 w 232"/>
                      <a:gd name="T105" fmla="*/ 68 h 234"/>
                      <a:gd name="T106" fmla="*/ 126 w 232"/>
                      <a:gd name="T107" fmla="*/ 68 h 234"/>
                      <a:gd name="T108" fmla="*/ 154 w 232"/>
                      <a:gd name="T109" fmla="*/ 84 h 234"/>
                      <a:gd name="T110" fmla="*/ 164 w 232"/>
                      <a:gd name="T111" fmla="*/ 10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2" h="234">
                        <a:moveTo>
                          <a:pt x="232" y="96"/>
                        </a:moveTo>
                        <a:lnTo>
                          <a:pt x="220" y="64"/>
                        </a:lnTo>
                        <a:lnTo>
                          <a:pt x="220" y="64"/>
                        </a:lnTo>
                        <a:lnTo>
                          <a:pt x="218" y="60"/>
                        </a:lnTo>
                        <a:lnTo>
                          <a:pt x="216" y="58"/>
                        </a:lnTo>
                        <a:lnTo>
                          <a:pt x="214"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48" y="4"/>
                        </a:lnTo>
                        <a:lnTo>
                          <a:pt x="144" y="6"/>
                        </a:lnTo>
                        <a:lnTo>
                          <a:pt x="142" y="10"/>
                        </a:lnTo>
                        <a:lnTo>
                          <a:pt x="136" y="22"/>
                        </a:lnTo>
                        <a:lnTo>
                          <a:pt x="136" y="22"/>
                        </a:lnTo>
                        <a:lnTo>
                          <a:pt x="122" y="18"/>
                        </a:lnTo>
                        <a:lnTo>
                          <a:pt x="110" y="18"/>
                        </a:lnTo>
                        <a:lnTo>
                          <a:pt x="106" y="6"/>
                        </a:lnTo>
                        <a:lnTo>
                          <a:pt x="106" y="6"/>
                        </a:lnTo>
                        <a:lnTo>
                          <a:pt x="104" y="4"/>
                        </a:lnTo>
                        <a:lnTo>
                          <a:pt x="102" y="2"/>
                        </a:ln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4" y="44"/>
                        </a:lnTo>
                        <a:lnTo>
                          <a:pt x="22" y="46"/>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2" y="174"/>
                        </a:lnTo>
                        <a:lnTo>
                          <a:pt x="14"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0" y="230"/>
                        </a:lnTo>
                        <a:lnTo>
                          <a:pt x="84" y="230"/>
                        </a:lnTo>
                        <a:lnTo>
                          <a:pt x="86" y="228"/>
                        </a:lnTo>
                        <a:lnTo>
                          <a:pt x="88" y="226"/>
                        </a:lnTo>
                        <a:lnTo>
                          <a:pt x="92" y="220"/>
                        </a:lnTo>
                        <a:lnTo>
                          <a:pt x="92" y="220"/>
                        </a:lnTo>
                        <a:lnTo>
                          <a:pt x="108" y="222"/>
                        </a:lnTo>
                        <a:lnTo>
                          <a:pt x="124" y="222"/>
                        </a:lnTo>
                        <a:lnTo>
                          <a:pt x="126" y="228"/>
                        </a:lnTo>
                        <a:lnTo>
                          <a:pt x="126" y="228"/>
                        </a:lnTo>
                        <a:lnTo>
                          <a:pt x="128" y="230"/>
                        </a:lnTo>
                        <a:lnTo>
                          <a:pt x="130" y="232"/>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6" y="190"/>
                        </a:lnTo>
                        <a:lnTo>
                          <a:pt x="210" y="188"/>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32" y="96"/>
                        </a:lnTo>
                        <a:close/>
                        <a:moveTo>
                          <a:pt x="164" y="102"/>
                        </a:moveTo>
                        <a:lnTo>
                          <a:pt x="164" y="102"/>
                        </a:lnTo>
                        <a:lnTo>
                          <a:pt x="166" y="114"/>
                        </a:lnTo>
                        <a:lnTo>
                          <a:pt x="168" y="124"/>
                        </a:lnTo>
                        <a:lnTo>
                          <a:pt x="166" y="134"/>
                        </a:lnTo>
                        <a:lnTo>
                          <a:pt x="162" y="144"/>
                        </a:lnTo>
                        <a:lnTo>
                          <a:pt x="156" y="154"/>
                        </a:lnTo>
                        <a:lnTo>
                          <a:pt x="148" y="162"/>
                        </a:lnTo>
                        <a:lnTo>
                          <a:pt x="140" y="168"/>
                        </a:lnTo>
                        <a:lnTo>
                          <a:pt x="130" y="172"/>
                        </a:lnTo>
                        <a:lnTo>
                          <a:pt x="130" y="172"/>
                        </a:lnTo>
                        <a:lnTo>
                          <a:pt x="120" y="174"/>
                        </a:lnTo>
                        <a:lnTo>
                          <a:pt x="108" y="174"/>
                        </a:lnTo>
                        <a:lnTo>
                          <a:pt x="98" y="172"/>
                        </a:lnTo>
                        <a:lnTo>
                          <a:pt x="88" y="170"/>
                        </a:lnTo>
                        <a:lnTo>
                          <a:pt x="80" y="164"/>
                        </a:lnTo>
                        <a:lnTo>
                          <a:pt x="72" y="156"/>
                        </a:lnTo>
                        <a:lnTo>
                          <a:pt x="66" y="148"/>
                        </a:lnTo>
                        <a:lnTo>
                          <a:pt x="60" y="138"/>
                        </a:lnTo>
                        <a:lnTo>
                          <a:pt x="60" y="138"/>
                        </a:lnTo>
                        <a:lnTo>
                          <a:pt x="58" y="126"/>
                        </a:lnTo>
                        <a:lnTo>
                          <a:pt x="58" y="116"/>
                        </a:lnTo>
                        <a:lnTo>
                          <a:pt x="60" y="106"/>
                        </a:lnTo>
                        <a:lnTo>
                          <a:pt x="64" y="96"/>
                        </a:lnTo>
                        <a:lnTo>
                          <a:pt x="68" y="88"/>
                        </a:lnTo>
                        <a:lnTo>
                          <a:pt x="76" y="80"/>
                        </a:lnTo>
                        <a:lnTo>
                          <a:pt x="84" y="72"/>
                        </a:lnTo>
                        <a:lnTo>
                          <a:pt x="94" y="68"/>
                        </a:lnTo>
                        <a:lnTo>
                          <a:pt x="94" y="68"/>
                        </a:lnTo>
                        <a:lnTo>
                          <a:pt x="106" y="66"/>
                        </a:lnTo>
                        <a:lnTo>
                          <a:pt x="116" y="66"/>
                        </a:lnTo>
                        <a:lnTo>
                          <a:pt x="126" y="68"/>
                        </a:lnTo>
                        <a:lnTo>
                          <a:pt x="136" y="72"/>
                        </a:lnTo>
                        <a:lnTo>
                          <a:pt x="146" y="76"/>
                        </a:lnTo>
                        <a:lnTo>
                          <a:pt x="154" y="84"/>
                        </a:lnTo>
                        <a:lnTo>
                          <a:pt x="160" y="92"/>
                        </a:lnTo>
                        <a:lnTo>
                          <a:pt x="164" y="102"/>
                        </a:lnTo>
                        <a:lnTo>
                          <a:pt x="164" y="102"/>
                        </a:lnTo>
                        <a:close/>
                      </a:path>
                    </a:pathLst>
                  </a:custGeom>
                  <a:solidFill>
                    <a:srgbClr val="DFEF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4" name="Freeform 323"/>
                  <p:cNvSpPr/>
                  <p:nvPr/>
                </p:nvSpPr>
                <p:spPr bwMode="auto">
                  <a:xfrm>
                    <a:off x="6152409" y="3130291"/>
                    <a:ext cx="217473" cy="216088"/>
                  </a:xfrm>
                  <a:custGeom>
                    <a:avLst/>
                    <a:gdLst>
                      <a:gd name="T0" fmla="*/ 0 w 157"/>
                      <a:gd name="T1" fmla="*/ 78 h 156"/>
                      <a:gd name="T2" fmla="*/ 0 w 157"/>
                      <a:gd name="T3" fmla="*/ 78 h 156"/>
                      <a:gd name="T4" fmla="*/ 2 w 157"/>
                      <a:gd name="T5" fmla="*/ 62 h 156"/>
                      <a:gd name="T6" fmla="*/ 6 w 157"/>
                      <a:gd name="T7" fmla="*/ 48 h 156"/>
                      <a:gd name="T8" fmla="*/ 14 w 157"/>
                      <a:gd name="T9" fmla="*/ 34 h 156"/>
                      <a:gd name="T10" fmla="*/ 25 w 157"/>
                      <a:gd name="T11" fmla="*/ 24 h 156"/>
                      <a:gd name="T12" fmla="*/ 35 w 157"/>
                      <a:gd name="T13" fmla="*/ 14 h 156"/>
                      <a:gd name="T14" fmla="*/ 49 w 157"/>
                      <a:gd name="T15" fmla="*/ 6 h 156"/>
                      <a:gd name="T16" fmla="*/ 63 w 157"/>
                      <a:gd name="T17" fmla="*/ 2 h 156"/>
                      <a:gd name="T18" fmla="*/ 79 w 157"/>
                      <a:gd name="T19" fmla="*/ 0 h 156"/>
                      <a:gd name="T20" fmla="*/ 79 w 157"/>
                      <a:gd name="T21" fmla="*/ 0 h 156"/>
                      <a:gd name="T22" fmla="*/ 95 w 157"/>
                      <a:gd name="T23" fmla="*/ 2 h 156"/>
                      <a:gd name="T24" fmla="*/ 109 w 157"/>
                      <a:gd name="T25" fmla="*/ 6 h 156"/>
                      <a:gd name="T26" fmla="*/ 123 w 157"/>
                      <a:gd name="T27" fmla="*/ 14 h 156"/>
                      <a:gd name="T28" fmla="*/ 133 w 157"/>
                      <a:gd name="T29" fmla="*/ 24 h 156"/>
                      <a:gd name="T30" fmla="*/ 143 w 157"/>
                      <a:gd name="T31" fmla="*/ 34 h 156"/>
                      <a:gd name="T32" fmla="*/ 151 w 157"/>
                      <a:gd name="T33" fmla="*/ 48 h 156"/>
                      <a:gd name="T34" fmla="*/ 155 w 157"/>
                      <a:gd name="T35" fmla="*/ 62 h 156"/>
                      <a:gd name="T36" fmla="*/ 157 w 157"/>
                      <a:gd name="T37" fmla="*/ 78 h 156"/>
                      <a:gd name="T38" fmla="*/ 157 w 157"/>
                      <a:gd name="T39" fmla="*/ 78 h 156"/>
                      <a:gd name="T40" fmla="*/ 155 w 157"/>
                      <a:gd name="T41" fmla="*/ 94 h 156"/>
                      <a:gd name="T42" fmla="*/ 151 w 157"/>
                      <a:gd name="T43" fmla="*/ 108 h 156"/>
                      <a:gd name="T44" fmla="*/ 143 w 157"/>
                      <a:gd name="T45" fmla="*/ 122 h 156"/>
                      <a:gd name="T46" fmla="*/ 133 w 157"/>
                      <a:gd name="T47" fmla="*/ 132 h 156"/>
                      <a:gd name="T48" fmla="*/ 123 w 157"/>
                      <a:gd name="T49" fmla="*/ 142 h 156"/>
                      <a:gd name="T50" fmla="*/ 109 w 157"/>
                      <a:gd name="T51" fmla="*/ 150 h 156"/>
                      <a:gd name="T52" fmla="*/ 95 w 157"/>
                      <a:gd name="T53" fmla="*/ 154 h 156"/>
                      <a:gd name="T54" fmla="*/ 79 w 157"/>
                      <a:gd name="T55" fmla="*/ 156 h 156"/>
                      <a:gd name="T56" fmla="*/ 79 w 157"/>
                      <a:gd name="T57" fmla="*/ 156 h 156"/>
                      <a:gd name="T58" fmla="*/ 63 w 157"/>
                      <a:gd name="T59" fmla="*/ 154 h 156"/>
                      <a:gd name="T60" fmla="*/ 49 w 157"/>
                      <a:gd name="T61" fmla="*/ 150 h 156"/>
                      <a:gd name="T62" fmla="*/ 35 w 157"/>
                      <a:gd name="T63" fmla="*/ 142 h 156"/>
                      <a:gd name="T64" fmla="*/ 25 w 157"/>
                      <a:gd name="T65" fmla="*/ 132 h 156"/>
                      <a:gd name="T66" fmla="*/ 14 w 157"/>
                      <a:gd name="T67" fmla="*/ 122 h 156"/>
                      <a:gd name="T68" fmla="*/ 6 w 157"/>
                      <a:gd name="T69" fmla="*/ 108 h 156"/>
                      <a:gd name="T70" fmla="*/ 2 w 157"/>
                      <a:gd name="T71" fmla="*/ 94 h 156"/>
                      <a:gd name="T72" fmla="*/ 0 w 157"/>
                      <a:gd name="T73" fmla="*/ 78 h 156"/>
                      <a:gd name="T74" fmla="*/ 0 w 157"/>
                      <a:gd name="T7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0" y="78"/>
                        </a:moveTo>
                        <a:lnTo>
                          <a:pt x="0" y="78"/>
                        </a:lnTo>
                        <a:lnTo>
                          <a:pt x="2" y="62"/>
                        </a:lnTo>
                        <a:lnTo>
                          <a:pt x="6" y="48"/>
                        </a:lnTo>
                        <a:lnTo>
                          <a:pt x="14" y="34"/>
                        </a:lnTo>
                        <a:lnTo>
                          <a:pt x="25" y="24"/>
                        </a:lnTo>
                        <a:lnTo>
                          <a:pt x="35" y="14"/>
                        </a:lnTo>
                        <a:lnTo>
                          <a:pt x="49" y="6"/>
                        </a:lnTo>
                        <a:lnTo>
                          <a:pt x="63" y="2"/>
                        </a:lnTo>
                        <a:lnTo>
                          <a:pt x="79" y="0"/>
                        </a:lnTo>
                        <a:lnTo>
                          <a:pt x="79" y="0"/>
                        </a:lnTo>
                        <a:lnTo>
                          <a:pt x="95" y="2"/>
                        </a:lnTo>
                        <a:lnTo>
                          <a:pt x="109" y="6"/>
                        </a:lnTo>
                        <a:lnTo>
                          <a:pt x="123" y="14"/>
                        </a:lnTo>
                        <a:lnTo>
                          <a:pt x="133" y="24"/>
                        </a:lnTo>
                        <a:lnTo>
                          <a:pt x="143" y="34"/>
                        </a:lnTo>
                        <a:lnTo>
                          <a:pt x="151" y="48"/>
                        </a:lnTo>
                        <a:lnTo>
                          <a:pt x="155" y="62"/>
                        </a:lnTo>
                        <a:lnTo>
                          <a:pt x="157" y="78"/>
                        </a:lnTo>
                        <a:lnTo>
                          <a:pt x="157" y="78"/>
                        </a:lnTo>
                        <a:lnTo>
                          <a:pt x="155" y="94"/>
                        </a:lnTo>
                        <a:lnTo>
                          <a:pt x="151" y="108"/>
                        </a:lnTo>
                        <a:lnTo>
                          <a:pt x="143" y="122"/>
                        </a:lnTo>
                        <a:lnTo>
                          <a:pt x="133" y="132"/>
                        </a:lnTo>
                        <a:lnTo>
                          <a:pt x="123" y="142"/>
                        </a:lnTo>
                        <a:lnTo>
                          <a:pt x="109" y="150"/>
                        </a:lnTo>
                        <a:lnTo>
                          <a:pt x="95" y="154"/>
                        </a:lnTo>
                        <a:lnTo>
                          <a:pt x="79" y="156"/>
                        </a:lnTo>
                        <a:lnTo>
                          <a:pt x="79" y="156"/>
                        </a:lnTo>
                        <a:lnTo>
                          <a:pt x="63" y="154"/>
                        </a:lnTo>
                        <a:lnTo>
                          <a:pt x="49" y="150"/>
                        </a:lnTo>
                        <a:lnTo>
                          <a:pt x="35" y="142"/>
                        </a:lnTo>
                        <a:lnTo>
                          <a:pt x="25" y="132"/>
                        </a:lnTo>
                        <a:lnTo>
                          <a:pt x="14" y="122"/>
                        </a:lnTo>
                        <a:lnTo>
                          <a:pt x="6" y="108"/>
                        </a:lnTo>
                        <a:lnTo>
                          <a:pt x="2" y="94"/>
                        </a:lnTo>
                        <a:lnTo>
                          <a:pt x="0" y="78"/>
                        </a:lnTo>
                        <a:lnTo>
                          <a:pt x="0" y="78"/>
                        </a:lnTo>
                        <a:close/>
                      </a:path>
                    </a:pathLst>
                  </a:custGeom>
                  <a:solidFill>
                    <a:srgbClr val="DFEF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5" name="Freeform 324"/>
                  <p:cNvSpPr/>
                  <p:nvPr/>
                </p:nvSpPr>
                <p:spPr bwMode="auto">
                  <a:xfrm>
                    <a:off x="6203661" y="3174617"/>
                    <a:ext cx="116355" cy="116355"/>
                  </a:xfrm>
                  <a:custGeom>
                    <a:avLst/>
                    <a:gdLst>
                      <a:gd name="T0" fmla="*/ 0 w 84"/>
                      <a:gd name="T1" fmla="*/ 42 h 84"/>
                      <a:gd name="T2" fmla="*/ 0 w 84"/>
                      <a:gd name="T3" fmla="*/ 42 h 84"/>
                      <a:gd name="T4" fmla="*/ 0 w 84"/>
                      <a:gd name="T5" fmla="*/ 34 h 84"/>
                      <a:gd name="T6" fmla="*/ 2 w 84"/>
                      <a:gd name="T7" fmla="*/ 26 h 84"/>
                      <a:gd name="T8" fmla="*/ 6 w 84"/>
                      <a:gd name="T9" fmla="*/ 18 h 84"/>
                      <a:gd name="T10" fmla="*/ 12 w 84"/>
                      <a:gd name="T11" fmla="*/ 12 h 84"/>
                      <a:gd name="T12" fmla="*/ 18 w 84"/>
                      <a:gd name="T13" fmla="*/ 6 h 84"/>
                      <a:gd name="T14" fmla="*/ 26 w 84"/>
                      <a:gd name="T15" fmla="*/ 2 h 84"/>
                      <a:gd name="T16" fmla="*/ 34 w 84"/>
                      <a:gd name="T17" fmla="*/ 0 h 84"/>
                      <a:gd name="T18" fmla="*/ 42 w 84"/>
                      <a:gd name="T19" fmla="*/ 0 h 84"/>
                      <a:gd name="T20" fmla="*/ 42 w 84"/>
                      <a:gd name="T21" fmla="*/ 0 h 84"/>
                      <a:gd name="T22" fmla="*/ 50 w 84"/>
                      <a:gd name="T23" fmla="*/ 0 h 84"/>
                      <a:gd name="T24" fmla="*/ 58 w 84"/>
                      <a:gd name="T25" fmla="*/ 2 h 84"/>
                      <a:gd name="T26" fmla="*/ 66 w 84"/>
                      <a:gd name="T27" fmla="*/ 6 h 84"/>
                      <a:gd name="T28" fmla="*/ 72 w 84"/>
                      <a:gd name="T29" fmla="*/ 12 h 84"/>
                      <a:gd name="T30" fmla="*/ 78 w 84"/>
                      <a:gd name="T31" fmla="*/ 18 h 84"/>
                      <a:gd name="T32" fmla="*/ 82 w 84"/>
                      <a:gd name="T33" fmla="*/ 26 h 84"/>
                      <a:gd name="T34" fmla="*/ 84 w 84"/>
                      <a:gd name="T35" fmla="*/ 34 h 84"/>
                      <a:gd name="T36" fmla="*/ 84 w 84"/>
                      <a:gd name="T37" fmla="*/ 42 h 84"/>
                      <a:gd name="T38" fmla="*/ 84 w 84"/>
                      <a:gd name="T39" fmla="*/ 42 h 84"/>
                      <a:gd name="T40" fmla="*/ 84 w 84"/>
                      <a:gd name="T41" fmla="*/ 50 h 84"/>
                      <a:gd name="T42" fmla="*/ 82 w 84"/>
                      <a:gd name="T43" fmla="*/ 58 h 84"/>
                      <a:gd name="T44" fmla="*/ 78 w 84"/>
                      <a:gd name="T45" fmla="*/ 66 h 84"/>
                      <a:gd name="T46" fmla="*/ 72 w 84"/>
                      <a:gd name="T47" fmla="*/ 72 h 84"/>
                      <a:gd name="T48" fmla="*/ 66 w 84"/>
                      <a:gd name="T49" fmla="*/ 78 h 84"/>
                      <a:gd name="T50" fmla="*/ 58 w 84"/>
                      <a:gd name="T51" fmla="*/ 82 h 84"/>
                      <a:gd name="T52" fmla="*/ 50 w 84"/>
                      <a:gd name="T53" fmla="*/ 84 h 84"/>
                      <a:gd name="T54" fmla="*/ 42 w 84"/>
                      <a:gd name="T55" fmla="*/ 84 h 84"/>
                      <a:gd name="T56" fmla="*/ 42 w 84"/>
                      <a:gd name="T57" fmla="*/ 84 h 84"/>
                      <a:gd name="T58" fmla="*/ 34 w 84"/>
                      <a:gd name="T59" fmla="*/ 84 h 84"/>
                      <a:gd name="T60" fmla="*/ 26 w 84"/>
                      <a:gd name="T61" fmla="*/ 82 h 84"/>
                      <a:gd name="T62" fmla="*/ 18 w 84"/>
                      <a:gd name="T63" fmla="*/ 78 h 84"/>
                      <a:gd name="T64" fmla="*/ 12 w 84"/>
                      <a:gd name="T65" fmla="*/ 72 h 84"/>
                      <a:gd name="T66" fmla="*/ 6 w 84"/>
                      <a:gd name="T67" fmla="*/ 66 h 84"/>
                      <a:gd name="T68" fmla="*/ 2 w 84"/>
                      <a:gd name="T69" fmla="*/ 58 h 84"/>
                      <a:gd name="T70" fmla="*/ 0 w 84"/>
                      <a:gd name="T71" fmla="*/ 50 h 84"/>
                      <a:gd name="T72" fmla="*/ 0 w 84"/>
                      <a:gd name="T73" fmla="*/ 42 h 84"/>
                      <a:gd name="T74" fmla="*/ 0 w 84"/>
                      <a:gd name="T75"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0" y="42"/>
                        </a:move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8" y="18"/>
                        </a:lnTo>
                        <a:lnTo>
                          <a:pt x="82" y="26"/>
                        </a:lnTo>
                        <a:lnTo>
                          <a:pt x="84" y="34"/>
                        </a:lnTo>
                        <a:lnTo>
                          <a:pt x="84" y="42"/>
                        </a:lnTo>
                        <a:lnTo>
                          <a:pt x="84" y="42"/>
                        </a:lnTo>
                        <a:lnTo>
                          <a:pt x="84" y="50"/>
                        </a:lnTo>
                        <a:lnTo>
                          <a:pt x="82" y="58"/>
                        </a:lnTo>
                        <a:lnTo>
                          <a:pt x="78" y="66"/>
                        </a:lnTo>
                        <a:lnTo>
                          <a:pt x="72" y="72"/>
                        </a:lnTo>
                        <a:lnTo>
                          <a:pt x="66" y="78"/>
                        </a:lnTo>
                        <a:lnTo>
                          <a:pt x="58" y="82"/>
                        </a:lnTo>
                        <a:lnTo>
                          <a:pt x="50" y="84"/>
                        </a:lnTo>
                        <a:lnTo>
                          <a:pt x="42" y="84"/>
                        </a:lnTo>
                        <a:lnTo>
                          <a:pt x="42" y="84"/>
                        </a:lnTo>
                        <a:lnTo>
                          <a:pt x="34" y="84"/>
                        </a:lnTo>
                        <a:lnTo>
                          <a:pt x="26" y="82"/>
                        </a:lnTo>
                        <a:lnTo>
                          <a:pt x="18" y="78"/>
                        </a:lnTo>
                        <a:lnTo>
                          <a:pt x="12" y="72"/>
                        </a:lnTo>
                        <a:lnTo>
                          <a:pt x="6" y="66"/>
                        </a:lnTo>
                        <a:lnTo>
                          <a:pt x="2" y="58"/>
                        </a:lnTo>
                        <a:lnTo>
                          <a:pt x="0" y="50"/>
                        </a:lnTo>
                        <a:lnTo>
                          <a:pt x="0" y="42"/>
                        </a:lnTo>
                        <a:lnTo>
                          <a:pt x="0" y="42"/>
                        </a:lnTo>
                        <a:close/>
                      </a:path>
                    </a:pathLst>
                  </a:custGeom>
                  <a:solidFill>
                    <a:srgbClr val="47B2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6" name="Freeform 325"/>
                  <p:cNvSpPr>
                    <a:spLocks noEditPoints="1"/>
                  </p:cNvSpPr>
                  <p:nvPr/>
                </p:nvSpPr>
                <p:spPr bwMode="auto">
                  <a:xfrm>
                    <a:off x="5720234" y="3108129"/>
                    <a:ext cx="666270" cy="537449"/>
                  </a:xfrm>
                  <a:custGeom>
                    <a:avLst/>
                    <a:gdLst>
                      <a:gd name="T0" fmla="*/ 110 w 481"/>
                      <a:gd name="T1" fmla="*/ 388 h 388"/>
                      <a:gd name="T2" fmla="*/ 82 w 481"/>
                      <a:gd name="T3" fmla="*/ 384 h 388"/>
                      <a:gd name="T4" fmla="*/ 58 w 481"/>
                      <a:gd name="T5" fmla="*/ 376 h 388"/>
                      <a:gd name="T6" fmla="*/ 38 w 481"/>
                      <a:gd name="T7" fmla="*/ 362 h 388"/>
                      <a:gd name="T8" fmla="*/ 20 w 481"/>
                      <a:gd name="T9" fmla="*/ 342 h 388"/>
                      <a:gd name="T10" fmla="*/ 10 w 481"/>
                      <a:gd name="T11" fmla="*/ 324 h 388"/>
                      <a:gd name="T12" fmla="*/ 0 w 481"/>
                      <a:gd name="T13" fmla="*/ 282 h 388"/>
                      <a:gd name="T14" fmla="*/ 2 w 481"/>
                      <a:gd name="T15" fmla="*/ 260 h 388"/>
                      <a:gd name="T16" fmla="*/ 20 w 481"/>
                      <a:gd name="T17" fmla="*/ 218 h 388"/>
                      <a:gd name="T18" fmla="*/ 54 w 481"/>
                      <a:gd name="T19" fmla="*/ 186 h 388"/>
                      <a:gd name="T20" fmla="*/ 308 w 481"/>
                      <a:gd name="T21" fmla="*/ 32 h 388"/>
                      <a:gd name="T22" fmla="*/ 355 w 481"/>
                      <a:gd name="T23" fmla="*/ 8 h 388"/>
                      <a:gd name="T24" fmla="*/ 397 w 481"/>
                      <a:gd name="T25" fmla="*/ 0 h 388"/>
                      <a:gd name="T26" fmla="*/ 417 w 481"/>
                      <a:gd name="T27" fmla="*/ 2 h 388"/>
                      <a:gd name="T28" fmla="*/ 435 w 481"/>
                      <a:gd name="T29" fmla="*/ 8 h 388"/>
                      <a:gd name="T30" fmla="*/ 451 w 481"/>
                      <a:gd name="T31" fmla="*/ 20 h 388"/>
                      <a:gd name="T32" fmla="*/ 463 w 481"/>
                      <a:gd name="T33" fmla="*/ 34 h 388"/>
                      <a:gd name="T34" fmla="*/ 477 w 481"/>
                      <a:gd name="T35" fmla="*/ 64 h 388"/>
                      <a:gd name="T36" fmla="*/ 481 w 481"/>
                      <a:gd name="T37" fmla="*/ 84 h 388"/>
                      <a:gd name="T38" fmla="*/ 479 w 481"/>
                      <a:gd name="T39" fmla="*/ 104 h 388"/>
                      <a:gd name="T40" fmla="*/ 475 w 481"/>
                      <a:gd name="T41" fmla="*/ 114 h 388"/>
                      <a:gd name="T42" fmla="*/ 455 w 481"/>
                      <a:gd name="T43" fmla="*/ 150 h 388"/>
                      <a:gd name="T44" fmla="*/ 419 w 481"/>
                      <a:gd name="T45" fmla="*/ 182 h 388"/>
                      <a:gd name="T46" fmla="*/ 188 w 481"/>
                      <a:gd name="T47" fmla="*/ 362 h 388"/>
                      <a:gd name="T48" fmla="*/ 150 w 481"/>
                      <a:gd name="T49" fmla="*/ 380 h 388"/>
                      <a:gd name="T50" fmla="*/ 110 w 481"/>
                      <a:gd name="T51" fmla="*/ 388 h 388"/>
                      <a:gd name="T52" fmla="*/ 397 w 481"/>
                      <a:gd name="T53" fmla="*/ 16 h 388"/>
                      <a:gd name="T54" fmla="*/ 379 w 481"/>
                      <a:gd name="T55" fmla="*/ 16 h 388"/>
                      <a:gd name="T56" fmla="*/ 339 w 481"/>
                      <a:gd name="T57" fmla="*/ 32 h 388"/>
                      <a:gd name="T58" fmla="*/ 62 w 481"/>
                      <a:gd name="T59" fmla="*/ 198 h 388"/>
                      <a:gd name="T60" fmla="*/ 46 w 481"/>
                      <a:gd name="T61" fmla="*/ 212 h 388"/>
                      <a:gd name="T62" fmla="*/ 24 w 481"/>
                      <a:gd name="T63" fmla="*/ 244 h 388"/>
                      <a:gd name="T64" fmla="*/ 18 w 481"/>
                      <a:gd name="T65" fmla="*/ 264 h 388"/>
                      <a:gd name="T66" fmla="*/ 18 w 481"/>
                      <a:gd name="T67" fmla="*/ 300 h 388"/>
                      <a:gd name="T68" fmla="*/ 34 w 481"/>
                      <a:gd name="T69" fmla="*/ 334 h 388"/>
                      <a:gd name="T70" fmla="*/ 40 w 481"/>
                      <a:gd name="T71" fmla="*/ 342 h 388"/>
                      <a:gd name="T72" fmla="*/ 56 w 481"/>
                      <a:gd name="T73" fmla="*/ 356 h 388"/>
                      <a:gd name="T74" fmla="*/ 76 w 481"/>
                      <a:gd name="T75" fmla="*/ 366 h 388"/>
                      <a:gd name="T76" fmla="*/ 98 w 481"/>
                      <a:gd name="T77" fmla="*/ 370 h 388"/>
                      <a:gd name="T78" fmla="*/ 110 w 481"/>
                      <a:gd name="T79" fmla="*/ 372 h 388"/>
                      <a:gd name="T80" fmla="*/ 144 w 481"/>
                      <a:gd name="T81" fmla="*/ 366 h 388"/>
                      <a:gd name="T82" fmla="*/ 178 w 481"/>
                      <a:gd name="T83" fmla="*/ 350 h 388"/>
                      <a:gd name="T84" fmla="*/ 409 w 481"/>
                      <a:gd name="T85" fmla="*/ 170 h 388"/>
                      <a:gd name="T86" fmla="*/ 441 w 481"/>
                      <a:gd name="T87" fmla="*/ 140 h 388"/>
                      <a:gd name="T88" fmla="*/ 461 w 481"/>
                      <a:gd name="T89" fmla="*/ 108 h 388"/>
                      <a:gd name="T90" fmla="*/ 465 w 481"/>
                      <a:gd name="T91" fmla="*/ 92 h 388"/>
                      <a:gd name="T92" fmla="*/ 459 w 481"/>
                      <a:gd name="T93" fmla="*/ 60 h 388"/>
                      <a:gd name="T94" fmla="*/ 451 w 481"/>
                      <a:gd name="T95" fmla="*/ 44 h 388"/>
                      <a:gd name="T96" fmla="*/ 427 w 481"/>
                      <a:gd name="T97" fmla="*/ 22 h 388"/>
                      <a:gd name="T98" fmla="*/ 397 w 481"/>
                      <a:gd name="T99" fmla="*/ 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1" h="388">
                        <a:moveTo>
                          <a:pt x="110" y="388"/>
                        </a:moveTo>
                        <a:lnTo>
                          <a:pt x="110" y="388"/>
                        </a:lnTo>
                        <a:lnTo>
                          <a:pt x="96" y="386"/>
                        </a:lnTo>
                        <a:lnTo>
                          <a:pt x="82" y="384"/>
                        </a:lnTo>
                        <a:lnTo>
                          <a:pt x="70" y="380"/>
                        </a:lnTo>
                        <a:lnTo>
                          <a:pt x="58" y="376"/>
                        </a:lnTo>
                        <a:lnTo>
                          <a:pt x="48" y="370"/>
                        </a:lnTo>
                        <a:lnTo>
                          <a:pt x="38" y="362"/>
                        </a:lnTo>
                        <a:lnTo>
                          <a:pt x="28" y="352"/>
                        </a:lnTo>
                        <a:lnTo>
                          <a:pt x="20" y="342"/>
                        </a:lnTo>
                        <a:lnTo>
                          <a:pt x="20" y="342"/>
                        </a:lnTo>
                        <a:lnTo>
                          <a:pt x="10" y="324"/>
                        </a:lnTo>
                        <a:lnTo>
                          <a:pt x="2" y="302"/>
                        </a:lnTo>
                        <a:lnTo>
                          <a:pt x="0" y="282"/>
                        </a:lnTo>
                        <a:lnTo>
                          <a:pt x="2" y="260"/>
                        </a:lnTo>
                        <a:lnTo>
                          <a:pt x="2" y="260"/>
                        </a:lnTo>
                        <a:lnTo>
                          <a:pt x="10" y="238"/>
                        </a:lnTo>
                        <a:lnTo>
                          <a:pt x="20" y="218"/>
                        </a:lnTo>
                        <a:lnTo>
                          <a:pt x="36" y="200"/>
                        </a:lnTo>
                        <a:lnTo>
                          <a:pt x="54" y="186"/>
                        </a:lnTo>
                        <a:lnTo>
                          <a:pt x="308" y="32"/>
                        </a:lnTo>
                        <a:lnTo>
                          <a:pt x="308" y="32"/>
                        </a:lnTo>
                        <a:lnTo>
                          <a:pt x="333" y="18"/>
                        </a:lnTo>
                        <a:lnTo>
                          <a:pt x="355" y="8"/>
                        </a:lnTo>
                        <a:lnTo>
                          <a:pt x="377" y="2"/>
                        </a:lnTo>
                        <a:lnTo>
                          <a:pt x="397" y="0"/>
                        </a:lnTo>
                        <a:lnTo>
                          <a:pt x="397" y="0"/>
                        </a:lnTo>
                        <a:lnTo>
                          <a:pt x="417" y="2"/>
                        </a:lnTo>
                        <a:lnTo>
                          <a:pt x="425" y="4"/>
                        </a:lnTo>
                        <a:lnTo>
                          <a:pt x="435" y="8"/>
                        </a:lnTo>
                        <a:lnTo>
                          <a:pt x="443" y="14"/>
                        </a:lnTo>
                        <a:lnTo>
                          <a:pt x="451" y="20"/>
                        </a:lnTo>
                        <a:lnTo>
                          <a:pt x="463" y="34"/>
                        </a:lnTo>
                        <a:lnTo>
                          <a:pt x="463" y="34"/>
                        </a:lnTo>
                        <a:lnTo>
                          <a:pt x="475" y="54"/>
                        </a:lnTo>
                        <a:lnTo>
                          <a:pt x="477" y="64"/>
                        </a:lnTo>
                        <a:lnTo>
                          <a:pt x="479" y="74"/>
                        </a:lnTo>
                        <a:lnTo>
                          <a:pt x="481" y="84"/>
                        </a:lnTo>
                        <a:lnTo>
                          <a:pt x="479" y="94"/>
                        </a:lnTo>
                        <a:lnTo>
                          <a:pt x="479" y="104"/>
                        </a:lnTo>
                        <a:lnTo>
                          <a:pt x="475" y="114"/>
                        </a:lnTo>
                        <a:lnTo>
                          <a:pt x="475" y="114"/>
                        </a:lnTo>
                        <a:lnTo>
                          <a:pt x="467" y="132"/>
                        </a:lnTo>
                        <a:lnTo>
                          <a:pt x="455" y="150"/>
                        </a:lnTo>
                        <a:lnTo>
                          <a:pt x="439" y="166"/>
                        </a:lnTo>
                        <a:lnTo>
                          <a:pt x="419" y="182"/>
                        </a:lnTo>
                        <a:lnTo>
                          <a:pt x="188" y="362"/>
                        </a:lnTo>
                        <a:lnTo>
                          <a:pt x="188" y="362"/>
                        </a:lnTo>
                        <a:lnTo>
                          <a:pt x="168" y="374"/>
                        </a:lnTo>
                        <a:lnTo>
                          <a:pt x="150" y="380"/>
                        </a:lnTo>
                        <a:lnTo>
                          <a:pt x="130" y="386"/>
                        </a:lnTo>
                        <a:lnTo>
                          <a:pt x="110" y="388"/>
                        </a:lnTo>
                        <a:lnTo>
                          <a:pt x="110" y="388"/>
                        </a:lnTo>
                        <a:close/>
                        <a:moveTo>
                          <a:pt x="397" y="16"/>
                        </a:moveTo>
                        <a:lnTo>
                          <a:pt x="397" y="16"/>
                        </a:lnTo>
                        <a:lnTo>
                          <a:pt x="379" y="16"/>
                        </a:lnTo>
                        <a:lnTo>
                          <a:pt x="359" y="22"/>
                        </a:lnTo>
                        <a:lnTo>
                          <a:pt x="339" y="32"/>
                        </a:lnTo>
                        <a:lnTo>
                          <a:pt x="318" y="44"/>
                        </a:lnTo>
                        <a:lnTo>
                          <a:pt x="62" y="198"/>
                        </a:lnTo>
                        <a:lnTo>
                          <a:pt x="62" y="198"/>
                        </a:lnTo>
                        <a:lnTo>
                          <a:pt x="46" y="212"/>
                        </a:lnTo>
                        <a:lnTo>
                          <a:pt x="34" y="228"/>
                        </a:lnTo>
                        <a:lnTo>
                          <a:pt x="24" y="244"/>
                        </a:lnTo>
                        <a:lnTo>
                          <a:pt x="18" y="264"/>
                        </a:lnTo>
                        <a:lnTo>
                          <a:pt x="18" y="264"/>
                        </a:lnTo>
                        <a:lnTo>
                          <a:pt x="16" y="282"/>
                        </a:lnTo>
                        <a:lnTo>
                          <a:pt x="18" y="300"/>
                        </a:lnTo>
                        <a:lnTo>
                          <a:pt x="24" y="318"/>
                        </a:lnTo>
                        <a:lnTo>
                          <a:pt x="34" y="334"/>
                        </a:lnTo>
                        <a:lnTo>
                          <a:pt x="34" y="334"/>
                        </a:lnTo>
                        <a:lnTo>
                          <a:pt x="40" y="342"/>
                        </a:lnTo>
                        <a:lnTo>
                          <a:pt x="48" y="350"/>
                        </a:lnTo>
                        <a:lnTo>
                          <a:pt x="56" y="356"/>
                        </a:lnTo>
                        <a:lnTo>
                          <a:pt x="66" y="362"/>
                        </a:lnTo>
                        <a:lnTo>
                          <a:pt x="76" y="366"/>
                        </a:lnTo>
                        <a:lnTo>
                          <a:pt x="86" y="368"/>
                        </a:lnTo>
                        <a:lnTo>
                          <a:pt x="98" y="370"/>
                        </a:lnTo>
                        <a:lnTo>
                          <a:pt x="110" y="372"/>
                        </a:lnTo>
                        <a:lnTo>
                          <a:pt x="110" y="372"/>
                        </a:lnTo>
                        <a:lnTo>
                          <a:pt x="128" y="370"/>
                        </a:lnTo>
                        <a:lnTo>
                          <a:pt x="144" y="366"/>
                        </a:lnTo>
                        <a:lnTo>
                          <a:pt x="162" y="358"/>
                        </a:lnTo>
                        <a:lnTo>
                          <a:pt x="178" y="350"/>
                        </a:lnTo>
                        <a:lnTo>
                          <a:pt x="409" y="170"/>
                        </a:lnTo>
                        <a:lnTo>
                          <a:pt x="409" y="170"/>
                        </a:lnTo>
                        <a:lnTo>
                          <a:pt x="427" y="156"/>
                        </a:lnTo>
                        <a:lnTo>
                          <a:pt x="441" y="140"/>
                        </a:lnTo>
                        <a:lnTo>
                          <a:pt x="453" y="124"/>
                        </a:lnTo>
                        <a:lnTo>
                          <a:pt x="461" y="108"/>
                        </a:lnTo>
                        <a:lnTo>
                          <a:pt x="461" y="108"/>
                        </a:lnTo>
                        <a:lnTo>
                          <a:pt x="465" y="92"/>
                        </a:lnTo>
                        <a:lnTo>
                          <a:pt x="463" y="76"/>
                        </a:lnTo>
                        <a:lnTo>
                          <a:pt x="459" y="60"/>
                        </a:lnTo>
                        <a:lnTo>
                          <a:pt x="451" y="44"/>
                        </a:lnTo>
                        <a:lnTo>
                          <a:pt x="451" y="44"/>
                        </a:lnTo>
                        <a:lnTo>
                          <a:pt x="439" y="32"/>
                        </a:lnTo>
                        <a:lnTo>
                          <a:pt x="427" y="22"/>
                        </a:lnTo>
                        <a:lnTo>
                          <a:pt x="413" y="16"/>
                        </a:lnTo>
                        <a:lnTo>
                          <a:pt x="397" y="16"/>
                        </a:lnTo>
                        <a:lnTo>
                          <a:pt x="397" y="16"/>
                        </a:lnTo>
                        <a:close/>
                      </a:path>
                    </a:pathLst>
                  </a:custGeom>
                  <a:solidFill>
                    <a:srgbClr val="4B8A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167" name="Freeform 326"/>
                  <p:cNvSpPr>
                    <a:spLocks noEditPoints="1"/>
                  </p:cNvSpPr>
                  <p:nvPr/>
                </p:nvSpPr>
                <p:spPr bwMode="auto">
                  <a:xfrm>
                    <a:off x="6141327" y="3110899"/>
                    <a:ext cx="732759" cy="581774"/>
                  </a:xfrm>
                  <a:custGeom>
                    <a:avLst/>
                    <a:gdLst>
                      <a:gd name="T0" fmla="*/ 469 w 529"/>
                      <a:gd name="T1" fmla="*/ 420 h 420"/>
                      <a:gd name="T2" fmla="*/ 437 w 529"/>
                      <a:gd name="T3" fmla="*/ 414 h 420"/>
                      <a:gd name="T4" fmla="*/ 401 w 529"/>
                      <a:gd name="T5" fmla="*/ 396 h 420"/>
                      <a:gd name="T6" fmla="*/ 39 w 529"/>
                      <a:gd name="T7" fmla="*/ 160 h 420"/>
                      <a:gd name="T8" fmla="*/ 10 w 529"/>
                      <a:gd name="T9" fmla="*/ 130 h 420"/>
                      <a:gd name="T10" fmla="*/ 0 w 529"/>
                      <a:gd name="T11" fmla="*/ 96 h 420"/>
                      <a:gd name="T12" fmla="*/ 2 w 529"/>
                      <a:gd name="T13" fmla="*/ 62 h 420"/>
                      <a:gd name="T14" fmla="*/ 16 w 529"/>
                      <a:gd name="T15" fmla="*/ 32 h 420"/>
                      <a:gd name="T16" fmla="*/ 16 w 529"/>
                      <a:gd name="T17" fmla="*/ 30 h 420"/>
                      <a:gd name="T18" fmla="*/ 29 w 529"/>
                      <a:gd name="T19" fmla="*/ 18 h 420"/>
                      <a:gd name="T20" fmla="*/ 67 w 529"/>
                      <a:gd name="T21" fmla="*/ 2 h 420"/>
                      <a:gd name="T22" fmla="*/ 87 w 529"/>
                      <a:gd name="T23" fmla="*/ 0 h 420"/>
                      <a:gd name="T24" fmla="*/ 119 w 529"/>
                      <a:gd name="T25" fmla="*/ 4 h 420"/>
                      <a:gd name="T26" fmla="*/ 147 w 529"/>
                      <a:gd name="T27" fmla="*/ 18 h 420"/>
                      <a:gd name="T28" fmla="*/ 479 w 529"/>
                      <a:gd name="T29" fmla="*/ 278 h 420"/>
                      <a:gd name="T30" fmla="*/ 509 w 529"/>
                      <a:gd name="T31" fmla="*/ 304 h 420"/>
                      <a:gd name="T32" fmla="*/ 525 w 529"/>
                      <a:gd name="T33" fmla="*/ 332 h 420"/>
                      <a:gd name="T34" fmla="*/ 529 w 529"/>
                      <a:gd name="T35" fmla="*/ 362 h 420"/>
                      <a:gd name="T36" fmla="*/ 521 w 529"/>
                      <a:gd name="T37" fmla="*/ 392 h 420"/>
                      <a:gd name="T38" fmla="*/ 517 w 529"/>
                      <a:gd name="T39" fmla="*/ 398 h 420"/>
                      <a:gd name="T40" fmla="*/ 507 w 529"/>
                      <a:gd name="T41" fmla="*/ 408 h 420"/>
                      <a:gd name="T42" fmla="*/ 483 w 529"/>
                      <a:gd name="T43" fmla="*/ 420 h 420"/>
                      <a:gd name="T44" fmla="*/ 469 w 529"/>
                      <a:gd name="T45" fmla="*/ 420 h 420"/>
                      <a:gd name="T46" fmla="*/ 31 w 529"/>
                      <a:gd name="T47" fmla="*/ 42 h 420"/>
                      <a:gd name="T48" fmla="*/ 22 w 529"/>
                      <a:gd name="T49" fmla="*/ 52 h 420"/>
                      <a:gd name="T50" fmla="*/ 16 w 529"/>
                      <a:gd name="T51" fmla="*/ 78 h 420"/>
                      <a:gd name="T52" fmla="*/ 18 w 529"/>
                      <a:gd name="T53" fmla="*/ 106 h 420"/>
                      <a:gd name="T54" fmla="*/ 35 w 529"/>
                      <a:gd name="T55" fmla="*/ 134 h 420"/>
                      <a:gd name="T56" fmla="*/ 411 w 529"/>
                      <a:gd name="T57" fmla="*/ 382 h 420"/>
                      <a:gd name="T58" fmla="*/ 425 w 529"/>
                      <a:gd name="T59" fmla="*/ 392 h 420"/>
                      <a:gd name="T60" fmla="*/ 455 w 529"/>
                      <a:gd name="T61" fmla="*/ 404 h 420"/>
                      <a:gd name="T62" fmla="*/ 469 w 529"/>
                      <a:gd name="T63" fmla="*/ 404 h 420"/>
                      <a:gd name="T64" fmla="*/ 489 w 529"/>
                      <a:gd name="T65" fmla="*/ 400 h 420"/>
                      <a:gd name="T66" fmla="*/ 505 w 529"/>
                      <a:gd name="T67" fmla="*/ 388 h 420"/>
                      <a:gd name="T68" fmla="*/ 507 w 529"/>
                      <a:gd name="T69" fmla="*/ 384 h 420"/>
                      <a:gd name="T70" fmla="*/ 513 w 529"/>
                      <a:gd name="T71" fmla="*/ 360 h 420"/>
                      <a:gd name="T72" fmla="*/ 509 w 529"/>
                      <a:gd name="T73" fmla="*/ 336 h 420"/>
                      <a:gd name="T74" fmla="*/ 495 w 529"/>
                      <a:gd name="T75" fmla="*/ 312 h 420"/>
                      <a:gd name="T76" fmla="*/ 471 w 529"/>
                      <a:gd name="T77" fmla="*/ 290 h 420"/>
                      <a:gd name="T78" fmla="*/ 137 w 529"/>
                      <a:gd name="T79" fmla="*/ 30 h 420"/>
                      <a:gd name="T80" fmla="*/ 111 w 529"/>
                      <a:gd name="T81" fmla="*/ 18 h 420"/>
                      <a:gd name="T82" fmla="*/ 87 w 529"/>
                      <a:gd name="T83" fmla="*/ 16 h 420"/>
                      <a:gd name="T84" fmla="*/ 71 w 529"/>
                      <a:gd name="T85" fmla="*/ 18 h 420"/>
                      <a:gd name="T86" fmla="*/ 41 w 529"/>
                      <a:gd name="T87" fmla="*/ 30 h 420"/>
                      <a:gd name="T88" fmla="*/ 31 w 529"/>
                      <a:gd name="T89" fmla="*/ 4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420">
                        <a:moveTo>
                          <a:pt x="469" y="420"/>
                        </a:moveTo>
                        <a:lnTo>
                          <a:pt x="469" y="420"/>
                        </a:lnTo>
                        <a:lnTo>
                          <a:pt x="453" y="420"/>
                        </a:lnTo>
                        <a:lnTo>
                          <a:pt x="437" y="414"/>
                        </a:lnTo>
                        <a:lnTo>
                          <a:pt x="419" y="406"/>
                        </a:lnTo>
                        <a:lnTo>
                          <a:pt x="401" y="396"/>
                        </a:lnTo>
                        <a:lnTo>
                          <a:pt x="39" y="160"/>
                        </a:lnTo>
                        <a:lnTo>
                          <a:pt x="39" y="160"/>
                        </a:lnTo>
                        <a:lnTo>
                          <a:pt x="22" y="146"/>
                        </a:lnTo>
                        <a:lnTo>
                          <a:pt x="10" y="130"/>
                        </a:lnTo>
                        <a:lnTo>
                          <a:pt x="4" y="112"/>
                        </a:lnTo>
                        <a:lnTo>
                          <a:pt x="0" y="96"/>
                        </a:lnTo>
                        <a:lnTo>
                          <a:pt x="0" y="78"/>
                        </a:lnTo>
                        <a:lnTo>
                          <a:pt x="2" y="62"/>
                        </a:lnTo>
                        <a:lnTo>
                          <a:pt x="8" y="46"/>
                        </a:lnTo>
                        <a:lnTo>
                          <a:pt x="16" y="32"/>
                        </a:lnTo>
                        <a:lnTo>
                          <a:pt x="16" y="30"/>
                        </a:lnTo>
                        <a:lnTo>
                          <a:pt x="16" y="30"/>
                        </a:lnTo>
                        <a:lnTo>
                          <a:pt x="22" y="24"/>
                        </a:lnTo>
                        <a:lnTo>
                          <a:pt x="29" y="18"/>
                        </a:lnTo>
                        <a:lnTo>
                          <a:pt x="47" y="8"/>
                        </a:lnTo>
                        <a:lnTo>
                          <a:pt x="67" y="2"/>
                        </a:lnTo>
                        <a:lnTo>
                          <a:pt x="87" y="0"/>
                        </a:lnTo>
                        <a:lnTo>
                          <a:pt x="87" y="0"/>
                        </a:lnTo>
                        <a:lnTo>
                          <a:pt x="103" y="0"/>
                        </a:lnTo>
                        <a:lnTo>
                          <a:pt x="119" y="4"/>
                        </a:lnTo>
                        <a:lnTo>
                          <a:pt x="133" y="10"/>
                        </a:lnTo>
                        <a:lnTo>
                          <a:pt x="147" y="18"/>
                        </a:lnTo>
                        <a:lnTo>
                          <a:pt x="479" y="278"/>
                        </a:lnTo>
                        <a:lnTo>
                          <a:pt x="479" y="278"/>
                        </a:lnTo>
                        <a:lnTo>
                          <a:pt x="495" y="290"/>
                        </a:lnTo>
                        <a:lnTo>
                          <a:pt x="509" y="304"/>
                        </a:lnTo>
                        <a:lnTo>
                          <a:pt x="517" y="318"/>
                        </a:lnTo>
                        <a:lnTo>
                          <a:pt x="525" y="332"/>
                        </a:lnTo>
                        <a:lnTo>
                          <a:pt x="529" y="348"/>
                        </a:lnTo>
                        <a:lnTo>
                          <a:pt x="529" y="362"/>
                        </a:lnTo>
                        <a:lnTo>
                          <a:pt x="527" y="378"/>
                        </a:lnTo>
                        <a:lnTo>
                          <a:pt x="521" y="392"/>
                        </a:lnTo>
                        <a:lnTo>
                          <a:pt x="521" y="394"/>
                        </a:lnTo>
                        <a:lnTo>
                          <a:pt x="517" y="398"/>
                        </a:lnTo>
                        <a:lnTo>
                          <a:pt x="517" y="398"/>
                        </a:lnTo>
                        <a:lnTo>
                          <a:pt x="507" y="408"/>
                        </a:lnTo>
                        <a:lnTo>
                          <a:pt x="497" y="414"/>
                        </a:lnTo>
                        <a:lnTo>
                          <a:pt x="483" y="420"/>
                        </a:lnTo>
                        <a:lnTo>
                          <a:pt x="469" y="420"/>
                        </a:lnTo>
                        <a:lnTo>
                          <a:pt x="469" y="420"/>
                        </a:lnTo>
                        <a:close/>
                        <a:moveTo>
                          <a:pt x="31" y="40"/>
                        </a:moveTo>
                        <a:lnTo>
                          <a:pt x="31" y="42"/>
                        </a:lnTo>
                        <a:lnTo>
                          <a:pt x="31" y="42"/>
                        </a:lnTo>
                        <a:lnTo>
                          <a:pt x="22" y="52"/>
                        </a:lnTo>
                        <a:lnTo>
                          <a:pt x="18" y="66"/>
                        </a:lnTo>
                        <a:lnTo>
                          <a:pt x="16" y="78"/>
                        </a:lnTo>
                        <a:lnTo>
                          <a:pt x="14" y="92"/>
                        </a:lnTo>
                        <a:lnTo>
                          <a:pt x="18" y="106"/>
                        </a:lnTo>
                        <a:lnTo>
                          <a:pt x="24" y="120"/>
                        </a:lnTo>
                        <a:lnTo>
                          <a:pt x="35" y="134"/>
                        </a:lnTo>
                        <a:lnTo>
                          <a:pt x="47" y="148"/>
                        </a:lnTo>
                        <a:lnTo>
                          <a:pt x="411" y="382"/>
                        </a:lnTo>
                        <a:lnTo>
                          <a:pt x="411" y="382"/>
                        </a:lnTo>
                        <a:lnTo>
                          <a:pt x="425" y="392"/>
                        </a:lnTo>
                        <a:lnTo>
                          <a:pt x="441" y="398"/>
                        </a:lnTo>
                        <a:lnTo>
                          <a:pt x="455" y="404"/>
                        </a:lnTo>
                        <a:lnTo>
                          <a:pt x="469" y="404"/>
                        </a:lnTo>
                        <a:lnTo>
                          <a:pt x="469" y="404"/>
                        </a:lnTo>
                        <a:lnTo>
                          <a:pt x="479" y="404"/>
                        </a:lnTo>
                        <a:lnTo>
                          <a:pt x="489" y="400"/>
                        </a:lnTo>
                        <a:lnTo>
                          <a:pt x="497" y="396"/>
                        </a:lnTo>
                        <a:lnTo>
                          <a:pt x="505" y="388"/>
                        </a:lnTo>
                        <a:lnTo>
                          <a:pt x="507" y="384"/>
                        </a:lnTo>
                        <a:lnTo>
                          <a:pt x="507" y="384"/>
                        </a:lnTo>
                        <a:lnTo>
                          <a:pt x="513" y="372"/>
                        </a:lnTo>
                        <a:lnTo>
                          <a:pt x="513" y="360"/>
                        </a:lnTo>
                        <a:lnTo>
                          <a:pt x="513" y="348"/>
                        </a:lnTo>
                        <a:lnTo>
                          <a:pt x="509" y="336"/>
                        </a:lnTo>
                        <a:lnTo>
                          <a:pt x="503" y="324"/>
                        </a:lnTo>
                        <a:lnTo>
                          <a:pt x="495" y="312"/>
                        </a:lnTo>
                        <a:lnTo>
                          <a:pt x="483" y="302"/>
                        </a:lnTo>
                        <a:lnTo>
                          <a:pt x="471" y="290"/>
                        </a:lnTo>
                        <a:lnTo>
                          <a:pt x="137" y="30"/>
                        </a:lnTo>
                        <a:lnTo>
                          <a:pt x="137" y="30"/>
                        </a:lnTo>
                        <a:lnTo>
                          <a:pt x="123" y="22"/>
                        </a:lnTo>
                        <a:lnTo>
                          <a:pt x="111" y="18"/>
                        </a:lnTo>
                        <a:lnTo>
                          <a:pt x="99" y="16"/>
                        </a:lnTo>
                        <a:lnTo>
                          <a:pt x="87" y="16"/>
                        </a:lnTo>
                        <a:lnTo>
                          <a:pt x="87" y="16"/>
                        </a:lnTo>
                        <a:lnTo>
                          <a:pt x="71" y="18"/>
                        </a:lnTo>
                        <a:lnTo>
                          <a:pt x="55" y="22"/>
                        </a:lnTo>
                        <a:lnTo>
                          <a:pt x="41" y="30"/>
                        </a:lnTo>
                        <a:lnTo>
                          <a:pt x="31" y="40"/>
                        </a:lnTo>
                        <a:lnTo>
                          <a:pt x="31" y="40"/>
                        </a:lnTo>
                        <a:close/>
                      </a:path>
                    </a:pathLst>
                  </a:custGeom>
                  <a:solidFill>
                    <a:srgbClr val="4B8A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grpSp>
          </p:grpSp>
          <p:grpSp>
            <p:nvGrpSpPr>
              <p:cNvPr id="38" name="组合 37"/>
              <p:cNvGrpSpPr/>
              <p:nvPr/>
            </p:nvGrpSpPr>
            <p:grpSpPr>
              <a:xfrm>
                <a:off x="7440716" y="2952478"/>
                <a:ext cx="477722" cy="991199"/>
                <a:chOff x="7295278" y="3054697"/>
                <a:chExt cx="477722" cy="991199"/>
              </a:xfrm>
            </p:grpSpPr>
            <p:grpSp>
              <p:nvGrpSpPr>
                <p:cNvPr id="39" name="组合 38"/>
                <p:cNvGrpSpPr/>
                <p:nvPr/>
              </p:nvGrpSpPr>
              <p:grpSpPr>
                <a:xfrm>
                  <a:off x="7295278" y="3054697"/>
                  <a:ext cx="477722" cy="991199"/>
                  <a:chOff x="2641600" y="923925"/>
                  <a:chExt cx="266700" cy="555625"/>
                </a:xfrm>
              </p:grpSpPr>
              <p:sp>
                <p:nvSpPr>
                  <p:cNvPr id="41" name="Freeform 132"/>
                  <p:cNvSpPr/>
                  <p:nvPr/>
                </p:nvSpPr>
                <p:spPr bwMode="auto">
                  <a:xfrm>
                    <a:off x="2641600" y="923925"/>
                    <a:ext cx="266700" cy="555625"/>
                  </a:xfrm>
                  <a:custGeom>
                    <a:avLst/>
                    <a:gdLst>
                      <a:gd name="T0" fmla="*/ 37 w 37"/>
                      <a:gd name="T1" fmla="*/ 72 h 77"/>
                      <a:gd name="T2" fmla="*/ 31 w 37"/>
                      <a:gd name="T3" fmla="*/ 77 h 77"/>
                      <a:gd name="T4" fmla="*/ 6 w 37"/>
                      <a:gd name="T5" fmla="*/ 77 h 77"/>
                      <a:gd name="T6" fmla="*/ 0 w 37"/>
                      <a:gd name="T7" fmla="*/ 72 h 77"/>
                      <a:gd name="T8" fmla="*/ 0 w 37"/>
                      <a:gd name="T9" fmla="*/ 5 h 77"/>
                      <a:gd name="T10" fmla="*/ 6 w 37"/>
                      <a:gd name="T11" fmla="*/ 0 h 77"/>
                      <a:gd name="T12" fmla="*/ 31 w 37"/>
                      <a:gd name="T13" fmla="*/ 0 h 77"/>
                      <a:gd name="T14" fmla="*/ 37 w 37"/>
                      <a:gd name="T15" fmla="*/ 5 h 77"/>
                      <a:gd name="T16" fmla="*/ 37 w 37"/>
                      <a:gd name="T17" fmla="*/ 7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77">
                        <a:moveTo>
                          <a:pt x="37" y="72"/>
                        </a:moveTo>
                        <a:cubicBezTo>
                          <a:pt x="37" y="75"/>
                          <a:pt x="34" y="77"/>
                          <a:pt x="31" y="77"/>
                        </a:cubicBezTo>
                        <a:cubicBezTo>
                          <a:pt x="6" y="77"/>
                          <a:pt x="6" y="77"/>
                          <a:pt x="6" y="77"/>
                        </a:cubicBezTo>
                        <a:cubicBezTo>
                          <a:pt x="3" y="77"/>
                          <a:pt x="0" y="75"/>
                          <a:pt x="0" y="72"/>
                        </a:cubicBezTo>
                        <a:cubicBezTo>
                          <a:pt x="0" y="5"/>
                          <a:pt x="0" y="5"/>
                          <a:pt x="0" y="5"/>
                        </a:cubicBezTo>
                        <a:cubicBezTo>
                          <a:pt x="0" y="2"/>
                          <a:pt x="3" y="0"/>
                          <a:pt x="6" y="0"/>
                        </a:cubicBezTo>
                        <a:cubicBezTo>
                          <a:pt x="31" y="0"/>
                          <a:pt x="31" y="0"/>
                          <a:pt x="31" y="0"/>
                        </a:cubicBezTo>
                        <a:cubicBezTo>
                          <a:pt x="34" y="0"/>
                          <a:pt x="37" y="2"/>
                          <a:pt x="37" y="5"/>
                        </a:cubicBezTo>
                        <a:lnTo>
                          <a:pt x="37" y="72"/>
                        </a:lnTo>
                        <a:close/>
                      </a:path>
                    </a:pathLst>
                  </a:custGeom>
                  <a:solidFill>
                    <a:srgbClr val="2933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2" name="Rectangle 133"/>
                  <p:cNvSpPr>
                    <a:spLocks noChangeArrowheads="1"/>
                  </p:cNvSpPr>
                  <p:nvPr/>
                </p:nvSpPr>
                <p:spPr bwMode="auto">
                  <a:xfrm>
                    <a:off x="2663825" y="995363"/>
                    <a:ext cx="230188" cy="404813"/>
                  </a:xfrm>
                  <a:prstGeom prst="rect">
                    <a:avLst/>
                  </a:prstGeom>
                  <a:solidFill>
                    <a:srgbClr val="84B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3" name="Oval 134"/>
                  <p:cNvSpPr>
                    <a:spLocks noChangeArrowheads="1"/>
                  </p:cNvSpPr>
                  <p:nvPr/>
                </p:nvSpPr>
                <p:spPr bwMode="auto">
                  <a:xfrm>
                    <a:off x="2771775" y="1435100"/>
                    <a:ext cx="6350" cy="7938"/>
                  </a:xfrm>
                  <a:prstGeom prst="ellipse">
                    <a:avLst/>
                  </a:prstGeom>
                  <a:solidFill>
                    <a:srgbClr val="3F4F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4" name="Oval 135"/>
                  <p:cNvSpPr>
                    <a:spLocks noChangeArrowheads="1"/>
                  </p:cNvSpPr>
                  <p:nvPr/>
                </p:nvSpPr>
                <p:spPr bwMode="auto">
                  <a:xfrm>
                    <a:off x="2865438" y="952500"/>
                    <a:ext cx="6350" cy="6350"/>
                  </a:xfrm>
                  <a:prstGeom prst="ellipse">
                    <a:avLst/>
                  </a:prstGeom>
                  <a:solidFill>
                    <a:srgbClr val="3F4F5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5" name="Freeform 136"/>
                  <p:cNvSpPr/>
                  <p:nvPr/>
                </p:nvSpPr>
                <p:spPr bwMode="auto">
                  <a:xfrm>
                    <a:off x="2678113" y="1017588"/>
                    <a:ext cx="187325" cy="14288"/>
                  </a:xfrm>
                  <a:custGeom>
                    <a:avLst/>
                    <a:gdLst>
                      <a:gd name="T0" fmla="*/ 26 w 26"/>
                      <a:gd name="T1" fmla="*/ 1 h 2"/>
                      <a:gd name="T2" fmla="*/ 26 w 26"/>
                      <a:gd name="T3" fmla="*/ 2 h 2"/>
                      <a:gd name="T4" fmla="*/ 1 w 26"/>
                      <a:gd name="T5" fmla="*/ 2 h 2"/>
                      <a:gd name="T6" fmla="*/ 0 w 26"/>
                      <a:gd name="T7" fmla="*/ 1 h 2"/>
                      <a:gd name="T8" fmla="*/ 0 w 26"/>
                      <a:gd name="T9" fmla="*/ 1 h 2"/>
                      <a:gd name="T10" fmla="*/ 1 w 26"/>
                      <a:gd name="T11" fmla="*/ 0 h 2"/>
                      <a:gd name="T12" fmla="*/ 26 w 26"/>
                      <a:gd name="T13" fmla="*/ 0 h 2"/>
                      <a:gd name="T14" fmla="*/ 26 w 26"/>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
                        <a:moveTo>
                          <a:pt x="26" y="1"/>
                        </a:moveTo>
                        <a:cubicBezTo>
                          <a:pt x="26" y="1"/>
                          <a:pt x="26" y="2"/>
                          <a:pt x="26" y="2"/>
                        </a:cubicBezTo>
                        <a:cubicBezTo>
                          <a:pt x="1" y="2"/>
                          <a:pt x="1" y="2"/>
                          <a:pt x="1" y="2"/>
                        </a:cubicBezTo>
                        <a:cubicBezTo>
                          <a:pt x="0" y="2"/>
                          <a:pt x="0" y="1"/>
                          <a:pt x="0" y="1"/>
                        </a:cubicBezTo>
                        <a:cubicBezTo>
                          <a:pt x="0" y="1"/>
                          <a:pt x="0" y="1"/>
                          <a:pt x="0" y="1"/>
                        </a:cubicBezTo>
                        <a:cubicBezTo>
                          <a:pt x="0" y="0"/>
                          <a:pt x="0" y="0"/>
                          <a:pt x="1" y="0"/>
                        </a:cubicBezTo>
                        <a:cubicBezTo>
                          <a:pt x="26" y="0"/>
                          <a:pt x="26" y="0"/>
                          <a:pt x="26" y="0"/>
                        </a:cubicBezTo>
                        <a:cubicBezTo>
                          <a:pt x="26" y="0"/>
                          <a:pt x="26" y="0"/>
                          <a:pt x="26" y="1"/>
                        </a:cubicBezTo>
                        <a:close/>
                      </a:path>
                    </a:pathLst>
                  </a:custGeom>
                  <a:solidFill>
                    <a:srgbClr val="B0D1D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6" name="Freeform 137"/>
                  <p:cNvSpPr/>
                  <p:nvPr/>
                </p:nvSpPr>
                <p:spPr bwMode="auto">
                  <a:xfrm>
                    <a:off x="2678113" y="1054100"/>
                    <a:ext cx="187325" cy="14288"/>
                  </a:xfrm>
                  <a:custGeom>
                    <a:avLst/>
                    <a:gdLst>
                      <a:gd name="T0" fmla="*/ 26 w 26"/>
                      <a:gd name="T1" fmla="*/ 1 h 2"/>
                      <a:gd name="T2" fmla="*/ 26 w 26"/>
                      <a:gd name="T3" fmla="*/ 2 h 2"/>
                      <a:gd name="T4" fmla="*/ 1 w 26"/>
                      <a:gd name="T5" fmla="*/ 2 h 2"/>
                      <a:gd name="T6" fmla="*/ 0 w 26"/>
                      <a:gd name="T7" fmla="*/ 1 h 2"/>
                      <a:gd name="T8" fmla="*/ 0 w 26"/>
                      <a:gd name="T9" fmla="*/ 1 h 2"/>
                      <a:gd name="T10" fmla="*/ 1 w 26"/>
                      <a:gd name="T11" fmla="*/ 0 h 2"/>
                      <a:gd name="T12" fmla="*/ 26 w 26"/>
                      <a:gd name="T13" fmla="*/ 0 h 2"/>
                      <a:gd name="T14" fmla="*/ 26 w 26"/>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
                        <a:moveTo>
                          <a:pt x="26" y="1"/>
                        </a:moveTo>
                        <a:cubicBezTo>
                          <a:pt x="26" y="2"/>
                          <a:pt x="26" y="2"/>
                          <a:pt x="26" y="2"/>
                        </a:cubicBezTo>
                        <a:cubicBezTo>
                          <a:pt x="1" y="2"/>
                          <a:pt x="1" y="2"/>
                          <a:pt x="1" y="2"/>
                        </a:cubicBezTo>
                        <a:cubicBezTo>
                          <a:pt x="0" y="2"/>
                          <a:pt x="0" y="2"/>
                          <a:pt x="0" y="1"/>
                        </a:cubicBezTo>
                        <a:cubicBezTo>
                          <a:pt x="0" y="1"/>
                          <a:pt x="0" y="1"/>
                          <a:pt x="0" y="1"/>
                        </a:cubicBezTo>
                        <a:cubicBezTo>
                          <a:pt x="0" y="1"/>
                          <a:pt x="0" y="0"/>
                          <a:pt x="1" y="0"/>
                        </a:cubicBezTo>
                        <a:cubicBezTo>
                          <a:pt x="26" y="0"/>
                          <a:pt x="26" y="0"/>
                          <a:pt x="26" y="0"/>
                        </a:cubicBezTo>
                        <a:cubicBezTo>
                          <a:pt x="26" y="0"/>
                          <a:pt x="26" y="1"/>
                          <a:pt x="26" y="1"/>
                        </a:cubicBezTo>
                        <a:close/>
                      </a:path>
                    </a:pathLst>
                  </a:custGeom>
                  <a:solidFill>
                    <a:srgbClr val="B0D1D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7" name="Freeform 138"/>
                  <p:cNvSpPr/>
                  <p:nvPr/>
                </p:nvSpPr>
                <p:spPr bwMode="auto">
                  <a:xfrm>
                    <a:off x="2678113" y="1312863"/>
                    <a:ext cx="187325" cy="14288"/>
                  </a:xfrm>
                  <a:custGeom>
                    <a:avLst/>
                    <a:gdLst>
                      <a:gd name="T0" fmla="*/ 26 w 26"/>
                      <a:gd name="T1" fmla="*/ 1 h 2"/>
                      <a:gd name="T2" fmla="*/ 26 w 26"/>
                      <a:gd name="T3" fmla="*/ 2 h 2"/>
                      <a:gd name="T4" fmla="*/ 1 w 26"/>
                      <a:gd name="T5" fmla="*/ 2 h 2"/>
                      <a:gd name="T6" fmla="*/ 0 w 26"/>
                      <a:gd name="T7" fmla="*/ 1 h 2"/>
                      <a:gd name="T8" fmla="*/ 0 w 26"/>
                      <a:gd name="T9" fmla="*/ 1 h 2"/>
                      <a:gd name="T10" fmla="*/ 1 w 26"/>
                      <a:gd name="T11" fmla="*/ 0 h 2"/>
                      <a:gd name="T12" fmla="*/ 26 w 26"/>
                      <a:gd name="T13" fmla="*/ 0 h 2"/>
                      <a:gd name="T14" fmla="*/ 26 w 26"/>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
                        <a:moveTo>
                          <a:pt x="26" y="1"/>
                        </a:moveTo>
                        <a:cubicBezTo>
                          <a:pt x="26" y="1"/>
                          <a:pt x="26" y="2"/>
                          <a:pt x="26" y="2"/>
                        </a:cubicBezTo>
                        <a:cubicBezTo>
                          <a:pt x="1" y="2"/>
                          <a:pt x="1" y="2"/>
                          <a:pt x="1" y="2"/>
                        </a:cubicBezTo>
                        <a:cubicBezTo>
                          <a:pt x="0" y="2"/>
                          <a:pt x="0" y="1"/>
                          <a:pt x="0" y="1"/>
                        </a:cubicBezTo>
                        <a:cubicBezTo>
                          <a:pt x="0" y="1"/>
                          <a:pt x="0" y="1"/>
                          <a:pt x="0" y="1"/>
                        </a:cubicBezTo>
                        <a:cubicBezTo>
                          <a:pt x="0" y="0"/>
                          <a:pt x="0" y="0"/>
                          <a:pt x="1" y="0"/>
                        </a:cubicBezTo>
                        <a:cubicBezTo>
                          <a:pt x="26" y="0"/>
                          <a:pt x="26" y="0"/>
                          <a:pt x="26" y="0"/>
                        </a:cubicBezTo>
                        <a:cubicBezTo>
                          <a:pt x="26" y="0"/>
                          <a:pt x="26" y="0"/>
                          <a:pt x="26" y="1"/>
                        </a:cubicBezTo>
                        <a:close/>
                      </a:path>
                    </a:pathLst>
                  </a:custGeom>
                  <a:solidFill>
                    <a:srgbClr val="B0D1D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8" name="Freeform 139"/>
                  <p:cNvSpPr/>
                  <p:nvPr/>
                </p:nvSpPr>
                <p:spPr bwMode="auto">
                  <a:xfrm>
                    <a:off x="2678113" y="1349375"/>
                    <a:ext cx="187325" cy="14288"/>
                  </a:xfrm>
                  <a:custGeom>
                    <a:avLst/>
                    <a:gdLst>
                      <a:gd name="T0" fmla="*/ 26 w 26"/>
                      <a:gd name="T1" fmla="*/ 1 h 2"/>
                      <a:gd name="T2" fmla="*/ 26 w 26"/>
                      <a:gd name="T3" fmla="*/ 2 h 2"/>
                      <a:gd name="T4" fmla="*/ 1 w 26"/>
                      <a:gd name="T5" fmla="*/ 2 h 2"/>
                      <a:gd name="T6" fmla="*/ 0 w 26"/>
                      <a:gd name="T7" fmla="*/ 1 h 2"/>
                      <a:gd name="T8" fmla="*/ 0 w 26"/>
                      <a:gd name="T9" fmla="*/ 1 h 2"/>
                      <a:gd name="T10" fmla="*/ 1 w 26"/>
                      <a:gd name="T11" fmla="*/ 0 h 2"/>
                      <a:gd name="T12" fmla="*/ 26 w 26"/>
                      <a:gd name="T13" fmla="*/ 0 h 2"/>
                      <a:gd name="T14" fmla="*/ 26 w 26"/>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
                        <a:moveTo>
                          <a:pt x="26" y="1"/>
                        </a:moveTo>
                        <a:cubicBezTo>
                          <a:pt x="26" y="2"/>
                          <a:pt x="26" y="2"/>
                          <a:pt x="26" y="2"/>
                        </a:cubicBezTo>
                        <a:cubicBezTo>
                          <a:pt x="1" y="2"/>
                          <a:pt x="1" y="2"/>
                          <a:pt x="1" y="2"/>
                        </a:cubicBezTo>
                        <a:cubicBezTo>
                          <a:pt x="0" y="2"/>
                          <a:pt x="0" y="2"/>
                          <a:pt x="0" y="1"/>
                        </a:cubicBezTo>
                        <a:cubicBezTo>
                          <a:pt x="0" y="1"/>
                          <a:pt x="0" y="1"/>
                          <a:pt x="0" y="1"/>
                        </a:cubicBezTo>
                        <a:cubicBezTo>
                          <a:pt x="0" y="1"/>
                          <a:pt x="0" y="0"/>
                          <a:pt x="1" y="0"/>
                        </a:cubicBezTo>
                        <a:cubicBezTo>
                          <a:pt x="26" y="0"/>
                          <a:pt x="26" y="0"/>
                          <a:pt x="26" y="0"/>
                        </a:cubicBezTo>
                        <a:cubicBezTo>
                          <a:pt x="26" y="0"/>
                          <a:pt x="26" y="1"/>
                          <a:pt x="26" y="1"/>
                        </a:cubicBezTo>
                        <a:close/>
                      </a:path>
                    </a:pathLst>
                  </a:custGeom>
                  <a:solidFill>
                    <a:srgbClr val="B0D1D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49" name="Freeform 140"/>
                  <p:cNvSpPr/>
                  <p:nvPr/>
                </p:nvSpPr>
                <p:spPr bwMode="auto">
                  <a:xfrm>
                    <a:off x="2678113" y="1270000"/>
                    <a:ext cx="187325" cy="14288"/>
                  </a:xfrm>
                  <a:custGeom>
                    <a:avLst/>
                    <a:gdLst>
                      <a:gd name="T0" fmla="*/ 26 w 26"/>
                      <a:gd name="T1" fmla="*/ 1 h 2"/>
                      <a:gd name="T2" fmla="*/ 26 w 26"/>
                      <a:gd name="T3" fmla="*/ 2 h 2"/>
                      <a:gd name="T4" fmla="*/ 1 w 26"/>
                      <a:gd name="T5" fmla="*/ 2 h 2"/>
                      <a:gd name="T6" fmla="*/ 0 w 26"/>
                      <a:gd name="T7" fmla="*/ 1 h 2"/>
                      <a:gd name="T8" fmla="*/ 0 w 26"/>
                      <a:gd name="T9" fmla="*/ 1 h 2"/>
                      <a:gd name="T10" fmla="*/ 1 w 26"/>
                      <a:gd name="T11" fmla="*/ 0 h 2"/>
                      <a:gd name="T12" fmla="*/ 26 w 26"/>
                      <a:gd name="T13" fmla="*/ 0 h 2"/>
                      <a:gd name="T14" fmla="*/ 26 w 26"/>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
                        <a:moveTo>
                          <a:pt x="26" y="1"/>
                        </a:moveTo>
                        <a:cubicBezTo>
                          <a:pt x="26" y="2"/>
                          <a:pt x="26" y="2"/>
                          <a:pt x="26" y="2"/>
                        </a:cubicBezTo>
                        <a:cubicBezTo>
                          <a:pt x="1" y="2"/>
                          <a:pt x="1" y="2"/>
                          <a:pt x="1" y="2"/>
                        </a:cubicBezTo>
                        <a:cubicBezTo>
                          <a:pt x="0" y="2"/>
                          <a:pt x="0" y="2"/>
                          <a:pt x="0" y="1"/>
                        </a:cubicBezTo>
                        <a:cubicBezTo>
                          <a:pt x="0" y="1"/>
                          <a:pt x="0" y="1"/>
                          <a:pt x="0" y="1"/>
                        </a:cubicBezTo>
                        <a:cubicBezTo>
                          <a:pt x="0" y="1"/>
                          <a:pt x="0" y="0"/>
                          <a:pt x="1" y="0"/>
                        </a:cubicBezTo>
                        <a:cubicBezTo>
                          <a:pt x="26" y="0"/>
                          <a:pt x="26" y="0"/>
                          <a:pt x="26" y="0"/>
                        </a:cubicBezTo>
                        <a:cubicBezTo>
                          <a:pt x="26" y="0"/>
                          <a:pt x="26" y="1"/>
                          <a:pt x="26" y="1"/>
                        </a:cubicBezTo>
                        <a:close/>
                      </a:path>
                    </a:pathLst>
                  </a:custGeom>
                  <a:solidFill>
                    <a:srgbClr val="B0D1D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50" name="Rectangle 141"/>
                  <p:cNvSpPr>
                    <a:spLocks noChangeArrowheads="1"/>
                  </p:cNvSpPr>
                  <p:nvPr/>
                </p:nvSpPr>
                <p:spPr bwMode="auto">
                  <a:xfrm>
                    <a:off x="2684463" y="1176338"/>
                    <a:ext cx="180975" cy="79375"/>
                  </a:xfrm>
                  <a:prstGeom prst="rect">
                    <a:avLst/>
                  </a:prstGeom>
                  <a:solidFill>
                    <a:srgbClr val="B0D1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51" name="Rectangle 142"/>
                  <p:cNvSpPr>
                    <a:spLocks noChangeArrowheads="1"/>
                  </p:cNvSpPr>
                  <p:nvPr/>
                </p:nvSpPr>
                <p:spPr bwMode="auto">
                  <a:xfrm>
                    <a:off x="2684463" y="1082675"/>
                    <a:ext cx="79375" cy="85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52" name="Rectangle 143"/>
                  <p:cNvSpPr>
                    <a:spLocks noChangeArrowheads="1"/>
                  </p:cNvSpPr>
                  <p:nvPr/>
                </p:nvSpPr>
                <p:spPr bwMode="auto">
                  <a:xfrm>
                    <a:off x="2778125" y="1082675"/>
                    <a:ext cx="87313" cy="85725"/>
                  </a:xfrm>
                  <a:prstGeom prst="rect">
                    <a:avLst/>
                  </a:prstGeom>
                  <a:solidFill>
                    <a:srgbClr val="EB5B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grpSp>
            <p:pic>
              <p:nvPicPr>
                <p:cNvPr id="40" name="图片 39"/>
                <p:cNvPicPr>
                  <a:picLocks noChangeAspect="1"/>
                </p:cNvPicPr>
                <p:nvPr/>
              </p:nvPicPr>
              <p:blipFill rotWithShape="1">
                <a:blip r:embed="rId7" cstate="print"/>
                <a:srcRect/>
                <a:stretch>
                  <a:fillRect/>
                </a:stretch>
              </p:blipFill>
              <p:spPr>
                <a:xfrm>
                  <a:off x="7344704" y="3193376"/>
                  <a:ext cx="413034" cy="702792"/>
                </a:xfrm>
                <a:prstGeom prst="rect">
                  <a:avLst/>
                </a:prstGeom>
                <a:ln>
                  <a:noFill/>
                </a:ln>
                <a:effectLst>
                  <a:outerShdw blurRad="190500" algn="tl" rotWithShape="0">
                    <a:srgbClr val="000000">
                      <a:alpha val="70000"/>
                    </a:srgbClr>
                  </a:outerShdw>
                </a:effectLst>
              </p:spPr>
            </p:pic>
          </p:grpSp>
        </p:grpSp>
        <p:pic>
          <p:nvPicPr>
            <p:cNvPr id="36" name="图片 35" descr="图片包含 电子产品&#10;&#10;已生成高可信度的说明"/>
            <p:cNvPicPr>
              <a:picLocks noChangeAspect="1"/>
            </p:cNvPicPr>
            <p:nvPr/>
          </p:nvPicPr>
          <p:blipFill rotWithShape="1">
            <a:blip r:embed="rId8" cstate="print"/>
            <a:srcRect/>
            <a:stretch>
              <a:fillRect/>
            </a:stretch>
          </p:blipFill>
          <p:spPr>
            <a:xfrm>
              <a:off x="6485092" y="1723896"/>
              <a:ext cx="2233103" cy="1210882"/>
            </a:xfrm>
            <a:prstGeom prst="rect">
              <a:avLst/>
            </a:prstGeom>
          </p:spPr>
        </p:pic>
      </p:grpSp>
      <p:sp>
        <p:nvSpPr>
          <p:cNvPr id="2" name="ZoneTexte 1"/>
          <p:cNvSpPr txBox="1"/>
          <p:nvPr/>
        </p:nvSpPr>
        <p:spPr>
          <a:xfrm>
            <a:off x="496564" y="5097853"/>
            <a:ext cx="4375237" cy="627864"/>
          </a:xfrm>
          <a:prstGeom prst="rect">
            <a:avLst/>
          </a:prstGeom>
          <a:noFill/>
        </p:spPr>
        <p:txBody>
          <a:bodyPr wrap="none" lIns="182880" tIns="146304" rIns="182880" bIns="146304" rtlCol="0">
            <a:spAutoFit/>
          </a:bodyPr>
          <a:lstStyle/>
          <a:p>
            <a:pPr>
              <a:lnSpc>
                <a:spcPct val="90000"/>
              </a:lnSpc>
              <a:spcAft>
                <a:spcPts val="600"/>
              </a:spcAft>
            </a:pPr>
            <a:r>
              <a:rPr lang="fr-FR" sz="2400" dirty="0" smtClean="0">
                <a:gradFill>
                  <a:gsLst>
                    <a:gs pos="2917">
                      <a:schemeClr val="tx1"/>
                    </a:gs>
                    <a:gs pos="30000">
                      <a:schemeClr val="tx1"/>
                    </a:gs>
                  </a:gsLst>
                  <a:lin ang="5400000" scaled="0"/>
                </a:gradFill>
              </a:rPr>
              <a:t>Soit centralisé soit déporté </a:t>
            </a:r>
          </a:p>
        </p:txBody>
      </p:sp>
    </p:spTree>
    <p:custDataLst>
      <p:tags r:id="rId1"/>
    </p:custData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矩形 42"/>
          <p:cNvSpPr/>
          <p:nvPr/>
        </p:nvSpPr>
        <p:spPr bwMode="auto">
          <a:xfrm>
            <a:off x="142935" y="5485530"/>
            <a:ext cx="8720808" cy="1070196"/>
          </a:xfrm>
          <a:prstGeom prst="rect">
            <a:avLst/>
          </a:prstGeom>
          <a:solidFill>
            <a:srgbClr val="D5D5D5"/>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just"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2" name="标题 1"/>
          <p:cNvSpPr>
            <a:spLocks noGrp="1"/>
          </p:cNvSpPr>
          <p:nvPr>
            <p:ph type="title"/>
          </p:nvPr>
        </p:nvSpPr>
        <p:spPr>
          <a:xfrm>
            <a:off x="274702" y="171769"/>
            <a:ext cx="11192828" cy="946413"/>
          </a:xfrm>
        </p:spPr>
        <p:txBody>
          <a:bodyPr/>
          <a:lstStyle/>
          <a:p>
            <a:pPr fontAlgn="t"/>
            <a:r>
              <a:rPr lang="en-US" altLang="zh-CN" dirty="0">
                <a:cs typeface="+mn-ea"/>
                <a:sym typeface="+mn-lt"/>
              </a:rPr>
              <a:t>Bureau</a:t>
            </a:r>
            <a:r>
              <a:rPr lang="en-US" altLang="zh-CN" dirty="0">
                <a:latin typeface="+mn-lt"/>
                <a:cs typeface="+mn-ea"/>
                <a:sym typeface="+mn-lt"/>
              </a:rPr>
              <a:t> |</a:t>
            </a:r>
            <a:r>
              <a:rPr lang="en-US" altLang="zh-CN" dirty="0"/>
              <a:t>Intelligence </a:t>
            </a:r>
            <a:r>
              <a:rPr lang="en-US" altLang="zh-CN" dirty="0" err="1"/>
              <a:t>économique</a:t>
            </a:r>
            <a:r>
              <a:rPr lang="en-US" altLang="zh-CN" dirty="0"/>
              <a:t/>
            </a:r>
            <a:br>
              <a:rPr lang="en-US" altLang="zh-CN" dirty="0"/>
            </a:br>
            <a:r>
              <a:rPr lang="en-US" altLang="zh-CN" dirty="0"/>
              <a:t/>
            </a:r>
            <a:br>
              <a:rPr lang="en-US" altLang="zh-CN" dirty="0"/>
            </a:br>
            <a:endParaRPr lang="zh-CN" altLang="en-US" sz="3600" dirty="0">
              <a:latin typeface="+mn-lt"/>
              <a:cs typeface="+mn-ea"/>
              <a:sym typeface="+mn-lt"/>
            </a:endParaRPr>
          </a:p>
        </p:txBody>
      </p:sp>
      <p:sp>
        <p:nvSpPr>
          <p:cNvPr id="36" name="矩形 35"/>
          <p:cNvSpPr/>
          <p:nvPr/>
        </p:nvSpPr>
        <p:spPr>
          <a:xfrm>
            <a:off x="89281" y="5485530"/>
            <a:ext cx="6030818" cy="400110"/>
          </a:xfrm>
          <a:prstGeom prst="rect">
            <a:avLst/>
          </a:prstGeom>
        </p:spPr>
        <p:txBody>
          <a:bodyPr wrap="none">
            <a:spAutoFit/>
          </a:bodyPr>
          <a:lstStyle/>
          <a:p>
            <a:r>
              <a:rPr lang="fr-FR" altLang="zh-CN" sz="2000" b="1" dirty="0">
                <a:solidFill>
                  <a:srgbClr val="2A2F32"/>
                </a:solidFill>
                <a:cs typeface="+mn-ea"/>
                <a:sym typeface="+mn-lt"/>
              </a:rPr>
              <a:t>La visualisation des </a:t>
            </a:r>
            <a:r>
              <a:rPr lang="fr-FR" altLang="zh-CN" sz="2000" b="1" dirty="0" smtClean="0">
                <a:solidFill>
                  <a:srgbClr val="2A2F32"/>
                </a:solidFill>
                <a:cs typeface="+mn-ea"/>
                <a:sym typeface="+mn-lt"/>
              </a:rPr>
              <a:t>données en un seul clique .</a:t>
            </a:r>
            <a:endParaRPr lang="en-US" altLang="zh-CN" sz="2000" dirty="0">
              <a:solidFill>
                <a:srgbClr val="2A2F32"/>
              </a:solidFill>
              <a:cs typeface="+mn-ea"/>
              <a:sym typeface="+mn-lt"/>
            </a:endParaRPr>
          </a:p>
        </p:txBody>
      </p:sp>
      <p:sp>
        <p:nvSpPr>
          <p:cNvPr id="37" name="矩形 36"/>
          <p:cNvSpPr/>
          <p:nvPr/>
        </p:nvSpPr>
        <p:spPr>
          <a:xfrm>
            <a:off x="89282" y="5970887"/>
            <a:ext cx="8689248" cy="584775"/>
          </a:xfrm>
          <a:prstGeom prst="rect">
            <a:avLst/>
          </a:prstGeom>
        </p:spPr>
        <p:txBody>
          <a:bodyPr wrap="square">
            <a:spAutoFit/>
          </a:bodyPr>
          <a:lstStyle/>
          <a:p>
            <a:r>
              <a:rPr lang="fr-FR" altLang="zh-CN" sz="1600" b="1" dirty="0" smtClean="0">
                <a:solidFill>
                  <a:srgbClr val="2A2F32"/>
                </a:solidFill>
                <a:cs typeface="+mn-ea"/>
                <a:sym typeface="+mn-lt"/>
              </a:rPr>
              <a:t>La Solution </a:t>
            </a:r>
            <a:r>
              <a:rPr lang="fr-FR" altLang="zh-CN" sz="1600" b="1" dirty="0">
                <a:solidFill>
                  <a:srgbClr val="2A2F32"/>
                </a:solidFill>
                <a:cs typeface="+mn-ea"/>
                <a:sym typeface="+mn-lt"/>
              </a:rPr>
              <a:t>BI </a:t>
            </a:r>
            <a:r>
              <a:rPr lang="fr-FR" altLang="zh-CN" sz="1600" b="1" dirty="0" smtClean="0">
                <a:solidFill>
                  <a:srgbClr val="2A2F32"/>
                </a:solidFill>
                <a:cs typeface="+mn-ea"/>
                <a:sym typeface="+mn-lt"/>
              </a:rPr>
              <a:t>DAHUA, vous aide dans la vie quotidienne à la prise de décision  </a:t>
            </a:r>
          </a:p>
          <a:p>
            <a:r>
              <a:rPr lang="en-US" altLang="zh-CN" sz="1600" b="1" dirty="0" smtClean="0">
                <a:solidFill>
                  <a:srgbClr val="2A2F32"/>
                </a:solidFill>
                <a:cs typeface="+mn-ea"/>
                <a:sym typeface="+mn-lt"/>
              </a:rPr>
              <a:t> </a:t>
            </a:r>
            <a:r>
              <a:rPr lang="en-US" altLang="zh-CN" sz="1600" b="1" dirty="0" err="1" smtClean="0">
                <a:solidFill>
                  <a:srgbClr val="2A2F32"/>
                </a:solidFill>
                <a:cs typeface="+mn-ea"/>
                <a:sym typeface="+mn-lt"/>
              </a:rPr>
              <a:t>Toujours</a:t>
            </a:r>
            <a:r>
              <a:rPr lang="en-US" altLang="zh-CN" sz="1600" b="1" dirty="0" smtClean="0">
                <a:solidFill>
                  <a:srgbClr val="2A2F32"/>
                </a:solidFill>
                <a:cs typeface="+mn-ea"/>
                <a:sym typeface="+mn-lt"/>
              </a:rPr>
              <a:t> pour </a:t>
            </a:r>
            <a:r>
              <a:rPr lang="en-US" altLang="zh-CN" sz="1600" b="1" dirty="0" err="1" smtClean="0">
                <a:solidFill>
                  <a:srgbClr val="2A2F32"/>
                </a:solidFill>
                <a:cs typeface="+mn-ea"/>
                <a:sym typeface="+mn-lt"/>
              </a:rPr>
              <a:t>améliorer</a:t>
            </a:r>
            <a:r>
              <a:rPr lang="en-US" altLang="zh-CN" sz="1600" b="1" dirty="0" smtClean="0">
                <a:solidFill>
                  <a:srgbClr val="2A2F32"/>
                </a:solidFill>
                <a:cs typeface="+mn-ea"/>
                <a:sym typeface="+mn-lt"/>
              </a:rPr>
              <a:t> la performance et la </a:t>
            </a:r>
            <a:r>
              <a:rPr lang="en-US" altLang="zh-CN" sz="1600" b="1" dirty="0" err="1" smtClean="0">
                <a:solidFill>
                  <a:srgbClr val="2A2F32"/>
                </a:solidFill>
                <a:cs typeface="+mn-ea"/>
                <a:sym typeface="+mn-lt"/>
              </a:rPr>
              <a:t>rentabilité</a:t>
            </a:r>
            <a:endParaRPr lang="zh-CN" altLang="en-US" sz="1600" b="1" dirty="0">
              <a:solidFill>
                <a:srgbClr val="2A2F32"/>
              </a:solidFill>
              <a:cs typeface="+mn-ea"/>
              <a:sym typeface="+mn-lt"/>
            </a:endParaRPr>
          </a:p>
        </p:txBody>
      </p:sp>
      <p:grpSp>
        <p:nvGrpSpPr>
          <p:cNvPr id="14" name="组合 13"/>
          <p:cNvGrpSpPr/>
          <p:nvPr/>
        </p:nvGrpSpPr>
        <p:grpSpPr>
          <a:xfrm>
            <a:off x="3136022" y="1118182"/>
            <a:ext cx="8479715" cy="5418727"/>
            <a:chOff x="3100462" y="516655"/>
            <a:chExt cx="8479715" cy="5418727"/>
          </a:xfrm>
        </p:grpSpPr>
        <p:grpSp>
          <p:nvGrpSpPr>
            <p:cNvPr id="13" name="组合 12"/>
            <p:cNvGrpSpPr/>
            <p:nvPr/>
          </p:nvGrpSpPr>
          <p:grpSpPr>
            <a:xfrm>
              <a:off x="3100462" y="516655"/>
              <a:ext cx="8479715" cy="5418727"/>
              <a:chOff x="412968" y="1349322"/>
              <a:chExt cx="8479715" cy="5418727"/>
            </a:xfrm>
          </p:grpSpPr>
          <p:cxnSp>
            <p:nvCxnSpPr>
              <p:cNvPr id="25" name="直接箭头连接符 24"/>
              <p:cNvCxnSpPr/>
              <p:nvPr/>
            </p:nvCxnSpPr>
            <p:spPr>
              <a:xfrm>
                <a:off x="4391136" y="3957718"/>
                <a:ext cx="1440431" cy="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12968" y="2682308"/>
                <a:ext cx="3657560" cy="3237516"/>
                <a:chOff x="366141" y="2674311"/>
                <a:chExt cx="3657560" cy="3237516"/>
              </a:xfrm>
            </p:grpSpPr>
            <p:grpSp>
              <p:nvGrpSpPr>
                <p:cNvPr id="7" name="组合 6"/>
                <p:cNvGrpSpPr/>
                <p:nvPr/>
              </p:nvGrpSpPr>
              <p:grpSpPr>
                <a:xfrm>
                  <a:off x="366141" y="2674311"/>
                  <a:ext cx="3657560" cy="3237516"/>
                  <a:chOff x="-1004102" y="1399103"/>
                  <a:chExt cx="4927580" cy="5340305"/>
                </a:xfrm>
              </p:grpSpPr>
              <p:pic>
                <p:nvPicPr>
                  <p:cNvPr id="28" name="Picture 2" descr="C:\Users\28182\Downloads\df953e390ce86c74c1c1947dca7c0ce3.png"/>
                  <p:cNvPicPr>
                    <a:picLocks noChangeAspect="1" noChangeArrowheads="1"/>
                  </p:cNvPicPr>
                  <p:nvPr/>
                </p:nvPicPr>
                <p:blipFill>
                  <a:blip r:embed="rId4" cstate="print"/>
                  <a:srcRect/>
                  <a:stretch>
                    <a:fillRect/>
                  </a:stretch>
                </p:blipFill>
                <p:spPr bwMode="auto">
                  <a:xfrm>
                    <a:off x="-1004102" y="1399103"/>
                    <a:ext cx="4927580" cy="5340305"/>
                  </a:xfrm>
                  <a:prstGeom prst="rect">
                    <a:avLst/>
                  </a:prstGeom>
                  <a:noFill/>
                  <a:extLst>
                    <a:ext uri="{909E8E84-426E-40DD-AFC4-6F175D3DCCD1}">
                      <a14:hiddenFill xmlns:a14="http://schemas.microsoft.com/office/drawing/2010/main">
                        <a:solidFill>
                          <a:srgbClr val="FFFFFF"/>
                        </a:solidFill>
                      </a14:hiddenFill>
                    </a:ext>
                  </a:extLst>
                </p:spPr>
              </p:pic>
              <p:pic>
                <p:nvPicPr>
                  <p:cNvPr id="33" name="图片 32" descr="图片包含 电子产品&#10;&#10;已生成高可信度的说明"/>
                  <p:cNvPicPr>
                    <a:picLocks noChangeAspect="1"/>
                  </p:cNvPicPr>
                  <p:nvPr/>
                </p:nvPicPr>
                <p:blipFill rotWithShape="1">
                  <a:blip r:embed="rId5" cstate="print"/>
                  <a:srcRect/>
                  <a:stretch>
                    <a:fillRect/>
                  </a:stretch>
                </p:blipFill>
                <p:spPr>
                  <a:xfrm>
                    <a:off x="-601752" y="2060739"/>
                    <a:ext cx="4293378" cy="2388424"/>
                  </a:xfrm>
                  <a:prstGeom prst="rect">
                    <a:avLst/>
                  </a:prstGeom>
                </p:spPr>
              </p:pic>
            </p:grpSp>
            <p:sp>
              <p:nvSpPr>
                <p:cNvPr id="9" name="矩形 8"/>
                <p:cNvSpPr/>
                <p:nvPr/>
              </p:nvSpPr>
              <p:spPr bwMode="auto">
                <a:xfrm>
                  <a:off x="573740" y="3075170"/>
                  <a:ext cx="3256510" cy="1610799"/>
                </a:xfrm>
                <a:prstGeom prst="rect">
                  <a:avLst/>
                </a:prstGeom>
                <a:solidFill>
                  <a:srgbClr val="252525">
                    <a:alpha val="78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r>
                    <a:rPr lang="en-US" altLang="zh-CN" sz="2400" dirty="0">
                      <a:gradFill>
                        <a:gsLst>
                          <a:gs pos="0">
                            <a:srgbClr val="FFFFFF"/>
                          </a:gs>
                          <a:gs pos="100000">
                            <a:srgbClr val="FFFFFF"/>
                          </a:gs>
                        </a:gsLst>
                        <a:lin ang="5400000" scaled="0"/>
                      </a:gradFill>
                      <a:cs typeface="+mn-ea"/>
                      <a:sym typeface="+mn-lt"/>
                    </a:rPr>
                    <a:t>	</a:t>
                  </a:r>
                  <a:endParaRPr lang="zh-CN" altLang="en-US" sz="2400" dirty="0" err="1">
                    <a:gradFill>
                      <a:gsLst>
                        <a:gs pos="0">
                          <a:srgbClr val="FFFFFF"/>
                        </a:gs>
                        <a:gs pos="100000">
                          <a:srgbClr val="FFFFFF"/>
                        </a:gs>
                      </a:gsLst>
                      <a:lin ang="5400000" scaled="0"/>
                    </a:gradFill>
                    <a:cs typeface="+mn-ea"/>
                    <a:sym typeface="+mn-lt"/>
                  </a:endParaRPr>
                </a:p>
              </p:txBody>
            </p:sp>
            <p:pic>
              <p:nvPicPr>
                <p:cNvPr id="8" name="图片 7"/>
                <p:cNvPicPr>
                  <a:picLocks noChangeAspect="1"/>
                </p:cNvPicPr>
                <p:nvPr/>
              </p:nvPicPr>
              <p:blipFill>
                <a:blip r:embed="rId6"/>
                <a:stretch>
                  <a:fillRect/>
                </a:stretch>
              </p:blipFill>
              <p:spPr>
                <a:xfrm>
                  <a:off x="888647" y="3410227"/>
                  <a:ext cx="844811" cy="844811"/>
                </a:xfrm>
                <a:prstGeom prst="rect">
                  <a:avLst/>
                </a:prstGeom>
              </p:spPr>
            </p:pic>
            <p:sp>
              <p:nvSpPr>
                <p:cNvPr id="10" name="文本框 9"/>
                <p:cNvSpPr txBox="1"/>
                <p:nvPr/>
              </p:nvSpPr>
              <p:spPr>
                <a:xfrm>
                  <a:off x="1650285" y="3314028"/>
                  <a:ext cx="2289729" cy="1037207"/>
                </a:xfrm>
                <a:prstGeom prst="rect">
                  <a:avLst/>
                </a:prstGeom>
                <a:noFill/>
              </p:spPr>
              <p:txBody>
                <a:bodyPr wrap="none" lIns="182880" tIns="146304" rIns="182880" bIns="146304" rtlCol="0">
                  <a:spAutoFit/>
                </a:bodyPr>
                <a:lstStyle/>
                <a:p>
                  <a:pPr algn="ctr">
                    <a:lnSpc>
                      <a:spcPct val="90000"/>
                    </a:lnSpc>
                    <a:spcAft>
                      <a:spcPts val="600"/>
                    </a:spcAft>
                  </a:pPr>
                  <a:r>
                    <a:rPr lang="en-US" altLang="zh-CN" sz="2400" b="1" dirty="0">
                      <a:gradFill>
                        <a:gsLst>
                          <a:gs pos="0">
                            <a:srgbClr val="FFFFFF"/>
                          </a:gs>
                          <a:gs pos="100000">
                            <a:srgbClr val="FFFFFF"/>
                          </a:gs>
                        </a:gsLst>
                        <a:lin ang="5400000" scaled="0"/>
                      </a:gradFill>
                      <a:cs typeface="+mn-ea"/>
                      <a:sym typeface="+mn-lt"/>
                    </a:rPr>
                    <a:t>Intelligence </a:t>
                  </a:r>
                </a:p>
                <a:p>
                  <a:pPr algn="ctr">
                    <a:lnSpc>
                      <a:spcPct val="90000"/>
                    </a:lnSpc>
                    <a:spcAft>
                      <a:spcPts val="600"/>
                    </a:spcAft>
                  </a:pPr>
                  <a:r>
                    <a:rPr lang="en-US" altLang="zh-CN" sz="2400" b="1" dirty="0" err="1">
                      <a:gradFill>
                        <a:gsLst>
                          <a:gs pos="0">
                            <a:srgbClr val="FFFFFF"/>
                          </a:gs>
                          <a:gs pos="100000">
                            <a:srgbClr val="FFFFFF"/>
                          </a:gs>
                        </a:gsLst>
                        <a:lin ang="5400000" scaled="0"/>
                      </a:gradFill>
                      <a:cs typeface="+mn-ea"/>
                      <a:sym typeface="+mn-lt"/>
                    </a:rPr>
                    <a:t>économique</a:t>
                  </a:r>
                  <a:endParaRPr lang="en-US" altLang="zh-CN" sz="2400" b="1" dirty="0">
                    <a:gradFill>
                      <a:gsLst>
                        <a:gs pos="0">
                          <a:srgbClr val="FFFFFF"/>
                        </a:gs>
                        <a:gs pos="100000">
                          <a:srgbClr val="FFFFFF"/>
                        </a:gs>
                      </a:gsLst>
                      <a:lin ang="5400000" scaled="0"/>
                    </a:gradFill>
                    <a:cs typeface="+mn-ea"/>
                    <a:sym typeface="+mn-lt"/>
                  </a:endParaRPr>
                </a:p>
              </p:txBody>
            </p:sp>
          </p:grpSp>
          <p:grpSp>
            <p:nvGrpSpPr>
              <p:cNvPr id="4" name="组合 3"/>
              <p:cNvGrpSpPr/>
              <p:nvPr/>
            </p:nvGrpSpPr>
            <p:grpSpPr>
              <a:xfrm>
                <a:off x="6147316" y="1349322"/>
                <a:ext cx="2745367" cy="1831964"/>
                <a:chOff x="6229764" y="1362114"/>
                <a:chExt cx="2745367" cy="1831964"/>
              </a:xfrm>
            </p:grpSpPr>
            <p:sp>
              <p:nvSpPr>
                <p:cNvPr id="2" name="矩形 1"/>
                <p:cNvSpPr/>
                <p:nvPr/>
              </p:nvSpPr>
              <p:spPr bwMode="auto">
                <a:xfrm>
                  <a:off x="6324795" y="1480969"/>
                  <a:ext cx="2393211" cy="301909"/>
                </a:xfrm>
                <a:prstGeom prst="rect">
                  <a:avLst/>
                </a:prstGeom>
                <a:solidFill>
                  <a:srgbClr val="D6D7DB"/>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30" name="图片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24795" y="1782878"/>
                  <a:ext cx="2393211" cy="1411200"/>
                </a:xfrm>
                <a:prstGeom prst="rect">
                  <a:avLst/>
                </a:prstGeom>
              </p:spPr>
            </p:pic>
            <p:sp>
              <p:nvSpPr>
                <p:cNvPr id="11" name="文本框 10"/>
                <p:cNvSpPr txBox="1"/>
                <p:nvPr/>
              </p:nvSpPr>
              <p:spPr>
                <a:xfrm>
                  <a:off x="6229764" y="1362114"/>
                  <a:ext cx="2745367" cy="517065"/>
                </a:xfrm>
                <a:prstGeom prst="rect">
                  <a:avLst/>
                </a:prstGeom>
                <a:noFill/>
              </p:spPr>
              <p:txBody>
                <a:bodyPr wrap="none" lIns="182880" tIns="146304" rIns="182880" bIns="146304" rtlCol="0">
                  <a:spAutoFit/>
                </a:bodyPr>
                <a:lstStyle/>
                <a:p>
                  <a:pPr>
                    <a:lnSpc>
                      <a:spcPct val="90000"/>
                    </a:lnSpc>
                    <a:spcAft>
                      <a:spcPts val="600"/>
                    </a:spcAft>
                  </a:pPr>
                  <a:r>
                    <a:rPr lang="en-US" altLang="zh-CN" sz="1600" b="1" dirty="0" err="1">
                      <a:cs typeface="+mn-ea"/>
                      <a:sym typeface="+mn-lt"/>
                    </a:rPr>
                    <a:t>Analyse</a:t>
                  </a:r>
                  <a:r>
                    <a:rPr lang="en-US" altLang="zh-CN" sz="1600" b="1" dirty="0">
                      <a:cs typeface="+mn-ea"/>
                      <a:sym typeface="+mn-lt"/>
                    </a:rPr>
                    <a:t> des flux clients</a:t>
                  </a:r>
                </a:p>
              </p:txBody>
            </p:sp>
          </p:grpSp>
          <p:grpSp>
            <p:nvGrpSpPr>
              <p:cNvPr id="5" name="组合 4"/>
              <p:cNvGrpSpPr/>
              <p:nvPr/>
            </p:nvGrpSpPr>
            <p:grpSpPr>
              <a:xfrm>
                <a:off x="6245884" y="3263965"/>
                <a:ext cx="2509020" cy="1742701"/>
                <a:chOff x="8374229" y="2687397"/>
                <a:chExt cx="2509020" cy="1742701"/>
              </a:xfrm>
            </p:grpSpPr>
            <p:pic>
              <p:nvPicPr>
                <p:cNvPr id="31" name="图片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74229" y="3018898"/>
                  <a:ext cx="2374989" cy="1411200"/>
                </a:xfrm>
                <a:prstGeom prst="rect">
                  <a:avLst/>
                </a:prstGeom>
              </p:spPr>
            </p:pic>
            <p:sp>
              <p:nvSpPr>
                <p:cNvPr id="24" name="矩形 23"/>
                <p:cNvSpPr/>
                <p:nvPr/>
              </p:nvSpPr>
              <p:spPr bwMode="auto">
                <a:xfrm>
                  <a:off x="8374229" y="2774372"/>
                  <a:ext cx="2374989" cy="265695"/>
                </a:xfrm>
                <a:prstGeom prst="rect">
                  <a:avLst/>
                </a:prstGeom>
                <a:solidFill>
                  <a:srgbClr val="D6D7DB"/>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2" name="矩形 11"/>
                <p:cNvSpPr/>
                <p:nvPr/>
              </p:nvSpPr>
              <p:spPr>
                <a:xfrm>
                  <a:off x="8374229" y="2687397"/>
                  <a:ext cx="2509020" cy="338554"/>
                </a:xfrm>
                <a:prstGeom prst="rect">
                  <a:avLst/>
                </a:prstGeom>
              </p:spPr>
              <p:txBody>
                <a:bodyPr wrap="none">
                  <a:spAutoFit/>
                </a:bodyPr>
                <a:lstStyle/>
                <a:p>
                  <a:r>
                    <a:rPr lang="en-US" altLang="zh-CN" sz="1600" b="1" dirty="0" err="1">
                      <a:cs typeface="+mn-ea"/>
                      <a:sym typeface="+mn-lt"/>
                    </a:rPr>
                    <a:t>Démographie</a:t>
                  </a:r>
                  <a:r>
                    <a:rPr lang="en-US" altLang="zh-CN" sz="1600" b="1" dirty="0">
                      <a:cs typeface="+mn-ea"/>
                      <a:sym typeface="+mn-lt"/>
                    </a:rPr>
                    <a:t> du client</a:t>
                  </a:r>
                </a:p>
              </p:txBody>
            </p:sp>
          </p:grpSp>
          <p:grpSp>
            <p:nvGrpSpPr>
              <p:cNvPr id="6" name="组合 5"/>
              <p:cNvGrpSpPr/>
              <p:nvPr/>
            </p:nvGrpSpPr>
            <p:grpSpPr>
              <a:xfrm>
                <a:off x="6233971" y="5143164"/>
                <a:ext cx="2493014" cy="1624885"/>
                <a:chOff x="9854597" y="3893303"/>
                <a:chExt cx="2493014" cy="1624885"/>
              </a:xfrm>
            </p:grpSpPr>
            <p:pic>
              <p:nvPicPr>
                <p:cNvPr id="32" name="图片 31"/>
                <p:cNvPicPr>
                  <a:picLocks noChangeAspect="1"/>
                </p:cNvPicPr>
                <p:nvPr/>
              </p:nvPicPr>
              <p:blipFill>
                <a:blip r:embed="rId9"/>
                <a:stretch>
                  <a:fillRect/>
                </a:stretch>
              </p:blipFill>
              <p:spPr>
                <a:xfrm>
                  <a:off x="9854597" y="4222113"/>
                  <a:ext cx="2493014" cy="1296075"/>
                </a:xfrm>
                <a:prstGeom prst="rect">
                  <a:avLst/>
                </a:prstGeom>
              </p:spPr>
            </p:pic>
            <p:sp>
              <p:nvSpPr>
                <p:cNvPr id="21" name="矩形 20"/>
                <p:cNvSpPr/>
                <p:nvPr/>
              </p:nvSpPr>
              <p:spPr bwMode="auto">
                <a:xfrm>
                  <a:off x="9857002" y="3920204"/>
                  <a:ext cx="2490609" cy="301909"/>
                </a:xfrm>
                <a:prstGeom prst="rect">
                  <a:avLst/>
                </a:prstGeom>
                <a:solidFill>
                  <a:srgbClr val="D6D7DB"/>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35" name="矩形 34"/>
                <p:cNvSpPr/>
                <p:nvPr/>
              </p:nvSpPr>
              <p:spPr>
                <a:xfrm>
                  <a:off x="10058675" y="3893303"/>
                  <a:ext cx="2191626" cy="338554"/>
                </a:xfrm>
                <a:prstGeom prst="rect">
                  <a:avLst/>
                </a:prstGeom>
              </p:spPr>
              <p:txBody>
                <a:bodyPr wrap="none">
                  <a:spAutoFit/>
                </a:bodyPr>
                <a:lstStyle/>
                <a:p>
                  <a:r>
                    <a:rPr lang="en-US" altLang="zh-CN" sz="1600" b="1" dirty="0">
                      <a:cs typeface="+mn-ea"/>
                      <a:sym typeface="+mn-lt"/>
                    </a:rPr>
                    <a:t>Aperçu des </a:t>
                  </a:r>
                  <a:r>
                    <a:rPr lang="en-US" altLang="zh-CN" sz="1600" b="1" dirty="0" err="1">
                      <a:cs typeface="+mn-ea"/>
                      <a:sym typeface="+mn-lt"/>
                    </a:rPr>
                    <a:t>produits</a:t>
                  </a:r>
                  <a:endParaRPr lang="en-US" altLang="zh-CN" sz="1600" b="1" dirty="0">
                    <a:cs typeface="+mn-ea"/>
                    <a:sym typeface="+mn-lt"/>
                  </a:endParaRPr>
                </a:p>
              </p:txBody>
            </p:sp>
          </p:grpSp>
          <p:cxnSp>
            <p:nvCxnSpPr>
              <p:cNvPr id="27" name="直接箭头连接符 26"/>
              <p:cNvCxnSpPr/>
              <p:nvPr/>
            </p:nvCxnSpPr>
            <p:spPr>
              <a:xfrm flipV="1">
                <a:off x="4352669" y="3107248"/>
                <a:ext cx="1366572" cy="50938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a:off x="4352669" y="4247767"/>
                <a:ext cx="1366572" cy="596822"/>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42" name="Freeform 10137"/>
            <p:cNvSpPr/>
            <p:nvPr/>
          </p:nvSpPr>
          <p:spPr bwMode="auto">
            <a:xfrm>
              <a:off x="4749920" y="2834177"/>
              <a:ext cx="1164943" cy="678795"/>
            </a:xfrm>
            <a:custGeom>
              <a:avLst/>
              <a:gdLst>
                <a:gd name="T0" fmla="*/ 0 w 6676"/>
                <a:gd name="T1" fmla="*/ 3346 h 3890"/>
                <a:gd name="T2" fmla="*/ 2246 w 6676"/>
                <a:gd name="T3" fmla="*/ 1892 h 3890"/>
                <a:gd name="T4" fmla="*/ 2972 w 6676"/>
                <a:gd name="T5" fmla="*/ 2508 h 3890"/>
                <a:gd name="T6" fmla="*/ 4462 w 6676"/>
                <a:gd name="T7" fmla="*/ 1070 h 3890"/>
                <a:gd name="T8" fmla="*/ 4846 w 6676"/>
                <a:gd name="T9" fmla="*/ 1386 h 3890"/>
                <a:gd name="T10" fmla="*/ 5778 w 6676"/>
                <a:gd name="T11" fmla="*/ 586 h 3890"/>
                <a:gd name="T12" fmla="*/ 5550 w 6676"/>
                <a:gd name="T13" fmla="*/ 406 h 3890"/>
                <a:gd name="T14" fmla="*/ 6676 w 6676"/>
                <a:gd name="T15" fmla="*/ 0 h 3890"/>
                <a:gd name="T16" fmla="*/ 6448 w 6676"/>
                <a:gd name="T17" fmla="*/ 1266 h 3890"/>
                <a:gd name="T18" fmla="*/ 6060 w 6676"/>
                <a:gd name="T19" fmla="*/ 898 h 3890"/>
                <a:gd name="T20" fmla="*/ 4846 w 6676"/>
                <a:gd name="T21" fmla="*/ 2098 h 3890"/>
                <a:gd name="T22" fmla="*/ 4466 w 6676"/>
                <a:gd name="T23" fmla="*/ 1730 h 3890"/>
                <a:gd name="T24" fmla="*/ 3068 w 6676"/>
                <a:gd name="T25" fmla="*/ 3156 h 3890"/>
                <a:gd name="T26" fmla="*/ 2218 w 6676"/>
                <a:gd name="T27" fmla="*/ 2496 h 3890"/>
                <a:gd name="T28" fmla="*/ 332 w 6676"/>
                <a:gd name="T29" fmla="*/ 3890 h 3890"/>
                <a:gd name="T30" fmla="*/ 0 w 6676"/>
                <a:gd name="T31" fmla="*/ 3346 h 3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76" h="3890">
                  <a:moveTo>
                    <a:pt x="0" y="3346"/>
                  </a:moveTo>
                  <a:lnTo>
                    <a:pt x="2246" y="1892"/>
                  </a:lnTo>
                  <a:lnTo>
                    <a:pt x="2972" y="2508"/>
                  </a:lnTo>
                  <a:lnTo>
                    <a:pt x="4462" y="1070"/>
                  </a:lnTo>
                  <a:lnTo>
                    <a:pt x="4846" y="1386"/>
                  </a:lnTo>
                  <a:lnTo>
                    <a:pt x="5778" y="586"/>
                  </a:lnTo>
                  <a:lnTo>
                    <a:pt x="5550" y="406"/>
                  </a:lnTo>
                  <a:lnTo>
                    <a:pt x="6676" y="0"/>
                  </a:lnTo>
                  <a:lnTo>
                    <a:pt x="6448" y="1266"/>
                  </a:lnTo>
                  <a:lnTo>
                    <a:pt x="6060" y="898"/>
                  </a:lnTo>
                  <a:lnTo>
                    <a:pt x="4846" y="2098"/>
                  </a:lnTo>
                  <a:lnTo>
                    <a:pt x="4466" y="1730"/>
                  </a:lnTo>
                  <a:lnTo>
                    <a:pt x="3068" y="3156"/>
                  </a:lnTo>
                  <a:lnTo>
                    <a:pt x="2218" y="2496"/>
                  </a:lnTo>
                  <a:lnTo>
                    <a:pt x="332" y="3890"/>
                  </a:lnTo>
                  <a:lnTo>
                    <a:pt x="0" y="3346"/>
                  </a:lnTo>
                  <a:close/>
                </a:path>
              </a:pathLst>
            </a:custGeom>
            <a:solidFill>
              <a:srgbClr val="AE1F27">
                <a:alpha val="37000"/>
              </a:srgb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grpSp>
      <p:pic>
        <p:nvPicPr>
          <p:cNvPr id="41" name="Picture Placeholder 8"/>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a:xfrm>
            <a:off x="149562" y="4775526"/>
            <a:ext cx="908740" cy="633521"/>
          </a:xfrm>
          <a:prstGeom prst="rect">
            <a:avLst/>
          </a:prstGeom>
        </p:spPr>
      </p:pic>
    </p:spTree>
    <p:custDataLst>
      <p:tags r:id="rId1"/>
    </p:custData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圆角矩形 108"/>
          <p:cNvSpPr/>
          <p:nvPr/>
        </p:nvSpPr>
        <p:spPr bwMode="auto">
          <a:xfrm>
            <a:off x="513248" y="2935056"/>
            <a:ext cx="9417656" cy="4005101"/>
          </a:xfrm>
          <a:custGeom>
            <a:avLst/>
            <a:gdLst>
              <a:gd name="connsiteX0" fmla="*/ 0 w 9230931"/>
              <a:gd name="connsiteY0" fmla="*/ 679443 h 4076575"/>
              <a:gd name="connsiteX1" fmla="*/ 679443 w 9230931"/>
              <a:gd name="connsiteY1" fmla="*/ 0 h 4076575"/>
              <a:gd name="connsiteX2" fmla="*/ 8551488 w 9230931"/>
              <a:gd name="connsiteY2" fmla="*/ 0 h 4076575"/>
              <a:gd name="connsiteX3" fmla="*/ 9230931 w 9230931"/>
              <a:gd name="connsiteY3" fmla="*/ 679443 h 4076575"/>
              <a:gd name="connsiteX4" fmla="*/ 9230931 w 9230931"/>
              <a:gd name="connsiteY4" fmla="*/ 3397132 h 4076575"/>
              <a:gd name="connsiteX5" fmla="*/ 8551488 w 9230931"/>
              <a:gd name="connsiteY5" fmla="*/ 4076575 h 4076575"/>
              <a:gd name="connsiteX6" fmla="*/ 679443 w 9230931"/>
              <a:gd name="connsiteY6" fmla="*/ 4076575 h 4076575"/>
              <a:gd name="connsiteX7" fmla="*/ 0 w 9230931"/>
              <a:gd name="connsiteY7" fmla="*/ 3397132 h 4076575"/>
              <a:gd name="connsiteX8" fmla="*/ 0 w 9230931"/>
              <a:gd name="connsiteY8" fmla="*/ 679443 h 4076575"/>
              <a:gd name="connsiteX0-1" fmla="*/ 0 w 9239398"/>
              <a:gd name="connsiteY0-2" fmla="*/ 366196 h 4076594"/>
              <a:gd name="connsiteX1-3" fmla="*/ 687910 w 9239398"/>
              <a:gd name="connsiteY1-4" fmla="*/ 19 h 4076594"/>
              <a:gd name="connsiteX2-5" fmla="*/ 8559955 w 9239398"/>
              <a:gd name="connsiteY2-6" fmla="*/ 19 h 4076594"/>
              <a:gd name="connsiteX3-7" fmla="*/ 9239398 w 9239398"/>
              <a:gd name="connsiteY3-8" fmla="*/ 679462 h 4076594"/>
              <a:gd name="connsiteX4-9" fmla="*/ 9239398 w 9239398"/>
              <a:gd name="connsiteY4-10" fmla="*/ 3397151 h 4076594"/>
              <a:gd name="connsiteX5-11" fmla="*/ 8559955 w 9239398"/>
              <a:gd name="connsiteY5-12" fmla="*/ 4076594 h 4076594"/>
              <a:gd name="connsiteX6-13" fmla="*/ 687910 w 9239398"/>
              <a:gd name="connsiteY6-14" fmla="*/ 4076594 h 4076594"/>
              <a:gd name="connsiteX7-15" fmla="*/ 8467 w 9239398"/>
              <a:gd name="connsiteY7-16" fmla="*/ 3397151 h 4076594"/>
              <a:gd name="connsiteX8-17" fmla="*/ 0 w 9239398"/>
              <a:gd name="connsiteY8-18" fmla="*/ 366196 h 4076594"/>
              <a:gd name="connsiteX0-19" fmla="*/ 0 w 9239398"/>
              <a:gd name="connsiteY0-20" fmla="*/ 366177 h 4076575"/>
              <a:gd name="connsiteX1-21" fmla="*/ 433910 w 9239398"/>
              <a:gd name="connsiteY1-22" fmla="*/ 8466 h 4076575"/>
              <a:gd name="connsiteX2-23" fmla="*/ 8559955 w 9239398"/>
              <a:gd name="connsiteY2-24" fmla="*/ 0 h 4076575"/>
              <a:gd name="connsiteX3-25" fmla="*/ 9239398 w 9239398"/>
              <a:gd name="connsiteY3-26" fmla="*/ 679443 h 4076575"/>
              <a:gd name="connsiteX4-27" fmla="*/ 9239398 w 9239398"/>
              <a:gd name="connsiteY4-28" fmla="*/ 3397132 h 4076575"/>
              <a:gd name="connsiteX5-29" fmla="*/ 8559955 w 9239398"/>
              <a:gd name="connsiteY5-30" fmla="*/ 4076575 h 4076575"/>
              <a:gd name="connsiteX6-31" fmla="*/ 687910 w 9239398"/>
              <a:gd name="connsiteY6-32" fmla="*/ 4076575 h 4076575"/>
              <a:gd name="connsiteX7-33" fmla="*/ 8467 w 9239398"/>
              <a:gd name="connsiteY7-34" fmla="*/ 3397132 h 4076575"/>
              <a:gd name="connsiteX8-35" fmla="*/ 0 w 9239398"/>
              <a:gd name="connsiteY8-36" fmla="*/ 366177 h 4076575"/>
              <a:gd name="connsiteX0-37" fmla="*/ 0 w 9239398"/>
              <a:gd name="connsiteY0-38" fmla="*/ 366177 h 4076960"/>
              <a:gd name="connsiteX1-39" fmla="*/ 433910 w 9239398"/>
              <a:gd name="connsiteY1-40" fmla="*/ 8466 h 4076960"/>
              <a:gd name="connsiteX2-41" fmla="*/ 8559955 w 9239398"/>
              <a:gd name="connsiteY2-42" fmla="*/ 0 h 4076960"/>
              <a:gd name="connsiteX3-43" fmla="*/ 9239398 w 9239398"/>
              <a:gd name="connsiteY3-44" fmla="*/ 679443 h 4076960"/>
              <a:gd name="connsiteX4-45" fmla="*/ 9239398 w 9239398"/>
              <a:gd name="connsiteY4-46" fmla="*/ 3397132 h 4076960"/>
              <a:gd name="connsiteX5-47" fmla="*/ 8559955 w 9239398"/>
              <a:gd name="connsiteY5-48" fmla="*/ 4076575 h 4076960"/>
              <a:gd name="connsiteX6-49" fmla="*/ 687910 w 9239398"/>
              <a:gd name="connsiteY6-50" fmla="*/ 4076575 h 4076960"/>
              <a:gd name="connsiteX7-51" fmla="*/ 16934 w 9239398"/>
              <a:gd name="connsiteY7-52" fmla="*/ 3727332 h 4076960"/>
              <a:gd name="connsiteX8-53" fmla="*/ 0 w 9239398"/>
              <a:gd name="connsiteY8-54" fmla="*/ 366177 h 4076960"/>
              <a:gd name="connsiteX0-55" fmla="*/ 0 w 9239398"/>
              <a:gd name="connsiteY0-56" fmla="*/ 366177 h 4076575"/>
              <a:gd name="connsiteX1-57" fmla="*/ 433910 w 9239398"/>
              <a:gd name="connsiteY1-58" fmla="*/ 8466 h 4076575"/>
              <a:gd name="connsiteX2-59" fmla="*/ 8559955 w 9239398"/>
              <a:gd name="connsiteY2-60" fmla="*/ 0 h 4076575"/>
              <a:gd name="connsiteX3-61" fmla="*/ 9239398 w 9239398"/>
              <a:gd name="connsiteY3-62" fmla="*/ 679443 h 4076575"/>
              <a:gd name="connsiteX4-63" fmla="*/ 9239398 w 9239398"/>
              <a:gd name="connsiteY4-64" fmla="*/ 3397132 h 4076575"/>
              <a:gd name="connsiteX5-65" fmla="*/ 8559955 w 9239398"/>
              <a:gd name="connsiteY5-66" fmla="*/ 4076575 h 4076575"/>
              <a:gd name="connsiteX6-67" fmla="*/ 442377 w 9239398"/>
              <a:gd name="connsiteY6-68" fmla="*/ 4068109 h 4076575"/>
              <a:gd name="connsiteX7-69" fmla="*/ 16934 w 9239398"/>
              <a:gd name="connsiteY7-70" fmla="*/ 3727332 h 4076575"/>
              <a:gd name="connsiteX8-71" fmla="*/ 0 w 9239398"/>
              <a:gd name="connsiteY8-72" fmla="*/ 366177 h 4076575"/>
              <a:gd name="connsiteX0-73" fmla="*/ 0 w 9242901"/>
              <a:gd name="connsiteY0-74" fmla="*/ 374644 h 4085042"/>
              <a:gd name="connsiteX1-75" fmla="*/ 433910 w 9242901"/>
              <a:gd name="connsiteY1-76" fmla="*/ 16933 h 4085042"/>
              <a:gd name="connsiteX2-77" fmla="*/ 8924022 w 9242901"/>
              <a:gd name="connsiteY2-78" fmla="*/ 0 h 4085042"/>
              <a:gd name="connsiteX3-79" fmla="*/ 9239398 w 9242901"/>
              <a:gd name="connsiteY3-80" fmla="*/ 687910 h 4085042"/>
              <a:gd name="connsiteX4-81" fmla="*/ 9239398 w 9242901"/>
              <a:gd name="connsiteY4-82" fmla="*/ 3405599 h 4085042"/>
              <a:gd name="connsiteX5-83" fmla="*/ 8559955 w 9242901"/>
              <a:gd name="connsiteY5-84" fmla="*/ 4085042 h 4085042"/>
              <a:gd name="connsiteX6-85" fmla="*/ 442377 w 9242901"/>
              <a:gd name="connsiteY6-86" fmla="*/ 4076576 h 4085042"/>
              <a:gd name="connsiteX7-87" fmla="*/ 16934 w 9242901"/>
              <a:gd name="connsiteY7-88" fmla="*/ 3735799 h 4085042"/>
              <a:gd name="connsiteX8-89" fmla="*/ 0 w 9242901"/>
              <a:gd name="connsiteY8-90" fmla="*/ 374644 h 4085042"/>
              <a:gd name="connsiteX0-91" fmla="*/ 0 w 9250242"/>
              <a:gd name="connsiteY0-92" fmla="*/ 374644 h 4085042"/>
              <a:gd name="connsiteX1-93" fmla="*/ 433910 w 9250242"/>
              <a:gd name="connsiteY1-94" fmla="*/ 16933 h 4085042"/>
              <a:gd name="connsiteX2-95" fmla="*/ 8924022 w 9250242"/>
              <a:gd name="connsiteY2-96" fmla="*/ 0 h 4085042"/>
              <a:gd name="connsiteX3-97" fmla="*/ 9247865 w 9250242"/>
              <a:gd name="connsiteY3-98" fmla="*/ 374644 h 4085042"/>
              <a:gd name="connsiteX4-99" fmla="*/ 9239398 w 9250242"/>
              <a:gd name="connsiteY4-100" fmla="*/ 3405599 h 4085042"/>
              <a:gd name="connsiteX5-101" fmla="*/ 8559955 w 9250242"/>
              <a:gd name="connsiteY5-102" fmla="*/ 4085042 h 4085042"/>
              <a:gd name="connsiteX6-103" fmla="*/ 442377 w 9250242"/>
              <a:gd name="connsiteY6-104" fmla="*/ 4076576 h 4085042"/>
              <a:gd name="connsiteX7-105" fmla="*/ 16934 w 9250242"/>
              <a:gd name="connsiteY7-106" fmla="*/ 3735799 h 4085042"/>
              <a:gd name="connsiteX8-107" fmla="*/ 0 w 9250242"/>
              <a:gd name="connsiteY8-108" fmla="*/ 374644 h 4085042"/>
              <a:gd name="connsiteX0-109" fmla="*/ 0 w 9250242"/>
              <a:gd name="connsiteY0-110" fmla="*/ 374644 h 4086531"/>
              <a:gd name="connsiteX1-111" fmla="*/ 433910 w 9250242"/>
              <a:gd name="connsiteY1-112" fmla="*/ 16933 h 4086531"/>
              <a:gd name="connsiteX2-113" fmla="*/ 8924022 w 9250242"/>
              <a:gd name="connsiteY2-114" fmla="*/ 0 h 4086531"/>
              <a:gd name="connsiteX3-115" fmla="*/ 9247865 w 9250242"/>
              <a:gd name="connsiteY3-116" fmla="*/ 374644 h 4086531"/>
              <a:gd name="connsiteX4-117" fmla="*/ 9247865 w 9250242"/>
              <a:gd name="connsiteY4-118" fmla="*/ 3752733 h 4086531"/>
              <a:gd name="connsiteX5-119" fmla="*/ 8559955 w 9250242"/>
              <a:gd name="connsiteY5-120" fmla="*/ 4085042 h 4086531"/>
              <a:gd name="connsiteX6-121" fmla="*/ 442377 w 9250242"/>
              <a:gd name="connsiteY6-122" fmla="*/ 4076576 h 4086531"/>
              <a:gd name="connsiteX7-123" fmla="*/ 16934 w 9250242"/>
              <a:gd name="connsiteY7-124" fmla="*/ 3735799 h 4086531"/>
              <a:gd name="connsiteX8-125" fmla="*/ 0 w 9250242"/>
              <a:gd name="connsiteY8-126" fmla="*/ 374644 h 4086531"/>
              <a:gd name="connsiteX0-127" fmla="*/ 0 w 9250242"/>
              <a:gd name="connsiteY0-128" fmla="*/ 374644 h 4086531"/>
              <a:gd name="connsiteX1-129" fmla="*/ 433910 w 9250242"/>
              <a:gd name="connsiteY1-130" fmla="*/ 16933 h 4086531"/>
              <a:gd name="connsiteX2-131" fmla="*/ 8924022 w 9250242"/>
              <a:gd name="connsiteY2-132" fmla="*/ 0 h 4086531"/>
              <a:gd name="connsiteX3-133" fmla="*/ 9247865 w 9250242"/>
              <a:gd name="connsiteY3-134" fmla="*/ 374644 h 4086531"/>
              <a:gd name="connsiteX4-135" fmla="*/ 9247865 w 9250242"/>
              <a:gd name="connsiteY4-136" fmla="*/ 3752733 h 4086531"/>
              <a:gd name="connsiteX5-137" fmla="*/ 8864755 w 9250242"/>
              <a:gd name="connsiteY5-138" fmla="*/ 4085042 h 4086531"/>
              <a:gd name="connsiteX6-139" fmla="*/ 442377 w 9250242"/>
              <a:gd name="connsiteY6-140" fmla="*/ 4076576 h 4086531"/>
              <a:gd name="connsiteX7-141" fmla="*/ 16934 w 9250242"/>
              <a:gd name="connsiteY7-142" fmla="*/ 3735799 h 4086531"/>
              <a:gd name="connsiteX8-143" fmla="*/ 0 w 9250242"/>
              <a:gd name="connsiteY8-144" fmla="*/ 374644 h 408653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9250242" h="4086531">
                <a:moveTo>
                  <a:pt x="0" y="374644"/>
                </a:moveTo>
                <a:cubicBezTo>
                  <a:pt x="0" y="-602"/>
                  <a:pt x="58664" y="16933"/>
                  <a:pt x="433910" y="16933"/>
                </a:cubicBezTo>
                <a:lnTo>
                  <a:pt x="8924022" y="0"/>
                </a:lnTo>
                <a:cubicBezTo>
                  <a:pt x="9299268" y="0"/>
                  <a:pt x="9247865" y="-602"/>
                  <a:pt x="9247865" y="374644"/>
                </a:cubicBezTo>
                <a:cubicBezTo>
                  <a:pt x="9245043" y="1384962"/>
                  <a:pt x="9250687" y="2742415"/>
                  <a:pt x="9247865" y="3752733"/>
                </a:cubicBezTo>
                <a:cubicBezTo>
                  <a:pt x="9247865" y="4127979"/>
                  <a:pt x="9240001" y="4085042"/>
                  <a:pt x="8864755" y="4085042"/>
                </a:cubicBezTo>
                <a:lnTo>
                  <a:pt x="442377" y="4076576"/>
                </a:lnTo>
                <a:cubicBezTo>
                  <a:pt x="67131" y="4076576"/>
                  <a:pt x="16934" y="4111045"/>
                  <a:pt x="16934" y="3735799"/>
                </a:cubicBezTo>
                <a:cubicBezTo>
                  <a:pt x="16934" y="2829903"/>
                  <a:pt x="0" y="1280540"/>
                  <a:pt x="0" y="374644"/>
                </a:cubicBezTo>
                <a:close/>
              </a:path>
            </a:pathLst>
          </a:custGeom>
          <a:solidFill>
            <a:srgbClr val="D2D2D2"/>
          </a:solidFill>
          <a:ln>
            <a:solidFill>
              <a:srgbClr val="D2D2D2"/>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r>
              <a:rPr lang="en-US" altLang="zh-CN" sz="2400" dirty="0">
                <a:gradFill>
                  <a:gsLst>
                    <a:gs pos="0">
                      <a:srgbClr val="FFFFFF"/>
                    </a:gs>
                    <a:gs pos="100000">
                      <a:srgbClr val="FFFFFF"/>
                    </a:gs>
                  </a:gsLst>
                  <a:lin ang="5400000" scaled="0"/>
                </a:gradFill>
                <a:cs typeface="+mn-ea"/>
                <a:sym typeface="+mn-lt"/>
              </a:rPr>
              <a:t>·     </a:t>
            </a:r>
            <a:endParaRPr lang="zh-CN" altLang="en-US" sz="2400" dirty="0" err="1">
              <a:gradFill>
                <a:gsLst>
                  <a:gs pos="0">
                    <a:srgbClr val="FFFFFF"/>
                  </a:gs>
                  <a:gs pos="100000">
                    <a:srgbClr val="FFFFFF"/>
                  </a:gs>
                </a:gsLst>
                <a:lin ang="5400000" scaled="0"/>
              </a:gradFill>
              <a:cs typeface="+mn-ea"/>
              <a:sym typeface="+mn-lt"/>
            </a:endParaRPr>
          </a:p>
        </p:txBody>
      </p:sp>
      <p:sp>
        <p:nvSpPr>
          <p:cNvPr id="106" name="圆角矩形 105"/>
          <p:cNvSpPr/>
          <p:nvPr/>
        </p:nvSpPr>
        <p:spPr bwMode="auto">
          <a:xfrm>
            <a:off x="5669602" y="1940"/>
            <a:ext cx="4836645" cy="1547614"/>
          </a:xfrm>
          <a:prstGeom prst="roundRect">
            <a:avLst/>
          </a:prstGeom>
          <a:solidFill>
            <a:srgbClr val="CFD4D5"/>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cxnSp>
        <p:nvCxnSpPr>
          <p:cNvPr id="4" name="直接连接符 3"/>
          <p:cNvCxnSpPr/>
          <p:nvPr/>
        </p:nvCxnSpPr>
        <p:spPr>
          <a:xfrm>
            <a:off x="366141" y="1759921"/>
            <a:ext cx="11771768" cy="0"/>
          </a:xfrm>
          <a:prstGeom prst="line">
            <a:avLst/>
          </a:prstGeom>
          <a:ln w="571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a:off x="1829165" y="1759921"/>
            <a:ext cx="0" cy="1327244"/>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云形 33"/>
          <p:cNvSpPr/>
          <p:nvPr/>
        </p:nvSpPr>
        <p:spPr bwMode="auto">
          <a:xfrm>
            <a:off x="4065961" y="2206533"/>
            <a:ext cx="1383882" cy="467577"/>
          </a:xfrm>
          <a:prstGeom prst="cloud">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35" name="云形 34"/>
          <p:cNvSpPr/>
          <p:nvPr/>
        </p:nvSpPr>
        <p:spPr bwMode="auto">
          <a:xfrm>
            <a:off x="8885376" y="2214373"/>
            <a:ext cx="1383882" cy="467577"/>
          </a:xfrm>
          <a:prstGeom prst="cloud">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36" name="云形 35"/>
          <p:cNvSpPr/>
          <p:nvPr/>
        </p:nvSpPr>
        <p:spPr bwMode="auto">
          <a:xfrm>
            <a:off x="10506248" y="2189755"/>
            <a:ext cx="1383882" cy="467577"/>
          </a:xfrm>
          <a:prstGeom prst="cloud">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cxnSp>
        <p:nvCxnSpPr>
          <p:cNvPr id="38" name="直接连接符 37"/>
          <p:cNvCxnSpPr>
            <a:endCxn id="34" idx="3"/>
          </p:cNvCxnSpPr>
          <p:nvPr/>
        </p:nvCxnSpPr>
        <p:spPr>
          <a:xfrm>
            <a:off x="4757902" y="1766793"/>
            <a:ext cx="0" cy="466474"/>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直接连接符 39"/>
          <p:cNvCxnSpPr>
            <a:stCxn id="34" idx="1"/>
          </p:cNvCxnSpPr>
          <p:nvPr/>
        </p:nvCxnSpPr>
        <p:spPr>
          <a:xfrm>
            <a:off x="4757902" y="2673612"/>
            <a:ext cx="0" cy="55265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5" name="Picture 9" descr="C:\Users\Daniel\Desktop\图标-PNG\系统级-传输&amp;配件-PNG\工业光口汇聚交换机.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51" t="28574" r="6289" b="27441"/>
          <a:stretch>
            <a:fillRect/>
          </a:stretch>
        </p:blipFill>
        <p:spPr bwMode="auto">
          <a:xfrm>
            <a:off x="4219163" y="3229308"/>
            <a:ext cx="1077477" cy="531552"/>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https://www.dahuasecurity.com/asset/upload/uploads/image/20190527/ASI7214Y-Image_thum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0750" y="6113005"/>
            <a:ext cx="873842" cy="873842"/>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https://www.dahuasecurity.com/asset/upload/product/20180704/IPC-HFW8242E-Z4FD-IRA-LED2_thum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3710" y="4245433"/>
            <a:ext cx="1000206" cy="100020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https://www.dahuasecurity.com/asset/upload/product/20180704/IPC-HFW8242E-Z4FD-IRA-LED2_thumb.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5606" y="5080154"/>
            <a:ext cx="1000206" cy="1000206"/>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https://www.dahuasecurity.com/asset/upload/product/20180330/DH-IPC-HDW8341X-3D_Image_thum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8349" y="4745536"/>
            <a:ext cx="1056144" cy="1056144"/>
          </a:xfrm>
          <a:prstGeom prst="rect">
            <a:avLst/>
          </a:prstGeom>
          <a:noFill/>
          <a:extLst>
            <a:ext uri="{909E8E84-426E-40DD-AFC4-6F175D3DCCD1}">
              <a14:hiddenFill xmlns:a14="http://schemas.microsoft.com/office/drawing/2010/main">
                <a:solidFill>
                  <a:srgbClr val="FFFFFF"/>
                </a:solidFill>
              </a14:hiddenFill>
            </a:ext>
          </a:extLst>
        </p:spPr>
      </p:pic>
      <p:pic>
        <p:nvPicPr>
          <p:cNvPr id="10250" name="Picture 10" descr="https://www.dahuasecurity.com/asset/upload/product/20180118/SD12203T-GN_thumb.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1115" y="4844307"/>
            <a:ext cx="919121" cy="919121"/>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descr="https://www.dahuasecurity.com/asset/upload/product/20180731/6_DH-IPC-HDBW4231F-E2-M-M12_Image_thumb.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42906" y="4919816"/>
            <a:ext cx="759200" cy="759200"/>
          </a:xfrm>
          <a:prstGeom prst="rect">
            <a:avLst/>
          </a:prstGeom>
          <a:noFill/>
          <a:extLst>
            <a:ext uri="{909E8E84-426E-40DD-AFC4-6F175D3DCCD1}">
              <a14:hiddenFill xmlns:a14="http://schemas.microsoft.com/office/drawing/2010/main">
                <a:solidFill>
                  <a:srgbClr val="FFFFFF"/>
                </a:solidFill>
              </a14:hiddenFill>
            </a:ext>
          </a:extLst>
        </p:spPr>
      </p:pic>
      <p:pic>
        <p:nvPicPr>
          <p:cNvPr id="10254" name="Picture 14" descr="https://www.dahuasecurity.com/asset/upload/product/20180703/MPT200_thum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44386" y="4987383"/>
            <a:ext cx="632540" cy="632540"/>
          </a:xfrm>
          <a:prstGeom prst="rect">
            <a:avLst/>
          </a:prstGeom>
          <a:noFill/>
          <a:extLst>
            <a:ext uri="{909E8E84-426E-40DD-AFC4-6F175D3DCCD1}">
              <a14:hiddenFill xmlns:a14="http://schemas.microsoft.com/office/drawing/2010/main">
                <a:solidFill>
                  <a:srgbClr val="FFFFFF"/>
                </a:solidFill>
              </a14:hiddenFill>
            </a:ext>
          </a:extLst>
        </p:spPr>
      </p:pic>
      <p:pic>
        <p:nvPicPr>
          <p:cNvPr id="10256" name="Picture 16" descr="https://www.dahuasecurity.com/asset/upload/upfiles/IPC-EBW81230_thum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49973" y="4788761"/>
            <a:ext cx="1030215" cy="1030215"/>
          </a:xfrm>
          <a:prstGeom prst="rect">
            <a:avLst/>
          </a:prstGeom>
          <a:noFill/>
          <a:extLst>
            <a:ext uri="{909E8E84-426E-40DD-AFC4-6F175D3DCCD1}">
              <a14:hiddenFill xmlns:a14="http://schemas.microsoft.com/office/drawing/2010/main">
                <a:solidFill>
                  <a:srgbClr val="FFFFFF"/>
                </a:solidFill>
              </a14:hiddenFill>
            </a:ext>
          </a:extLst>
        </p:spPr>
      </p:pic>
      <p:pic>
        <p:nvPicPr>
          <p:cNvPr id="10258" name="Picture 18" descr="https://www.dahuasecurity.com/asset/upload/upfiles/PSD81602-A360_thumb.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66745" y="6187606"/>
            <a:ext cx="844786" cy="844786"/>
          </a:xfrm>
          <a:prstGeom prst="rect">
            <a:avLst/>
          </a:prstGeom>
          <a:noFill/>
          <a:extLst>
            <a:ext uri="{909E8E84-426E-40DD-AFC4-6F175D3DCCD1}">
              <a14:hiddenFill xmlns:a14="http://schemas.microsoft.com/office/drawing/2010/main">
                <a:solidFill>
                  <a:srgbClr val="FFFFFF"/>
                </a:solidFill>
              </a14:hiddenFill>
            </a:ext>
          </a:extLst>
        </p:spPr>
      </p:pic>
      <p:pic>
        <p:nvPicPr>
          <p:cNvPr id="10260" name="Picture 20" descr="https://www.dahuasecurity.com/asset/upload/product/20180320/DH-IPC-PFW8802-A180_thumb.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83603" y="6213909"/>
            <a:ext cx="795743" cy="795743"/>
          </a:xfrm>
          <a:prstGeom prst="rect">
            <a:avLst/>
          </a:prstGeom>
          <a:noFill/>
          <a:extLst>
            <a:ext uri="{909E8E84-426E-40DD-AFC4-6F175D3DCCD1}">
              <a14:hiddenFill xmlns:a14="http://schemas.microsoft.com/office/drawing/2010/main">
                <a:solidFill>
                  <a:srgbClr val="FFFFFF"/>
                </a:solidFill>
              </a14:hiddenFill>
            </a:ext>
          </a:extLst>
        </p:spPr>
      </p:pic>
      <p:pic>
        <p:nvPicPr>
          <p:cNvPr id="10262" name="Picture 22" descr="https://www.dahuasecurity.com/asset/upload/uploads/image/20190327/ITC215-PW4I-IRLZF27135(Pole-Mount)1_thumb.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671225" y="6187606"/>
            <a:ext cx="759200" cy="759200"/>
          </a:xfrm>
          <a:prstGeom prst="rect">
            <a:avLst/>
          </a:prstGeom>
          <a:noFill/>
          <a:extLst>
            <a:ext uri="{909E8E84-426E-40DD-AFC4-6F175D3DCCD1}">
              <a14:hiddenFill xmlns:a14="http://schemas.microsoft.com/office/drawing/2010/main">
                <a:solidFill>
                  <a:srgbClr val="FFFFFF"/>
                </a:solidFill>
              </a14:hiddenFill>
            </a:ext>
          </a:extLst>
        </p:spPr>
      </p:pic>
      <p:pic>
        <p:nvPicPr>
          <p:cNvPr id="10264" name="Picture 24" descr="https://www.dahuasecurity.com/asset/upload/upfiles/IPC-HDBW4431E-ASE_thumb.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27241" y="6196812"/>
            <a:ext cx="795743" cy="795743"/>
          </a:xfrm>
          <a:prstGeom prst="rect">
            <a:avLst/>
          </a:prstGeom>
          <a:noFill/>
          <a:extLst>
            <a:ext uri="{909E8E84-426E-40DD-AFC4-6F175D3DCCD1}">
              <a14:hiddenFill xmlns:a14="http://schemas.microsoft.com/office/drawing/2010/main">
                <a:solidFill>
                  <a:srgbClr val="FFFFFF"/>
                </a:solidFill>
              </a14:hiddenFill>
            </a:ext>
          </a:extLst>
        </p:spPr>
      </p:pic>
      <p:pic>
        <p:nvPicPr>
          <p:cNvPr id="83" name="图片 8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95412" y="4013954"/>
            <a:ext cx="626701" cy="379518"/>
          </a:xfrm>
          <a:prstGeom prst="rect">
            <a:avLst/>
          </a:prstGeom>
        </p:spPr>
      </p:pic>
      <p:pic>
        <p:nvPicPr>
          <p:cNvPr id="84" name="Picture 16" descr="https://www.dahuasecurity.com/asset/upload/upfiles/IPC-EBW81230_thumb.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69474" y="3191225"/>
            <a:ext cx="805553" cy="805553"/>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9" descr="C:\Users\Daniel\Desktop\图标-PNG\系统级-传输&amp;配件-PNG\工业光口汇聚交换机.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51" t="28574" r="6289" b="27441"/>
          <a:stretch>
            <a:fillRect/>
          </a:stretch>
        </p:blipFill>
        <p:spPr bwMode="auto">
          <a:xfrm>
            <a:off x="7928094" y="1154372"/>
            <a:ext cx="685082" cy="337972"/>
          </a:xfrm>
          <a:prstGeom prst="rect">
            <a:avLst/>
          </a:prstGeom>
          <a:noFill/>
          <a:extLst>
            <a:ext uri="{909E8E84-426E-40DD-AFC4-6F175D3DCCD1}">
              <a14:hiddenFill xmlns:a14="http://schemas.microsoft.com/office/drawing/2010/main">
                <a:solidFill>
                  <a:srgbClr val="FFFFFF"/>
                </a:solidFill>
              </a14:hiddenFill>
            </a:ext>
          </a:extLst>
        </p:spPr>
      </p:pic>
      <p:pic>
        <p:nvPicPr>
          <p:cNvPr id="10270" name="Picture 30" descr="https://www.dahuasecurity.com/asset/upload/product/20180921/DSS4004S2_thumb.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85396" y="700958"/>
            <a:ext cx="859308" cy="859308"/>
          </a:xfrm>
          <a:prstGeom prst="rect">
            <a:avLst/>
          </a:prstGeom>
          <a:ln w="6350">
            <a:noFill/>
            <a:headEnd type="none"/>
            <a:tailEnd type="none"/>
          </a:ln>
          <a:extLst>
            <a:ext uri="{909E8E84-426E-40DD-AFC4-6F175D3DCCD1}">
              <a14:hiddenFill xmlns:a14="http://schemas.microsoft.com/office/drawing/2010/main">
                <a:solidFill>
                  <a:srgbClr val="FFFFFF"/>
                </a:solidFill>
              </a14:hiddenFill>
            </a:ext>
          </a:extLst>
        </p:spPr>
      </p:pic>
      <p:sp>
        <p:nvSpPr>
          <p:cNvPr id="71" name="AutoShape 32" descr="https://dahuasecurity.s3-ap-southeast-1.amazonaws.com/uploads/image/20190703/DSS-Express-1_thumb.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zh-CN" altLang="en-US">
              <a:cs typeface="+mn-ea"/>
              <a:sym typeface="+mn-lt"/>
            </a:endParaRPr>
          </a:p>
        </p:txBody>
      </p:sp>
      <p:pic>
        <p:nvPicPr>
          <p:cNvPr id="73" name="图片 72"/>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67047" y="878291"/>
            <a:ext cx="291527" cy="291527"/>
          </a:xfrm>
          <a:prstGeom prst="rect">
            <a:avLst/>
          </a:prstGeom>
        </p:spPr>
      </p:pic>
      <p:pic>
        <p:nvPicPr>
          <p:cNvPr id="10274" name="Picture 34" descr="https://www.dahuasecurity.com/asset/upload/uploads/image/20190520/Video-Wall3_thumb.pn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984608" y="-66095"/>
            <a:ext cx="572054" cy="572054"/>
          </a:xfrm>
          <a:prstGeom prst="rect">
            <a:avLst/>
          </a:prstGeom>
          <a:noFill/>
          <a:extLst>
            <a:ext uri="{909E8E84-426E-40DD-AFC4-6F175D3DCCD1}">
              <a14:hiddenFill xmlns:a14="http://schemas.microsoft.com/office/drawing/2010/main">
                <a:solidFill>
                  <a:srgbClr val="FFFFFF"/>
                </a:solidFill>
              </a14:hiddenFill>
            </a:ext>
          </a:extLst>
        </p:spPr>
      </p:pic>
      <p:pic>
        <p:nvPicPr>
          <p:cNvPr id="10276" name="Picture 36" descr="https://www.dahuasecurity.com/asset/upload/upfiles/M60-7U_thumb.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65821" y="425299"/>
            <a:ext cx="776793" cy="776793"/>
          </a:xfrm>
          <a:prstGeom prst="rect">
            <a:avLst/>
          </a:prstGeom>
          <a:noFill/>
          <a:extLst>
            <a:ext uri="{909E8E84-426E-40DD-AFC4-6F175D3DCCD1}">
              <a14:hiddenFill xmlns:a14="http://schemas.microsoft.com/office/drawing/2010/main">
                <a:solidFill>
                  <a:srgbClr val="FFFFFF"/>
                </a:solidFill>
              </a14:hiddenFill>
            </a:ext>
          </a:extLst>
        </p:spPr>
      </p:pic>
      <p:pic>
        <p:nvPicPr>
          <p:cNvPr id="10278" name="Picture 38" descr="https://www.dahuasecurity.com/asset/upload/upfiles/EVS5036S-R_thumb.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flipH="1">
            <a:off x="6790298" y="543904"/>
            <a:ext cx="722793" cy="722793"/>
          </a:xfrm>
          <a:prstGeom prst="rect">
            <a:avLst/>
          </a:prstGeom>
          <a:noFill/>
          <a:extLst>
            <a:ext uri="{909E8E84-426E-40DD-AFC4-6F175D3DCCD1}">
              <a14:hiddenFill xmlns:a14="http://schemas.microsoft.com/office/drawing/2010/main">
                <a:solidFill>
                  <a:srgbClr val="FFFFFF"/>
                </a:solidFill>
              </a14:hiddenFill>
            </a:ext>
          </a:extLst>
        </p:spPr>
      </p:pic>
      <p:cxnSp>
        <p:nvCxnSpPr>
          <p:cNvPr id="80" name="直接连接符 79"/>
          <p:cNvCxnSpPr/>
          <p:nvPr/>
        </p:nvCxnSpPr>
        <p:spPr>
          <a:xfrm>
            <a:off x="11198189" y="1757385"/>
            <a:ext cx="0" cy="132978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直接连接符 86"/>
          <p:cNvCxnSpPr>
            <a:endCxn id="35" idx="3"/>
          </p:cNvCxnSpPr>
          <p:nvPr/>
        </p:nvCxnSpPr>
        <p:spPr>
          <a:xfrm>
            <a:off x="9577317" y="1768388"/>
            <a:ext cx="0" cy="472719"/>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肘形连接符 90"/>
          <p:cNvCxnSpPr>
            <a:stCxn id="65" idx="2"/>
            <a:endCxn id="107" idx="1"/>
          </p:cNvCxnSpPr>
          <p:nvPr/>
        </p:nvCxnSpPr>
        <p:spPr>
          <a:xfrm rot="16200000" flipH="1">
            <a:off x="5030172" y="3488590"/>
            <a:ext cx="414578" cy="959118"/>
          </a:xfrm>
          <a:prstGeom prst="bentConnector2">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4757902" y="4182790"/>
            <a:ext cx="0" cy="1783325"/>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H="1">
            <a:off x="2926433" y="4844307"/>
            <a:ext cx="1831469"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直接连接符 117"/>
          <p:cNvCxnSpPr>
            <a:stCxn id="35" idx="1"/>
            <a:endCxn id="10254" idx="0"/>
          </p:cNvCxnSpPr>
          <p:nvPr/>
        </p:nvCxnSpPr>
        <p:spPr>
          <a:xfrm flipH="1">
            <a:off x="9560656" y="2681452"/>
            <a:ext cx="16661" cy="2305931"/>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9" name="圆角矩形 118"/>
          <p:cNvSpPr/>
          <p:nvPr/>
        </p:nvSpPr>
        <p:spPr bwMode="auto">
          <a:xfrm>
            <a:off x="10415091" y="3122762"/>
            <a:ext cx="1616023" cy="3824044"/>
          </a:xfrm>
          <a:custGeom>
            <a:avLst/>
            <a:gdLst>
              <a:gd name="connsiteX0" fmla="*/ 0 w 1590623"/>
              <a:gd name="connsiteY0" fmla="*/ 265109 h 3859641"/>
              <a:gd name="connsiteX1" fmla="*/ 265109 w 1590623"/>
              <a:gd name="connsiteY1" fmla="*/ 0 h 3859641"/>
              <a:gd name="connsiteX2" fmla="*/ 1325514 w 1590623"/>
              <a:gd name="connsiteY2" fmla="*/ 0 h 3859641"/>
              <a:gd name="connsiteX3" fmla="*/ 1590623 w 1590623"/>
              <a:gd name="connsiteY3" fmla="*/ 265109 h 3859641"/>
              <a:gd name="connsiteX4" fmla="*/ 1590623 w 1590623"/>
              <a:gd name="connsiteY4" fmla="*/ 3594532 h 3859641"/>
              <a:gd name="connsiteX5" fmla="*/ 1325514 w 1590623"/>
              <a:gd name="connsiteY5" fmla="*/ 3859641 h 3859641"/>
              <a:gd name="connsiteX6" fmla="*/ 265109 w 1590623"/>
              <a:gd name="connsiteY6" fmla="*/ 3859641 h 3859641"/>
              <a:gd name="connsiteX7" fmla="*/ 0 w 1590623"/>
              <a:gd name="connsiteY7" fmla="*/ 3594532 h 3859641"/>
              <a:gd name="connsiteX8" fmla="*/ 0 w 1590623"/>
              <a:gd name="connsiteY8" fmla="*/ 265109 h 3859641"/>
              <a:gd name="connsiteX0-1" fmla="*/ 0 w 1590623"/>
              <a:gd name="connsiteY0-2" fmla="*/ 265109 h 3859641"/>
              <a:gd name="connsiteX1-3" fmla="*/ 146576 w 1590623"/>
              <a:gd name="connsiteY1-4" fmla="*/ 0 h 3859641"/>
              <a:gd name="connsiteX2-5" fmla="*/ 1325514 w 1590623"/>
              <a:gd name="connsiteY2-6" fmla="*/ 0 h 3859641"/>
              <a:gd name="connsiteX3-7" fmla="*/ 1590623 w 1590623"/>
              <a:gd name="connsiteY3-8" fmla="*/ 265109 h 3859641"/>
              <a:gd name="connsiteX4-9" fmla="*/ 1590623 w 1590623"/>
              <a:gd name="connsiteY4-10" fmla="*/ 3594532 h 3859641"/>
              <a:gd name="connsiteX5-11" fmla="*/ 1325514 w 1590623"/>
              <a:gd name="connsiteY5-12" fmla="*/ 3859641 h 3859641"/>
              <a:gd name="connsiteX6-13" fmla="*/ 265109 w 1590623"/>
              <a:gd name="connsiteY6-14" fmla="*/ 3859641 h 3859641"/>
              <a:gd name="connsiteX7-15" fmla="*/ 0 w 1590623"/>
              <a:gd name="connsiteY7-16" fmla="*/ 3594532 h 3859641"/>
              <a:gd name="connsiteX8-17" fmla="*/ 0 w 1590623"/>
              <a:gd name="connsiteY8-18" fmla="*/ 265109 h 3859641"/>
              <a:gd name="connsiteX0-19" fmla="*/ 0 w 1590623"/>
              <a:gd name="connsiteY0-20" fmla="*/ 188909 h 3859641"/>
              <a:gd name="connsiteX1-21" fmla="*/ 146576 w 1590623"/>
              <a:gd name="connsiteY1-22" fmla="*/ 0 h 3859641"/>
              <a:gd name="connsiteX2-23" fmla="*/ 1325514 w 1590623"/>
              <a:gd name="connsiteY2-24" fmla="*/ 0 h 3859641"/>
              <a:gd name="connsiteX3-25" fmla="*/ 1590623 w 1590623"/>
              <a:gd name="connsiteY3-26" fmla="*/ 265109 h 3859641"/>
              <a:gd name="connsiteX4-27" fmla="*/ 1590623 w 1590623"/>
              <a:gd name="connsiteY4-28" fmla="*/ 3594532 h 3859641"/>
              <a:gd name="connsiteX5-29" fmla="*/ 1325514 w 1590623"/>
              <a:gd name="connsiteY5-30" fmla="*/ 3859641 h 3859641"/>
              <a:gd name="connsiteX6-31" fmla="*/ 265109 w 1590623"/>
              <a:gd name="connsiteY6-32" fmla="*/ 3859641 h 3859641"/>
              <a:gd name="connsiteX7-33" fmla="*/ 0 w 1590623"/>
              <a:gd name="connsiteY7-34" fmla="*/ 3594532 h 3859641"/>
              <a:gd name="connsiteX8-35" fmla="*/ 0 w 1590623"/>
              <a:gd name="connsiteY8-36" fmla="*/ 188909 h 3859641"/>
              <a:gd name="connsiteX0-37" fmla="*/ 0 w 1590623"/>
              <a:gd name="connsiteY0-38" fmla="*/ 188909 h 3859641"/>
              <a:gd name="connsiteX1-39" fmla="*/ 146576 w 1590623"/>
              <a:gd name="connsiteY1-40" fmla="*/ 0 h 3859641"/>
              <a:gd name="connsiteX2-41" fmla="*/ 1325514 w 1590623"/>
              <a:gd name="connsiteY2-42" fmla="*/ 0 h 3859641"/>
              <a:gd name="connsiteX3-43" fmla="*/ 1590623 w 1590623"/>
              <a:gd name="connsiteY3-44" fmla="*/ 265109 h 3859641"/>
              <a:gd name="connsiteX4-45" fmla="*/ 1590623 w 1590623"/>
              <a:gd name="connsiteY4-46" fmla="*/ 3594532 h 3859641"/>
              <a:gd name="connsiteX5-47" fmla="*/ 1325514 w 1590623"/>
              <a:gd name="connsiteY5-48" fmla="*/ 3859641 h 3859641"/>
              <a:gd name="connsiteX6-49" fmla="*/ 265109 w 1590623"/>
              <a:gd name="connsiteY6-50" fmla="*/ 3859641 h 3859641"/>
              <a:gd name="connsiteX7-51" fmla="*/ 0 w 1590623"/>
              <a:gd name="connsiteY7-52" fmla="*/ 3704599 h 3859641"/>
              <a:gd name="connsiteX8-53" fmla="*/ 0 w 1590623"/>
              <a:gd name="connsiteY8-54" fmla="*/ 188909 h 3859641"/>
              <a:gd name="connsiteX0-55" fmla="*/ 0 w 1590709"/>
              <a:gd name="connsiteY0-56" fmla="*/ 188909 h 3859641"/>
              <a:gd name="connsiteX1-57" fmla="*/ 146576 w 1590709"/>
              <a:gd name="connsiteY1-58" fmla="*/ 0 h 3859641"/>
              <a:gd name="connsiteX2-59" fmla="*/ 1325514 w 1590709"/>
              <a:gd name="connsiteY2-60" fmla="*/ 0 h 3859641"/>
              <a:gd name="connsiteX3-61" fmla="*/ 1590623 w 1590709"/>
              <a:gd name="connsiteY3-62" fmla="*/ 265109 h 3859641"/>
              <a:gd name="connsiteX4-63" fmla="*/ 1590623 w 1590709"/>
              <a:gd name="connsiteY4-64" fmla="*/ 3594532 h 3859641"/>
              <a:gd name="connsiteX5-65" fmla="*/ 1452514 w 1590709"/>
              <a:gd name="connsiteY5-66" fmla="*/ 3859641 h 3859641"/>
              <a:gd name="connsiteX6-67" fmla="*/ 265109 w 1590709"/>
              <a:gd name="connsiteY6-68" fmla="*/ 3859641 h 3859641"/>
              <a:gd name="connsiteX7-69" fmla="*/ 0 w 1590709"/>
              <a:gd name="connsiteY7-70" fmla="*/ 3704599 h 3859641"/>
              <a:gd name="connsiteX8-71" fmla="*/ 0 w 1590709"/>
              <a:gd name="connsiteY8-72" fmla="*/ 188909 h 3859641"/>
              <a:gd name="connsiteX0-73" fmla="*/ 0 w 1590709"/>
              <a:gd name="connsiteY0-74" fmla="*/ 188909 h 3868107"/>
              <a:gd name="connsiteX1-75" fmla="*/ 146576 w 1590709"/>
              <a:gd name="connsiteY1-76" fmla="*/ 0 h 3868107"/>
              <a:gd name="connsiteX2-77" fmla="*/ 1325514 w 1590709"/>
              <a:gd name="connsiteY2-78" fmla="*/ 0 h 3868107"/>
              <a:gd name="connsiteX3-79" fmla="*/ 1590623 w 1590709"/>
              <a:gd name="connsiteY3-80" fmla="*/ 265109 h 3868107"/>
              <a:gd name="connsiteX4-81" fmla="*/ 1590623 w 1590709"/>
              <a:gd name="connsiteY4-82" fmla="*/ 3594532 h 3868107"/>
              <a:gd name="connsiteX5-83" fmla="*/ 1452514 w 1590709"/>
              <a:gd name="connsiteY5-84" fmla="*/ 3859641 h 3868107"/>
              <a:gd name="connsiteX6-85" fmla="*/ 146575 w 1590709"/>
              <a:gd name="connsiteY6-86" fmla="*/ 3868107 h 3868107"/>
              <a:gd name="connsiteX7-87" fmla="*/ 0 w 1590709"/>
              <a:gd name="connsiteY7-88" fmla="*/ 3704599 h 3868107"/>
              <a:gd name="connsiteX8-89" fmla="*/ 0 w 1590709"/>
              <a:gd name="connsiteY8-90" fmla="*/ 188909 h 3868107"/>
              <a:gd name="connsiteX0-91" fmla="*/ 0 w 1590709"/>
              <a:gd name="connsiteY0-92" fmla="*/ 188909 h 3868107"/>
              <a:gd name="connsiteX1-93" fmla="*/ 146576 w 1590709"/>
              <a:gd name="connsiteY1-94" fmla="*/ 0 h 3868107"/>
              <a:gd name="connsiteX2-95" fmla="*/ 1325514 w 1590709"/>
              <a:gd name="connsiteY2-96" fmla="*/ 0 h 3868107"/>
              <a:gd name="connsiteX3-97" fmla="*/ 1590623 w 1590709"/>
              <a:gd name="connsiteY3-98" fmla="*/ 265109 h 3868107"/>
              <a:gd name="connsiteX4-99" fmla="*/ 1590623 w 1590709"/>
              <a:gd name="connsiteY4-100" fmla="*/ 3746932 h 3868107"/>
              <a:gd name="connsiteX5-101" fmla="*/ 1452514 w 1590709"/>
              <a:gd name="connsiteY5-102" fmla="*/ 3859641 h 3868107"/>
              <a:gd name="connsiteX6-103" fmla="*/ 146575 w 1590709"/>
              <a:gd name="connsiteY6-104" fmla="*/ 3868107 h 3868107"/>
              <a:gd name="connsiteX7-105" fmla="*/ 0 w 1590709"/>
              <a:gd name="connsiteY7-106" fmla="*/ 3704599 h 3868107"/>
              <a:gd name="connsiteX8-107" fmla="*/ 0 w 1590709"/>
              <a:gd name="connsiteY8-108" fmla="*/ 188909 h 3868107"/>
              <a:gd name="connsiteX0-109" fmla="*/ 0 w 1616023"/>
              <a:gd name="connsiteY0-110" fmla="*/ 188909 h 3868107"/>
              <a:gd name="connsiteX1-111" fmla="*/ 146576 w 1616023"/>
              <a:gd name="connsiteY1-112" fmla="*/ 0 h 3868107"/>
              <a:gd name="connsiteX2-113" fmla="*/ 1325514 w 1616023"/>
              <a:gd name="connsiteY2-114" fmla="*/ 0 h 3868107"/>
              <a:gd name="connsiteX3-115" fmla="*/ 1616023 w 1616023"/>
              <a:gd name="connsiteY3-116" fmla="*/ 146576 h 3868107"/>
              <a:gd name="connsiteX4-117" fmla="*/ 1590623 w 1616023"/>
              <a:gd name="connsiteY4-118" fmla="*/ 3746932 h 3868107"/>
              <a:gd name="connsiteX5-119" fmla="*/ 1452514 w 1616023"/>
              <a:gd name="connsiteY5-120" fmla="*/ 3859641 h 3868107"/>
              <a:gd name="connsiteX6-121" fmla="*/ 146575 w 1616023"/>
              <a:gd name="connsiteY6-122" fmla="*/ 3868107 h 3868107"/>
              <a:gd name="connsiteX7-123" fmla="*/ 0 w 1616023"/>
              <a:gd name="connsiteY7-124" fmla="*/ 3704599 h 3868107"/>
              <a:gd name="connsiteX8-125" fmla="*/ 0 w 1616023"/>
              <a:gd name="connsiteY8-126" fmla="*/ 188909 h 3868107"/>
              <a:gd name="connsiteX0-127" fmla="*/ 0 w 1616023"/>
              <a:gd name="connsiteY0-128" fmla="*/ 197376 h 3876574"/>
              <a:gd name="connsiteX1-129" fmla="*/ 146576 w 1616023"/>
              <a:gd name="connsiteY1-130" fmla="*/ 8467 h 3876574"/>
              <a:gd name="connsiteX2-131" fmla="*/ 1418648 w 1616023"/>
              <a:gd name="connsiteY2-132" fmla="*/ 0 h 3876574"/>
              <a:gd name="connsiteX3-133" fmla="*/ 1616023 w 1616023"/>
              <a:gd name="connsiteY3-134" fmla="*/ 155043 h 3876574"/>
              <a:gd name="connsiteX4-135" fmla="*/ 1590623 w 1616023"/>
              <a:gd name="connsiteY4-136" fmla="*/ 3755399 h 3876574"/>
              <a:gd name="connsiteX5-137" fmla="*/ 1452514 w 1616023"/>
              <a:gd name="connsiteY5-138" fmla="*/ 3868108 h 3876574"/>
              <a:gd name="connsiteX6-139" fmla="*/ 146575 w 1616023"/>
              <a:gd name="connsiteY6-140" fmla="*/ 3876574 h 3876574"/>
              <a:gd name="connsiteX7-141" fmla="*/ 0 w 1616023"/>
              <a:gd name="connsiteY7-142" fmla="*/ 3713066 h 3876574"/>
              <a:gd name="connsiteX8-143" fmla="*/ 0 w 1616023"/>
              <a:gd name="connsiteY8-144" fmla="*/ 197376 h 387657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Lst>
            <a:rect l="l" t="t" r="r" b="b"/>
            <a:pathLst>
              <a:path w="1616023" h="3876574">
                <a:moveTo>
                  <a:pt x="0" y="197376"/>
                </a:moveTo>
                <a:cubicBezTo>
                  <a:pt x="0" y="50960"/>
                  <a:pt x="160" y="8467"/>
                  <a:pt x="146576" y="8467"/>
                </a:cubicBezTo>
                <a:lnTo>
                  <a:pt x="1418648" y="0"/>
                </a:lnTo>
                <a:cubicBezTo>
                  <a:pt x="1565064" y="0"/>
                  <a:pt x="1616023" y="8627"/>
                  <a:pt x="1616023" y="155043"/>
                </a:cubicBezTo>
                <a:lnTo>
                  <a:pt x="1590623" y="3755399"/>
                </a:lnTo>
                <a:cubicBezTo>
                  <a:pt x="1590623" y="3901815"/>
                  <a:pt x="1598930" y="3868108"/>
                  <a:pt x="1452514" y="3868108"/>
                </a:cubicBezTo>
                <a:lnTo>
                  <a:pt x="146575" y="3876574"/>
                </a:lnTo>
                <a:cubicBezTo>
                  <a:pt x="159" y="3876574"/>
                  <a:pt x="0" y="3859482"/>
                  <a:pt x="0" y="3713066"/>
                </a:cubicBezTo>
                <a:lnTo>
                  <a:pt x="0" y="197376"/>
                </a:lnTo>
                <a:close/>
              </a:path>
            </a:pathLst>
          </a:custGeom>
          <a:solidFill>
            <a:srgbClr val="D2D2D2"/>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cxnSp>
        <p:nvCxnSpPr>
          <p:cNvPr id="127" name="直接连接符 126"/>
          <p:cNvCxnSpPr>
            <a:endCxn id="88" idx="2"/>
          </p:cNvCxnSpPr>
          <p:nvPr/>
        </p:nvCxnSpPr>
        <p:spPr>
          <a:xfrm flipV="1">
            <a:off x="8270635" y="1492344"/>
            <a:ext cx="0" cy="26504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53" name="直接连接符 10252"/>
          <p:cNvCxnSpPr/>
          <p:nvPr/>
        </p:nvCxnSpPr>
        <p:spPr>
          <a:xfrm>
            <a:off x="6192950" y="1394165"/>
            <a:ext cx="1735144" cy="0"/>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81" name="直接连接符 10280"/>
          <p:cNvCxnSpPr>
            <a:stCxn id="10276" idx="2"/>
          </p:cNvCxnSpPr>
          <p:nvPr/>
        </p:nvCxnSpPr>
        <p:spPr>
          <a:xfrm flipH="1" flipV="1">
            <a:off x="8254217" y="1004112"/>
            <a:ext cx="1" cy="197980"/>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93" name="直接连接符 10292"/>
          <p:cNvCxnSpPr/>
          <p:nvPr/>
        </p:nvCxnSpPr>
        <p:spPr>
          <a:xfrm>
            <a:off x="8277803" y="400792"/>
            <a:ext cx="0" cy="210334"/>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97" name="直接连接符 10296"/>
          <p:cNvCxnSpPr/>
          <p:nvPr/>
        </p:nvCxnSpPr>
        <p:spPr>
          <a:xfrm flipV="1">
            <a:off x="6192950" y="1274268"/>
            <a:ext cx="0" cy="111973"/>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12" name="直接连接符 10311"/>
          <p:cNvCxnSpPr/>
          <p:nvPr/>
        </p:nvCxnSpPr>
        <p:spPr>
          <a:xfrm flipV="1">
            <a:off x="8642614" y="1386241"/>
            <a:ext cx="1036732" cy="7924"/>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14" name="直接连接符 10313"/>
          <p:cNvCxnSpPr/>
          <p:nvPr/>
        </p:nvCxnSpPr>
        <p:spPr>
          <a:xfrm>
            <a:off x="9679346" y="1251570"/>
            <a:ext cx="0" cy="128022"/>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18" name="直接连接符 10317"/>
          <p:cNvCxnSpPr/>
          <p:nvPr/>
        </p:nvCxnSpPr>
        <p:spPr>
          <a:xfrm>
            <a:off x="7147353" y="1018810"/>
            <a:ext cx="0" cy="367431"/>
          </a:xfrm>
          <a:prstGeom prst="line">
            <a:avLst/>
          </a:prstGeom>
          <a:ln w="635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29" name="直接连接符 10328"/>
          <p:cNvCxnSpPr/>
          <p:nvPr/>
        </p:nvCxnSpPr>
        <p:spPr>
          <a:xfrm>
            <a:off x="3903909" y="5966115"/>
            <a:ext cx="4373894" cy="0"/>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1" name="直接连接符 10330"/>
          <p:cNvCxnSpPr/>
          <p:nvPr/>
        </p:nvCxnSpPr>
        <p:spPr>
          <a:xfrm flipV="1">
            <a:off x="3903909" y="5966115"/>
            <a:ext cx="0" cy="210368"/>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33" name="直接连接符 10332"/>
          <p:cNvCxnSpPr/>
          <p:nvPr/>
        </p:nvCxnSpPr>
        <p:spPr>
          <a:xfrm flipV="1">
            <a:off x="8270635" y="5966115"/>
            <a:ext cx="0" cy="210368"/>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335" name="文本框 10334"/>
          <p:cNvSpPr txBox="1"/>
          <p:nvPr/>
        </p:nvSpPr>
        <p:spPr>
          <a:xfrm>
            <a:off x="4193993" y="2165890"/>
            <a:ext cx="1245068"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2000" b="1" dirty="0">
                <a:solidFill>
                  <a:schemeClr val="bg1"/>
                </a:solidFill>
                <a:cs typeface="+mn-ea"/>
                <a:sym typeface="+mn-lt"/>
              </a:rPr>
              <a:t>TCP/IP</a:t>
            </a:r>
            <a:endParaRPr lang="zh-CN" altLang="en-US" sz="2000" b="1" dirty="0" err="1">
              <a:solidFill>
                <a:schemeClr val="bg1"/>
              </a:solidFill>
              <a:cs typeface="+mn-ea"/>
              <a:sym typeface="+mn-lt"/>
            </a:endParaRPr>
          </a:p>
        </p:txBody>
      </p:sp>
      <p:sp>
        <p:nvSpPr>
          <p:cNvPr id="10336" name="文本框 10335"/>
          <p:cNvSpPr txBox="1"/>
          <p:nvPr/>
        </p:nvSpPr>
        <p:spPr>
          <a:xfrm>
            <a:off x="9113866" y="2102150"/>
            <a:ext cx="1063202" cy="738664"/>
          </a:xfrm>
          <a:prstGeom prst="rect">
            <a:avLst/>
          </a:prstGeom>
          <a:noFill/>
        </p:spPr>
        <p:txBody>
          <a:bodyPr wrap="square" lIns="182880" tIns="146304" rIns="182880" bIns="146304" rtlCol="0">
            <a:spAutoFit/>
          </a:bodyPr>
          <a:lstStyle/>
          <a:p>
            <a:pPr>
              <a:lnSpc>
                <a:spcPct val="90000"/>
              </a:lnSpc>
              <a:spcAft>
                <a:spcPts val="600"/>
              </a:spcAft>
            </a:pPr>
            <a:r>
              <a:rPr lang="en-US" altLang="zh-CN" sz="1600" b="1" dirty="0">
                <a:solidFill>
                  <a:schemeClr val="bg1"/>
                </a:solidFill>
                <a:cs typeface="+mn-ea"/>
                <a:sym typeface="+mn-lt"/>
              </a:rPr>
              <a:t>3G/4G/WIFI</a:t>
            </a:r>
            <a:endParaRPr lang="zh-CN" altLang="en-US" sz="1600" b="1" dirty="0" err="1">
              <a:solidFill>
                <a:schemeClr val="bg1"/>
              </a:solidFill>
              <a:cs typeface="+mn-ea"/>
              <a:sym typeface="+mn-lt"/>
            </a:endParaRPr>
          </a:p>
        </p:txBody>
      </p:sp>
      <p:sp>
        <p:nvSpPr>
          <p:cNvPr id="225" name="文本框 224"/>
          <p:cNvSpPr txBox="1"/>
          <p:nvPr/>
        </p:nvSpPr>
        <p:spPr>
          <a:xfrm>
            <a:off x="10624335" y="2120465"/>
            <a:ext cx="1245068"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2000" b="1" dirty="0">
                <a:solidFill>
                  <a:schemeClr val="bg1"/>
                </a:solidFill>
                <a:cs typeface="+mn-ea"/>
                <a:sym typeface="+mn-lt"/>
              </a:rPr>
              <a:t>TCP/IP</a:t>
            </a:r>
            <a:endParaRPr lang="zh-CN" altLang="en-US" sz="2000" b="1" dirty="0" err="1">
              <a:solidFill>
                <a:schemeClr val="bg1"/>
              </a:solidFill>
              <a:cs typeface="+mn-ea"/>
              <a:sym typeface="+mn-lt"/>
            </a:endParaRPr>
          </a:p>
        </p:txBody>
      </p:sp>
      <p:sp>
        <p:nvSpPr>
          <p:cNvPr id="10342" name="文本框 10341"/>
          <p:cNvSpPr txBox="1"/>
          <p:nvPr/>
        </p:nvSpPr>
        <p:spPr>
          <a:xfrm>
            <a:off x="10501362" y="4849696"/>
            <a:ext cx="1523415" cy="794064"/>
          </a:xfrm>
          <a:prstGeom prst="rect">
            <a:avLst/>
          </a:prstGeom>
          <a:noFill/>
        </p:spPr>
        <p:txBody>
          <a:bodyPr wrap="square" lIns="182880" tIns="146304" rIns="182880" bIns="146304" rtlCol="0">
            <a:spAutoFit/>
          </a:bodyPr>
          <a:lstStyle/>
          <a:p>
            <a:pPr>
              <a:lnSpc>
                <a:spcPct val="90000"/>
              </a:lnSpc>
              <a:spcAft>
                <a:spcPts val="600"/>
              </a:spcAft>
            </a:pPr>
            <a:r>
              <a:rPr lang="en-US" altLang="zh-CN" dirty="0">
                <a:gradFill>
                  <a:gsLst>
                    <a:gs pos="2917">
                      <a:schemeClr val="tx1"/>
                    </a:gs>
                    <a:gs pos="30000">
                      <a:schemeClr val="tx1"/>
                    </a:gs>
                  </a:gsLst>
                  <a:lin ang="5400000" scaled="0"/>
                </a:gradFill>
                <a:cs typeface="+mn-ea"/>
                <a:sym typeface="+mn-lt"/>
              </a:rPr>
              <a:t>Les </a:t>
            </a:r>
            <a:r>
              <a:rPr lang="en-US" altLang="zh-CN" dirty="0" err="1">
                <a:gradFill>
                  <a:gsLst>
                    <a:gs pos="2917">
                      <a:schemeClr val="tx1"/>
                    </a:gs>
                    <a:gs pos="30000">
                      <a:schemeClr val="tx1"/>
                    </a:gs>
                  </a:gsLst>
                  <a:lin ang="5400000" scaled="0"/>
                </a:gradFill>
                <a:cs typeface="+mn-ea"/>
                <a:sym typeface="+mn-lt"/>
              </a:rPr>
              <a:t>Magasins</a:t>
            </a:r>
            <a:endParaRPr lang="zh-CN" altLang="en-US" dirty="0" err="1">
              <a:gradFill>
                <a:gsLst>
                  <a:gs pos="2917">
                    <a:schemeClr val="tx1"/>
                  </a:gs>
                  <a:gs pos="30000">
                    <a:schemeClr val="tx1"/>
                  </a:gs>
                </a:gsLst>
                <a:lin ang="5400000" scaled="0"/>
              </a:gradFill>
              <a:cs typeface="+mn-ea"/>
              <a:sym typeface="+mn-lt"/>
            </a:endParaRPr>
          </a:p>
        </p:txBody>
      </p:sp>
      <p:sp>
        <p:nvSpPr>
          <p:cNvPr id="10343" name="圆角矩形 10342"/>
          <p:cNvSpPr/>
          <p:nvPr/>
        </p:nvSpPr>
        <p:spPr bwMode="auto">
          <a:xfrm>
            <a:off x="692148" y="4320213"/>
            <a:ext cx="2234285" cy="1751086"/>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0344" name="圆角矩形 10343"/>
          <p:cNvSpPr/>
          <p:nvPr/>
        </p:nvSpPr>
        <p:spPr bwMode="auto">
          <a:xfrm>
            <a:off x="2377799" y="6168802"/>
            <a:ext cx="2651731" cy="711703"/>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0345" name="圆角矩形 10344"/>
          <p:cNvSpPr/>
          <p:nvPr/>
        </p:nvSpPr>
        <p:spPr bwMode="auto">
          <a:xfrm>
            <a:off x="5821634" y="6196812"/>
            <a:ext cx="3760533" cy="717504"/>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0348" name="圆角矩形 10347"/>
          <p:cNvSpPr/>
          <p:nvPr/>
        </p:nvSpPr>
        <p:spPr bwMode="auto">
          <a:xfrm>
            <a:off x="5296640" y="4726218"/>
            <a:ext cx="4487718" cy="1050399"/>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0350" name="圆角矩形 10349"/>
          <p:cNvSpPr/>
          <p:nvPr/>
        </p:nvSpPr>
        <p:spPr bwMode="auto">
          <a:xfrm>
            <a:off x="5449843" y="3148331"/>
            <a:ext cx="4049419" cy="1446200"/>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10353" name="图片 1035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996866" y="3483168"/>
            <a:ext cx="877264" cy="489578"/>
          </a:xfrm>
          <a:prstGeom prst="rect">
            <a:avLst/>
          </a:prstGeom>
        </p:spPr>
      </p:pic>
      <p:pic>
        <p:nvPicPr>
          <p:cNvPr id="243" name="图片 242"/>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758836" y="758931"/>
            <a:ext cx="877264" cy="489578"/>
          </a:xfrm>
          <a:prstGeom prst="rect">
            <a:avLst/>
          </a:prstGeom>
        </p:spPr>
      </p:pic>
      <p:pic>
        <p:nvPicPr>
          <p:cNvPr id="10354" name="图片 10353"/>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98540" y="3457981"/>
            <a:ext cx="498968" cy="585997"/>
          </a:xfrm>
          <a:prstGeom prst="rect">
            <a:avLst/>
          </a:prstGeom>
        </p:spPr>
      </p:pic>
      <p:sp>
        <p:nvSpPr>
          <p:cNvPr id="10355" name="圆角矩形 10354"/>
          <p:cNvSpPr/>
          <p:nvPr/>
        </p:nvSpPr>
        <p:spPr bwMode="auto">
          <a:xfrm>
            <a:off x="692148" y="3156383"/>
            <a:ext cx="2691480" cy="1026407"/>
          </a:xfrm>
          <a:prstGeom prst="roundRect">
            <a:avLst/>
          </a:prstGeom>
          <a:noFill/>
          <a:ln w="19050">
            <a:solidFill>
              <a:srgbClr val="EAEAEA"/>
            </a:solidFill>
            <a:prstDash val="dash"/>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47" name="文本框 246"/>
          <p:cNvSpPr txBox="1"/>
          <p:nvPr/>
        </p:nvSpPr>
        <p:spPr>
          <a:xfrm>
            <a:off x="2306007" y="6050996"/>
            <a:ext cx="1487819"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a:solidFill>
                  <a:schemeClr val="accent1">
                    <a:lumMod val="75000"/>
                  </a:schemeClr>
                </a:solidFill>
                <a:cs typeface="+mn-ea"/>
                <a:sym typeface="+mn-lt"/>
              </a:rPr>
              <a:t>Entrepôt</a:t>
            </a:r>
            <a:endParaRPr lang="zh-CN" altLang="en-US" sz="1400" b="1" dirty="0" err="1">
              <a:solidFill>
                <a:schemeClr val="accent1">
                  <a:lumMod val="75000"/>
                </a:schemeClr>
              </a:solidFill>
              <a:cs typeface="+mn-ea"/>
              <a:sym typeface="+mn-lt"/>
            </a:endParaRPr>
          </a:p>
        </p:txBody>
      </p:sp>
      <p:sp>
        <p:nvSpPr>
          <p:cNvPr id="248" name="文本框 247"/>
          <p:cNvSpPr txBox="1"/>
          <p:nvPr/>
        </p:nvSpPr>
        <p:spPr>
          <a:xfrm>
            <a:off x="630191" y="4265837"/>
            <a:ext cx="1487819"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a:solidFill>
                  <a:schemeClr val="accent1">
                    <a:lumMod val="75000"/>
                  </a:schemeClr>
                </a:solidFill>
                <a:cs typeface="+mn-ea"/>
                <a:sym typeface="+mn-lt"/>
              </a:rPr>
              <a:t>Entrée</a:t>
            </a:r>
          </a:p>
        </p:txBody>
      </p:sp>
      <p:sp>
        <p:nvSpPr>
          <p:cNvPr id="249" name="文本框 248"/>
          <p:cNvSpPr txBox="1"/>
          <p:nvPr/>
        </p:nvSpPr>
        <p:spPr>
          <a:xfrm>
            <a:off x="5202541" y="4632496"/>
            <a:ext cx="1596305"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a:solidFill>
                  <a:schemeClr val="accent1">
                    <a:lumMod val="75000"/>
                  </a:schemeClr>
                </a:solidFill>
                <a:cs typeface="+mn-ea"/>
                <a:sym typeface="+mn-lt"/>
              </a:rPr>
              <a:t>Zone </a:t>
            </a:r>
            <a:r>
              <a:rPr lang="en-US" altLang="zh-CN" sz="1400" b="1" dirty="0" err="1">
                <a:solidFill>
                  <a:schemeClr val="accent1">
                    <a:lumMod val="75000"/>
                  </a:schemeClr>
                </a:solidFill>
                <a:cs typeface="+mn-ea"/>
                <a:sym typeface="+mn-lt"/>
              </a:rPr>
              <a:t>d'achat</a:t>
            </a:r>
            <a:r>
              <a:rPr lang="en-US" altLang="zh-CN" sz="1400" b="1" dirty="0">
                <a:solidFill>
                  <a:schemeClr val="accent1">
                    <a:lumMod val="75000"/>
                  </a:schemeClr>
                </a:solidFill>
                <a:cs typeface="+mn-ea"/>
                <a:sym typeface="+mn-lt"/>
              </a:rPr>
              <a:t> </a:t>
            </a:r>
            <a:endParaRPr lang="zh-CN" altLang="en-US" sz="1400" b="1" dirty="0" err="1">
              <a:solidFill>
                <a:schemeClr val="accent1">
                  <a:lumMod val="75000"/>
                </a:schemeClr>
              </a:solidFill>
              <a:cs typeface="+mn-ea"/>
              <a:sym typeface="+mn-lt"/>
            </a:endParaRPr>
          </a:p>
        </p:txBody>
      </p:sp>
      <p:sp>
        <p:nvSpPr>
          <p:cNvPr id="250" name="文本框 249"/>
          <p:cNvSpPr txBox="1"/>
          <p:nvPr/>
        </p:nvSpPr>
        <p:spPr>
          <a:xfrm>
            <a:off x="668349" y="3020104"/>
            <a:ext cx="1621519"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a:solidFill>
                  <a:schemeClr val="accent1">
                    <a:lumMod val="75000"/>
                  </a:schemeClr>
                </a:solidFill>
                <a:cs typeface="+mn-ea"/>
                <a:sym typeface="+mn-lt"/>
              </a:rPr>
              <a:t>DSS Client</a:t>
            </a:r>
            <a:endParaRPr lang="zh-CN" altLang="en-US" sz="1400" b="1" dirty="0" err="1">
              <a:solidFill>
                <a:schemeClr val="accent1">
                  <a:lumMod val="75000"/>
                </a:schemeClr>
              </a:solidFill>
              <a:cs typeface="+mn-ea"/>
              <a:sym typeface="+mn-lt"/>
            </a:endParaRPr>
          </a:p>
        </p:txBody>
      </p:sp>
      <p:sp>
        <p:nvSpPr>
          <p:cNvPr id="251" name="文本框 250"/>
          <p:cNvSpPr txBox="1"/>
          <p:nvPr/>
        </p:nvSpPr>
        <p:spPr>
          <a:xfrm>
            <a:off x="5354311" y="3031178"/>
            <a:ext cx="2215656"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err="1">
                <a:solidFill>
                  <a:schemeClr val="accent1">
                    <a:lumMod val="75000"/>
                  </a:schemeClr>
                </a:solidFill>
                <a:cs typeface="+mn-ea"/>
                <a:sym typeface="+mn-lt"/>
              </a:rPr>
              <a:t>Caisse</a:t>
            </a:r>
            <a:endParaRPr lang="zh-CN" altLang="en-US" sz="1400" b="1" dirty="0" err="1">
              <a:solidFill>
                <a:schemeClr val="accent1">
                  <a:lumMod val="75000"/>
                </a:schemeClr>
              </a:solidFill>
              <a:cs typeface="+mn-ea"/>
              <a:sym typeface="+mn-lt"/>
            </a:endParaRPr>
          </a:p>
        </p:txBody>
      </p:sp>
      <p:sp>
        <p:nvSpPr>
          <p:cNvPr id="252" name="文本框 251"/>
          <p:cNvSpPr txBox="1"/>
          <p:nvPr/>
        </p:nvSpPr>
        <p:spPr>
          <a:xfrm>
            <a:off x="5687295" y="6100784"/>
            <a:ext cx="1487819"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a:solidFill>
                  <a:schemeClr val="accent1">
                    <a:lumMod val="75000"/>
                  </a:schemeClr>
                </a:solidFill>
                <a:cs typeface="+mn-ea"/>
                <a:sym typeface="+mn-lt"/>
              </a:rPr>
              <a:t>Parking</a:t>
            </a:r>
            <a:endParaRPr lang="zh-CN" altLang="en-US" sz="1400" b="1" dirty="0" err="1">
              <a:solidFill>
                <a:schemeClr val="accent1">
                  <a:lumMod val="75000"/>
                </a:schemeClr>
              </a:solidFill>
              <a:cs typeface="+mn-ea"/>
              <a:sym typeface="+mn-lt"/>
            </a:endParaRPr>
          </a:p>
        </p:txBody>
      </p:sp>
      <p:sp>
        <p:nvSpPr>
          <p:cNvPr id="253" name="文本框 252"/>
          <p:cNvSpPr txBox="1"/>
          <p:nvPr/>
        </p:nvSpPr>
        <p:spPr>
          <a:xfrm>
            <a:off x="5610094" y="-54202"/>
            <a:ext cx="2095655" cy="489365"/>
          </a:xfrm>
          <a:prstGeom prst="rect">
            <a:avLst/>
          </a:prstGeom>
          <a:noFill/>
        </p:spPr>
        <p:txBody>
          <a:bodyPr wrap="square" lIns="182880" tIns="146304" rIns="182880" bIns="146304" rtlCol="0">
            <a:spAutoFit/>
          </a:bodyPr>
          <a:lstStyle/>
          <a:p>
            <a:pPr>
              <a:lnSpc>
                <a:spcPct val="90000"/>
              </a:lnSpc>
              <a:spcAft>
                <a:spcPts val="600"/>
              </a:spcAft>
            </a:pPr>
            <a:r>
              <a:rPr lang="en-US" altLang="zh-CN" sz="1400" b="1" dirty="0" err="1">
                <a:solidFill>
                  <a:schemeClr val="accent1">
                    <a:lumMod val="75000"/>
                  </a:schemeClr>
                </a:solidFill>
                <a:cs typeface="+mn-ea"/>
                <a:sym typeface="+mn-lt"/>
              </a:rPr>
              <a:t>Siège</a:t>
            </a:r>
            <a:r>
              <a:rPr lang="en-US" altLang="zh-CN" sz="1400" b="1" dirty="0">
                <a:solidFill>
                  <a:schemeClr val="accent1">
                    <a:lumMod val="75000"/>
                  </a:schemeClr>
                </a:solidFill>
                <a:cs typeface="+mn-ea"/>
                <a:sym typeface="+mn-lt"/>
              </a:rPr>
              <a:t> social</a:t>
            </a:r>
            <a:endParaRPr lang="zh-CN" altLang="en-US" sz="1400" b="1" dirty="0" err="1">
              <a:solidFill>
                <a:schemeClr val="accent1">
                  <a:lumMod val="75000"/>
                </a:schemeClr>
              </a:solidFill>
              <a:cs typeface="+mn-ea"/>
              <a:sym typeface="+mn-lt"/>
            </a:endParaRPr>
          </a:p>
        </p:txBody>
      </p:sp>
      <p:sp>
        <p:nvSpPr>
          <p:cNvPr id="10360" name="文本框 10359"/>
          <p:cNvSpPr txBox="1"/>
          <p:nvPr/>
        </p:nvSpPr>
        <p:spPr>
          <a:xfrm>
            <a:off x="886317" y="3905846"/>
            <a:ext cx="1069784"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 Mobile</a:t>
            </a:r>
            <a:endParaRPr lang="zh-CN" altLang="en-US" sz="1000" dirty="0" err="1">
              <a:gradFill>
                <a:gsLst>
                  <a:gs pos="2917">
                    <a:schemeClr val="tx1"/>
                  </a:gs>
                  <a:gs pos="30000">
                    <a:schemeClr val="tx1"/>
                  </a:gs>
                </a:gsLst>
                <a:lin ang="5400000" scaled="0"/>
              </a:gradFill>
              <a:cs typeface="+mn-ea"/>
              <a:sym typeface="+mn-lt"/>
            </a:endParaRPr>
          </a:p>
        </p:txBody>
      </p:sp>
      <p:sp>
        <p:nvSpPr>
          <p:cNvPr id="259" name="文本框 258"/>
          <p:cNvSpPr txBox="1"/>
          <p:nvPr/>
        </p:nvSpPr>
        <p:spPr>
          <a:xfrm>
            <a:off x="4080071" y="3501141"/>
            <a:ext cx="1069784" cy="461665"/>
          </a:xfrm>
          <a:prstGeom prst="rect">
            <a:avLst/>
          </a:prstGeom>
          <a:noFill/>
        </p:spPr>
        <p:txBody>
          <a:bodyPr wrap="square" lIns="182880" tIns="146304" rIns="182880" bIns="146304" rtlCol="0">
            <a:spAutoFit/>
          </a:bodyPr>
          <a:lstStyle/>
          <a:p>
            <a:pPr>
              <a:lnSpc>
                <a:spcPct val="90000"/>
              </a:lnSpc>
              <a:spcAft>
                <a:spcPts val="600"/>
              </a:spcAft>
            </a:pPr>
            <a:r>
              <a:rPr lang="en-US" altLang="zh-CN" sz="1200" dirty="0">
                <a:gradFill>
                  <a:gsLst>
                    <a:gs pos="2917">
                      <a:schemeClr val="tx1"/>
                    </a:gs>
                    <a:gs pos="30000">
                      <a:schemeClr val="tx1"/>
                    </a:gs>
                  </a:gsLst>
                  <a:lin ang="5400000" scaled="0"/>
                </a:gradFill>
                <a:cs typeface="+mn-ea"/>
                <a:sym typeface="+mn-lt"/>
              </a:rPr>
              <a:t>Switch</a:t>
            </a:r>
            <a:endParaRPr lang="zh-CN" altLang="en-US" sz="1200" dirty="0" err="1">
              <a:gradFill>
                <a:gsLst>
                  <a:gs pos="2917">
                    <a:schemeClr val="tx1"/>
                  </a:gs>
                  <a:gs pos="30000">
                    <a:schemeClr val="tx1"/>
                  </a:gs>
                </a:gsLst>
                <a:lin ang="5400000" scaled="0"/>
              </a:gradFill>
              <a:cs typeface="+mn-ea"/>
              <a:sym typeface="+mn-lt"/>
            </a:endParaRPr>
          </a:p>
        </p:txBody>
      </p:sp>
      <p:sp>
        <p:nvSpPr>
          <p:cNvPr id="260" name="文本框 259"/>
          <p:cNvSpPr txBox="1"/>
          <p:nvPr/>
        </p:nvSpPr>
        <p:spPr>
          <a:xfrm>
            <a:off x="1861525" y="3845545"/>
            <a:ext cx="1273230"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         PC</a:t>
            </a:r>
            <a:endParaRPr lang="zh-CN" altLang="en-US" sz="1000" dirty="0" err="1">
              <a:gradFill>
                <a:gsLst>
                  <a:gs pos="2917">
                    <a:schemeClr val="tx1"/>
                  </a:gs>
                  <a:gs pos="30000">
                    <a:schemeClr val="tx1"/>
                  </a:gs>
                </a:gsLst>
                <a:lin ang="5400000" scaled="0"/>
              </a:gradFill>
              <a:cs typeface="+mn-ea"/>
              <a:sym typeface="+mn-lt"/>
            </a:endParaRPr>
          </a:p>
        </p:txBody>
      </p:sp>
      <p:sp>
        <p:nvSpPr>
          <p:cNvPr id="261" name="文本框 260"/>
          <p:cNvSpPr txBox="1"/>
          <p:nvPr/>
        </p:nvSpPr>
        <p:spPr>
          <a:xfrm>
            <a:off x="585294" y="5354388"/>
            <a:ext cx="1184046"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a:t>
            </a:r>
            <a:r>
              <a:rPr lang="en-US" altLang="zh-CN" sz="1000" dirty="0" err="1">
                <a:cs typeface="+mn-ea"/>
                <a:sym typeface="+mn-lt"/>
              </a:rPr>
              <a:t>é</a:t>
            </a:r>
            <a:r>
              <a:rPr lang="en-US" altLang="zh-CN" sz="1000" dirty="0" err="1">
                <a:gradFill>
                  <a:gsLst>
                    <a:gs pos="2917">
                      <a:schemeClr val="tx1"/>
                    </a:gs>
                    <a:gs pos="30000">
                      <a:schemeClr val="tx1"/>
                    </a:gs>
                  </a:gsLst>
                  <a:lin ang="5400000" scaled="0"/>
                </a:gradFill>
                <a:cs typeface="+mn-ea"/>
                <a:sym typeface="+mn-lt"/>
              </a:rPr>
              <a:t>ra</a:t>
            </a:r>
            <a:r>
              <a:rPr lang="en-US" altLang="zh-CN" sz="1000" dirty="0">
                <a:gradFill>
                  <a:gsLst>
                    <a:gs pos="2917">
                      <a:schemeClr val="tx1"/>
                    </a:gs>
                    <a:gs pos="30000">
                      <a:schemeClr val="tx1"/>
                    </a:gs>
                  </a:gsLst>
                  <a:lin ang="5400000" scaled="0"/>
                </a:gradFill>
                <a:cs typeface="+mn-ea"/>
                <a:sym typeface="+mn-lt"/>
              </a:rPr>
              <a:t> 3D</a:t>
            </a:r>
            <a:endParaRPr lang="zh-CN" altLang="en-US" sz="1000" dirty="0" err="1">
              <a:gradFill>
                <a:gsLst>
                  <a:gs pos="2917">
                    <a:schemeClr val="tx1"/>
                  </a:gs>
                  <a:gs pos="30000">
                    <a:schemeClr val="tx1"/>
                  </a:gs>
                </a:gsLst>
                <a:lin ang="5400000" scaled="0"/>
              </a:gradFill>
              <a:cs typeface="+mn-ea"/>
              <a:sym typeface="+mn-lt"/>
            </a:endParaRPr>
          </a:p>
        </p:txBody>
      </p:sp>
      <p:sp>
        <p:nvSpPr>
          <p:cNvPr id="262" name="文本框 261"/>
          <p:cNvSpPr txBox="1"/>
          <p:nvPr/>
        </p:nvSpPr>
        <p:spPr>
          <a:xfrm>
            <a:off x="1457743" y="4774104"/>
            <a:ext cx="2274326"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cs typeface="+mn-ea"/>
                <a:sym typeface="+mn-lt"/>
              </a:rPr>
              <a:t>Caméra</a:t>
            </a:r>
            <a:r>
              <a:rPr lang="en-US" altLang="zh-CN" sz="1000" dirty="0">
                <a:cs typeface="+mn-ea"/>
                <a:sym typeface="+mn-lt"/>
              </a:rPr>
              <a:t> </a:t>
            </a:r>
            <a:r>
              <a:rPr lang="en-US" altLang="zh-CN" sz="1000" dirty="0" err="1">
                <a:cs typeface="+mn-ea"/>
                <a:sym typeface="+mn-lt"/>
              </a:rPr>
              <a:t>d'attributs</a:t>
            </a:r>
            <a:r>
              <a:rPr lang="en-US" altLang="zh-CN" sz="1000" dirty="0">
                <a:cs typeface="+mn-ea"/>
                <a:sym typeface="+mn-lt"/>
              </a:rPr>
              <a:t> </a:t>
            </a:r>
            <a:r>
              <a:rPr lang="en-US" altLang="zh-CN" sz="1000" dirty="0" err="1">
                <a:cs typeface="+mn-ea"/>
                <a:sym typeface="+mn-lt"/>
              </a:rPr>
              <a:t>faciale</a:t>
            </a:r>
            <a:endParaRPr lang="zh-CN" altLang="en-US" sz="1000" dirty="0" err="1">
              <a:gradFill>
                <a:gsLst>
                  <a:gs pos="2917">
                    <a:schemeClr val="tx1"/>
                  </a:gs>
                  <a:gs pos="30000">
                    <a:schemeClr val="tx1"/>
                  </a:gs>
                </a:gsLst>
                <a:lin ang="5400000" scaled="0"/>
              </a:gradFill>
              <a:cs typeface="+mn-ea"/>
              <a:sym typeface="+mn-lt"/>
            </a:endParaRPr>
          </a:p>
        </p:txBody>
      </p:sp>
      <p:sp>
        <p:nvSpPr>
          <p:cNvPr id="263" name="文本框 262"/>
          <p:cNvSpPr txBox="1"/>
          <p:nvPr/>
        </p:nvSpPr>
        <p:spPr>
          <a:xfrm>
            <a:off x="1282278" y="5607321"/>
            <a:ext cx="2621629"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cs typeface="+mn-ea"/>
                <a:sym typeface="+mn-lt"/>
              </a:rPr>
              <a:t>Caméra</a:t>
            </a:r>
            <a:r>
              <a:rPr lang="en-US" altLang="zh-CN" sz="1000" dirty="0">
                <a:cs typeface="+mn-ea"/>
                <a:sym typeface="+mn-lt"/>
              </a:rPr>
              <a:t> de reconnaissance </a:t>
            </a:r>
            <a:r>
              <a:rPr lang="en-US" altLang="zh-CN" sz="1000" dirty="0" err="1">
                <a:cs typeface="+mn-ea"/>
                <a:sym typeface="+mn-lt"/>
              </a:rPr>
              <a:t>faciale</a:t>
            </a:r>
            <a:endParaRPr lang="zh-CN" altLang="en-US" sz="1000" dirty="0" err="1">
              <a:gradFill>
                <a:gsLst>
                  <a:gs pos="2917">
                    <a:schemeClr val="tx1"/>
                  </a:gs>
                  <a:gs pos="30000">
                    <a:schemeClr val="tx1"/>
                  </a:gs>
                </a:gsLst>
                <a:lin ang="5400000" scaled="0"/>
              </a:gradFill>
              <a:cs typeface="+mn-ea"/>
              <a:sym typeface="+mn-lt"/>
            </a:endParaRPr>
          </a:p>
        </p:txBody>
      </p:sp>
      <p:sp>
        <p:nvSpPr>
          <p:cNvPr id="264" name="文本框 263"/>
          <p:cNvSpPr txBox="1"/>
          <p:nvPr/>
        </p:nvSpPr>
        <p:spPr>
          <a:xfrm>
            <a:off x="8345914" y="6615998"/>
            <a:ext cx="1961318" cy="44781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Panoramic Multi-</a:t>
            </a:r>
            <a:r>
              <a:rPr lang="en-US" altLang="zh-CN" sz="1000" dirty="0" err="1">
                <a:gradFill>
                  <a:gsLst>
                    <a:gs pos="2917">
                      <a:schemeClr val="tx1"/>
                    </a:gs>
                    <a:gs pos="30000">
                      <a:schemeClr val="tx1"/>
                    </a:gs>
                  </a:gsLst>
                  <a:lin ang="5400000" scaled="0"/>
                </a:gradFill>
                <a:cs typeface="+mn-ea"/>
                <a:sym typeface="+mn-lt"/>
              </a:rPr>
              <a:t>capteurs</a:t>
            </a:r>
            <a:endParaRPr lang="zh-CN" altLang="en-US" sz="1000" dirty="0">
              <a:gradFill>
                <a:gsLst>
                  <a:gs pos="2917">
                    <a:schemeClr val="tx1"/>
                  </a:gs>
                  <a:gs pos="30000">
                    <a:schemeClr val="tx1"/>
                  </a:gs>
                </a:gsLst>
                <a:lin ang="5400000" scaled="0"/>
              </a:gradFill>
              <a:cs typeface="+mn-ea"/>
              <a:sym typeface="+mn-lt"/>
            </a:endParaRPr>
          </a:p>
        </p:txBody>
      </p:sp>
      <p:sp>
        <p:nvSpPr>
          <p:cNvPr id="265" name="文本框 264"/>
          <p:cNvSpPr txBox="1"/>
          <p:nvPr/>
        </p:nvSpPr>
        <p:spPr>
          <a:xfrm>
            <a:off x="7270051" y="6624548"/>
            <a:ext cx="1426730"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éra</a:t>
            </a:r>
            <a:r>
              <a:rPr lang="en-US" altLang="zh-CN" sz="1000" dirty="0">
                <a:gradFill>
                  <a:gsLst>
                    <a:gs pos="2917">
                      <a:schemeClr val="tx1"/>
                    </a:gs>
                    <a:gs pos="30000">
                      <a:schemeClr val="tx1"/>
                    </a:gs>
                  </a:gsLst>
                  <a:lin ang="5400000" scaled="0"/>
                </a:gradFill>
                <a:cs typeface="+mn-ea"/>
                <a:sym typeface="+mn-lt"/>
              </a:rPr>
              <a:t> de LAPI</a:t>
            </a:r>
            <a:endParaRPr lang="zh-CN" altLang="en-US" sz="1000" dirty="0" err="1">
              <a:gradFill>
                <a:gsLst>
                  <a:gs pos="2917">
                    <a:schemeClr val="tx1"/>
                  </a:gs>
                  <a:gs pos="30000">
                    <a:schemeClr val="tx1"/>
                  </a:gs>
                </a:gsLst>
                <a:lin ang="5400000" scaled="0"/>
              </a:gradFill>
              <a:cs typeface="+mn-ea"/>
              <a:sym typeface="+mn-lt"/>
            </a:endParaRPr>
          </a:p>
        </p:txBody>
      </p:sp>
      <p:sp>
        <p:nvSpPr>
          <p:cNvPr id="266" name="文本框 265"/>
          <p:cNvSpPr txBox="1"/>
          <p:nvPr/>
        </p:nvSpPr>
        <p:spPr>
          <a:xfrm>
            <a:off x="5775193" y="6471286"/>
            <a:ext cx="1394232"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panoramic+PTZ</a:t>
            </a:r>
            <a:r>
              <a:rPr lang="en-US" altLang="zh-CN" sz="1000" dirty="0">
                <a:gradFill>
                  <a:gsLst>
                    <a:gs pos="2917">
                      <a:schemeClr val="tx1"/>
                    </a:gs>
                    <a:gs pos="30000">
                      <a:schemeClr val="tx1"/>
                    </a:gs>
                  </a:gsLst>
                  <a:lin ang="5400000" scaled="0"/>
                </a:gradFill>
                <a:cs typeface="+mn-ea"/>
                <a:sym typeface="+mn-lt"/>
              </a:rPr>
              <a:t> </a:t>
            </a:r>
            <a:endParaRPr lang="zh-CN" altLang="en-US" sz="1000" dirty="0" err="1">
              <a:gradFill>
                <a:gsLst>
                  <a:gs pos="2917">
                    <a:schemeClr val="tx1"/>
                  </a:gs>
                  <a:gs pos="30000">
                    <a:schemeClr val="tx1"/>
                  </a:gs>
                </a:gsLst>
                <a:lin ang="5400000" scaled="0"/>
              </a:gradFill>
              <a:cs typeface="+mn-ea"/>
              <a:sym typeface="+mn-lt"/>
            </a:endParaRPr>
          </a:p>
        </p:txBody>
      </p:sp>
      <p:sp>
        <p:nvSpPr>
          <p:cNvPr id="267" name="文本框 266"/>
          <p:cNvSpPr txBox="1"/>
          <p:nvPr/>
        </p:nvSpPr>
        <p:spPr>
          <a:xfrm>
            <a:off x="4547714" y="6489479"/>
            <a:ext cx="1348724" cy="7109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cs typeface="+mn-ea"/>
                <a:sym typeface="+mn-lt"/>
              </a:rPr>
              <a:t>Caméra</a:t>
            </a:r>
            <a:r>
              <a:rPr lang="en-US" altLang="zh-CN" sz="1000" dirty="0">
                <a:cs typeface="+mn-ea"/>
                <a:sym typeface="+mn-lt"/>
              </a:rPr>
              <a:t> </a:t>
            </a:r>
            <a:r>
              <a:rPr lang="en-US" altLang="zh-CN" sz="1000" dirty="0" err="1">
                <a:cs typeface="+mn-ea"/>
                <a:sym typeface="+mn-lt"/>
              </a:rPr>
              <a:t>environnementale</a:t>
            </a:r>
            <a:endParaRPr lang="zh-CN" altLang="en-US" sz="1000" dirty="0" err="1">
              <a:gradFill>
                <a:gsLst>
                  <a:gs pos="2917">
                    <a:schemeClr val="tx1"/>
                  </a:gs>
                  <a:gs pos="30000">
                    <a:schemeClr val="tx1"/>
                  </a:gs>
                </a:gsLst>
                <a:lin ang="5400000" scaled="0"/>
              </a:gradFill>
              <a:cs typeface="+mn-ea"/>
              <a:sym typeface="+mn-lt"/>
            </a:endParaRPr>
          </a:p>
        </p:txBody>
      </p:sp>
      <p:sp>
        <p:nvSpPr>
          <p:cNvPr id="268" name="文本框 267"/>
          <p:cNvSpPr txBox="1"/>
          <p:nvPr/>
        </p:nvSpPr>
        <p:spPr>
          <a:xfrm>
            <a:off x="2228119" y="6586522"/>
            <a:ext cx="1719149"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ontrôle</a:t>
            </a:r>
            <a:r>
              <a:rPr lang="en-US" altLang="zh-CN" sz="1000" dirty="0">
                <a:gradFill>
                  <a:gsLst>
                    <a:gs pos="2917">
                      <a:schemeClr val="tx1"/>
                    </a:gs>
                    <a:gs pos="30000">
                      <a:schemeClr val="tx1"/>
                    </a:gs>
                  </a:gsLst>
                  <a:lin ang="5400000" scaled="0"/>
                </a:gradFill>
                <a:cs typeface="+mn-ea"/>
                <a:sym typeface="+mn-lt"/>
              </a:rPr>
              <a:t> </a:t>
            </a:r>
            <a:r>
              <a:rPr lang="en-US" altLang="zh-CN" sz="1000" dirty="0" err="1">
                <a:gradFill>
                  <a:gsLst>
                    <a:gs pos="2917">
                      <a:schemeClr val="tx1"/>
                    </a:gs>
                    <a:gs pos="30000">
                      <a:schemeClr val="tx1"/>
                    </a:gs>
                  </a:gsLst>
                  <a:lin ang="5400000" scaled="0"/>
                </a:gradFill>
                <a:cs typeface="+mn-ea"/>
                <a:sym typeface="+mn-lt"/>
              </a:rPr>
              <a:t>d'accès</a:t>
            </a:r>
            <a:endParaRPr lang="zh-CN" altLang="en-US" sz="1000" dirty="0" err="1">
              <a:gradFill>
                <a:gsLst>
                  <a:gs pos="2917">
                    <a:schemeClr val="tx1"/>
                  </a:gs>
                  <a:gs pos="30000">
                    <a:schemeClr val="tx1"/>
                  </a:gs>
                </a:gsLst>
                <a:lin ang="5400000" scaled="0"/>
              </a:gradFill>
              <a:cs typeface="+mn-ea"/>
              <a:sym typeface="+mn-lt"/>
            </a:endParaRPr>
          </a:p>
        </p:txBody>
      </p:sp>
      <p:sp>
        <p:nvSpPr>
          <p:cNvPr id="269" name="文本框 268"/>
          <p:cNvSpPr txBox="1"/>
          <p:nvPr/>
        </p:nvSpPr>
        <p:spPr>
          <a:xfrm>
            <a:off x="5392339" y="5345142"/>
            <a:ext cx="1069784"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éra</a:t>
            </a:r>
            <a:r>
              <a:rPr lang="en-US" altLang="zh-CN" sz="1000" dirty="0">
                <a:gradFill>
                  <a:gsLst>
                    <a:gs pos="2917">
                      <a:schemeClr val="tx1"/>
                    </a:gs>
                    <a:gs pos="30000">
                      <a:schemeClr val="tx1"/>
                    </a:gs>
                  </a:gsLst>
                  <a:lin ang="5400000" scaled="0"/>
                </a:gradFill>
                <a:cs typeface="+mn-ea"/>
                <a:sym typeface="+mn-lt"/>
              </a:rPr>
              <a:t> Fisheye</a:t>
            </a:r>
            <a:endParaRPr lang="zh-CN" altLang="en-US" sz="1000" dirty="0">
              <a:gradFill>
                <a:gsLst>
                  <a:gs pos="2917">
                    <a:schemeClr val="tx1"/>
                  </a:gs>
                  <a:gs pos="30000">
                    <a:schemeClr val="tx1"/>
                  </a:gs>
                </a:gsLst>
                <a:lin ang="5400000" scaled="0"/>
              </a:gradFill>
              <a:cs typeface="+mn-ea"/>
              <a:sym typeface="+mn-lt"/>
            </a:endParaRPr>
          </a:p>
        </p:txBody>
      </p:sp>
      <p:sp>
        <p:nvSpPr>
          <p:cNvPr id="270" name="文本框 269"/>
          <p:cNvSpPr txBox="1"/>
          <p:nvPr/>
        </p:nvSpPr>
        <p:spPr>
          <a:xfrm>
            <a:off x="6447997" y="5361803"/>
            <a:ext cx="1069784"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Mini PTZ </a:t>
            </a:r>
            <a:r>
              <a:rPr lang="en-US" altLang="zh-CN" sz="1000" dirty="0" err="1">
                <a:gradFill>
                  <a:gsLst>
                    <a:gs pos="2917">
                      <a:schemeClr val="tx1"/>
                    </a:gs>
                    <a:gs pos="30000">
                      <a:schemeClr val="tx1"/>
                    </a:gs>
                  </a:gsLst>
                  <a:lin ang="5400000" scaled="0"/>
                </a:gradFill>
                <a:cs typeface="+mn-ea"/>
                <a:sym typeface="+mn-lt"/>
              </a:rPr>
              <a:t>caméra</a:t>
            </a:r>
            <a:endParaRPr lang="zh-CN" altLang="en-US" sz="1000" dirty="0" err="1">
              <a:gradFill>
                <a:gsLst>
                  <a:gs pos="2917">
                    <a:schemeClr val="tx1"/>
                  </a:gs>
                  <a:gs pos="30000">
                    <a:schemeClr val="tx1"/>
                  </a:gs>
                </a:gsLst>
                <a:lin ang="5400000" scaled="0"/>
              </a:gradFill>
              <a:cs typeface="+mn-ea"/>
              <a:sym typeface="+mn-lt"/>
            </a:endParaRPr>
          </a:p>
        </p:txBody>
      </p:sp>
      <p:sp>
        <p:nvSpPr>
          <p:cNvPr id="271" name="文本框 270"/>
          <p:cNvSpPr txBox="1"/>
          <p:nvPr/>
        </p:nvSpPr>
        <p:spPr>
          <a:xfrm>
            <a:off x="7341980" y="5385227"/>
            <a:ext cx="1227766"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éra</a:t>
            </a:r>
            <a:r>
              <a:rPr lang="en-US" altLang="zh-CN" sz="1000" dirty="0">
                <a:gradFill>
                  <a:gsLst>
                    <a:gs pos="2917">
                      <a:schemeClr val="tx1"/>
                    </a:gs>
                    <a:gs pos="30000">
                      <a:schemeClr val="tx1"/>
                    </a:gs>
                  </a:gsLst>
                  <a:lin ang="5400000" scaled="0"/>
                </a:gradFill>
                <a:cs typeface="+mn-ea"/>
                <a:sym typeface="+mn-lt"/>
              </a:rPr>
              <a:t> Dual </a:t>
            </a:r>
            <a:endParaRPr lang="zh-CN" altLang="en-US" sz="1000" dirty="0" err="1">
              <a:gradFill>
                <a:gsLst>
                  <a:gs pos="2917">
                    <a:schemeClr val="tx1"/>
                  </a:gs>
                  <a:gs pos="30000">
                    <a:schemeClr val="tx1"/>
                  </a:gs>
                </a:gsLst>
                <a:lin ang="5400000" scaled="0"/>
              </a:gradFill>
              <a:cs typeface="+mn-ea"/>
              <a:sym typeface="+mn-lt"/>
            </a:endParaRPr>
          </a:p>
        </p:txBody>
      </p:sp>
      <p:sp>
        <p:nvSpPr>
          <p:cNvPr id="272" name="文本框 271"/>
          <p:cNvSpPr txBox="1"/>
          <p:nvPr/>
        </p:nvSpPr>
        <p:spPr>
          <a:xfrm>
            <a:off x="8883603" y="5340528"/>
            <a:ext cx="1267720"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Body worn </a:t>
            </a:r>
            <a:r>
              <a:rPr lang="en-US" altLang="zh-CN" sz="1000" dirty="0" err="1">
                <a:gradFill>
                  <a:gsLst>
                    <a:gs pos="2917">
                      <a:schemeClr val="tx1"/>
                    </a:gs>
                    <a:gs pos="30000">
                      <a:schemeClr val="tx1"/>
                    </a:gs>
                  </a:gsLst>
                  <a:lin ang="5400000" scaled="0"/>
                </a:gradFill>
                <a:cs typeface="+mn-ea"/>
                <a:sym typeface="+mn-lt"/>
              </a:rPr>
              <a:t>caméra</a:t>
            </a:r>
            <a:endParaRPr lang="zh-CN" altLang="en-US" sz="1000" dirty="0" err="1">
              <a:gradFill>
                <a:gsLst>
                  <a:gs pos="2917">
                    <a:schemeClr val="tx1"/>
                  </a:gs>
                  <a:gs pos="30000">
                    <a:schemeClr val="tx1"/>
                  </a:gs>
                </a:gsLst>
                <a:lin ang="5400000" scaled="0"/>
              </a:gradFill>
              <a:cs typeface="+mn-ea"/>
              <a:sym typeface="+mn-lt"/>
            </a:endParaRPr>
          </a:p>
        </p:txBody>
      </p:sp>
      <p:sp>
        <p:nvSpPr>
          <p:cNvPr id="273" name="文本框 272"/>
          <p:cNvSpPr txBox="1"/>
          <p:nvPr/>
        </p:nvSpPr>
        <p:spPr>
          <a:xfrm>
            <a:off x="5323510" y="3679998"/>
            <a:ext cx="1569243" cy="649409"/>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éra</a:t>
            </a:r>
            <a:r>
              <a:rPr lang="en-US" altLang="zh-CN" sz="1000" dirty="0">
                <a:gradFill>
                  <a:gsLst>
                    <a:gs pos="2917">
                      <a:schemeClr val="tx1"/>
                    </a:gs>
                    <a:gs pos="30000">
                      <a:schemeClr val="tx1"/>
                    </a:gs>
                  </a:gsLst>
                  <a:lin ang="5400000" scaled="0"/>
                </a:gradFill>
                <a:cs typeface="+mn-ea"/>
                <a:sym typeface="+mn-lt"/>
              </a:rPr>
              <a:t> Fisheye</a:t>
            </a:r>
            <a:endParaRPr lang="zh-CN" altLang="en-US" sz="1000" dirty="0">
              <a:gradFill>
                <a:gsLst>
                  <a:gs pos="2917">
                    <a:schemeClr val="tx1"/>
                  </a:gs>
                  <a:gs pos="30000">
                    <a:schemeClr val="tx1"/>
                  </a:gs>
                </a:gsLst>
                <a:lin ang="5400000" scaled="0"/>
              </a:gradFill>
              <a:cs typeface="+mn-ea"/>
              <a:sym typeface="+mn-lt"/>
            </a:endParaRPr>
          </a:p>
          <a:p>
            <a:pPr>
              <a:lnSpc>
                <a:spcPct val="90000"/>
              </a:lnSpc>
              <a:spcAft>
                <a:spcPts val="600"/>
              </a:spcAft>
            </a:pPr>
            <a:endParaRPr lang="zh-CN" altLang="en-US" sz="1000" dirty="0" err="1">
              <a:gradFill>
                <a:gsLst>
                  <a:gs pos="2917">
                    <a:schemeClr val="tx1"/>
                  </a:gs>
                  <a:gs pos="30000">
                    <a:schemeClr val="tx1"/>
                  </a:gs>
                </a:gsLst>
                <a:lin ang="5400000" scaled="0"/>
              </a:gradFill>
              <a:cs typeface="+mn-ea"/>
              <a:sym typeface="+mn-lt"/>
            </a:endParaRPr>
          </a:p>
        </p:txBody>
      </p:sp>
      <p:sp>
        <p:nvSpPr>
          <p:cNvPr id="276" name="文本框 275"/>
          <p:cNvSpPr txBox="1"/>
          <p:nvPr/>
        </p:nvSpPr>
        <p:spPr>
          <a:xfrm>
            <a:off x="9583331" y="1044538"/>
            <a:ext cx="1069784"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DSS BI Pro platform</a:t>
            </a:r>
            <a:endParaRPr lang="zh-CN" altLang="en-US" sz="1000" dirty="0" err="1">
              <a:gradFill>
                <a:gsLst>
                  <a:gs pos="2917">
                    <a:schemeClr val="tx1"/>
                  </a:gs>
                  <a:gs pos="30000">
                    <a:schemeClr val="tx1"/>
                  </a:gs>
                </a:gsLst>
                <a:lin ang="5400000" scaled="0"/>
              </a:gradFill>
              <a:cs typeface="+mn-ea"/>
              <a:sym typeface="+mn-lt"/>
            </a:endParaRPr>
          </a:p>
        </p:txBody>
      </p:sp>
      <p:sp>
        <p:nvSpPr>
          <p:cNvPr id="277" name="文本框 276"/>
          <p:cNvSpPr txBox="1"/>
          <p:nvPr/>
        </p:nvSpPr>
        <p:spPr>
          <a:xfrm>
            <a:off x="7573117" y="1250486"/>
            <a:ext cx="1069784"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Swith</a:t>
            </a:r>
            <a:endParaRPr lang="zh-CN" altLang="en-US" sz="1000" dirty="0" err="1">
              <a:gradFill>
                <a:gsLst>
                  <a:gs pos="2917">
                    <a:schemeClr val="tx1"/>
                  </a:gs>
                  <a:gs pos="30000">
                    <a:schemeClr val="tx1"/>
                  </a:gs>
                </a:gsLst>
                <a:lin ang="5400000" scaled="0"/>
              </a:gradFill>
              <a:cs typeface="+mn-ea"/>
              <a:sym typeface="+mn-lt"/>
            </a:endParaRPr>
          </a:p>
        </p:txBody>
      </p:sp>
      <p:sp>
        <p:nvSpPr>
          <p:cNvPr id="278" name="文本框 277"/>
          <p:cNvSpPr txBox="1"/>
          <p:nvPr/>
        </p:nvSpPr>
        <p:spPr>
          <a:xfrm>
            <a:off x="8161889" y="849630"/>
            <a:ext cx="1069784" cy="440890"/>
          </a:xfrm>
          <a:prstGeom prst="rect">
            <a:avLst/>
          </a:prstGeom>
          <a:noFill/>
        </p:spPr>
        <p:txBody>
          <a:bodyPr wrap="square" lIns="182880" tIns="146304" rIns="182880" bIns="146304" rtlCol="0">
            <a:spAutoFit/>
          </a:bodyPr>
          <a:lstStyle/>
          <a:p>
            <a:pPr>
              <a:lnSpc>
                <a:spcPct val="90000"/>
              </a:lnSpc>
              <a:spcAft>
                <a:spcPts val="600"/>
              </a:spcAft>
            </a:pPr>
            <a:r>
              <a:rPr lang="fr-FR" altLang="zh-CN" sz="1000" dirty="0">
                <a:gradFill>
                  <a:gsLst>
                    <a:gs pos="2917">
                      <a:schemeClr val="tx1"/>
                    </a:gs>
                    <a:gs pos="30000">
                      <a:schemeClr val="tx1"/>
                    </a:gs>
                  </a:gsLst>
                  <a:lin ang="5400000" scaled="0"/>
                </a:gradFill>
                <a:cs typeface="+mn-ea"/>
                <a:sym typeface="+mn-lt"/>
              </a:rPr>
              <a:t>M</a:t>
            </a:r>
            <a:r>
              <a:rPr lang="en-US" altLang="zh-CN" sz="1000" dirty="0" err="1">
                <a:gradFill>
                  <a:gsLst>
                    <a:gs pos="2917">
                      <a:schemeClr val="tx1"/>
                    </a:gs>
                    <a:gs pos="30000">
                      <a:schemeClr val="tx1"/>
                    </a:gs>
                  </a:gsLst>
                  <a:lin ang="5400000" scaled="0"/>
                </a:gradFill>
                <a:cs typeface="+mn-ea"/>
                <a:sym typeface="+mn-lt"/>
              </a:rPr>
              <a:t>atrice</a:t>
            </a:r>
            <a:endParaRPr lang="zh-CN" altLang="en-US" sz="1000" dirty="0" err="1">
              <a:gradFill>
                <a:gsLst>
                  <a:gs pos="2917">
                    <a:schemeClr val="tx1"/>
                  </a:gs>
                  <a:gs pos="30000">
                    <a:schemeClr val="tx1"/>
                  </a:gs>
                </a:gsLst>
                <a:lin ang="5400000" scaled="0"/>
              </a:gradFill>
              <a:cs typeface="+mn-ea"/>
              <a:sym typeface="+mn-lt"/>
            </a:endParaRPr>
          </a:p>
        </p:txBody>
      </p:sp>
      <p:sp>
        <p:nvSpPr>
          <p:cNvPr id="279" name="文本框 278"/>
          <p:cNvSpPr txBox="1"/>
          <p:nvPr/>
        </p:nvSpPr>
        <p:spPr>
          <a:xfrm>
            <a:off x="8400916" y="70889"/>
            <a:ext cx="1176397"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Mur </a:t>
            </a:r>
            <a:r>
              <a:rPr lang="en-US" altLang="zh-CN" sz="1000" dirty="0" err="1">
                <a:gradFill>
                  <a:gsLst>
                    <a:gs pos="2917">
                      <a:schemeClr val="tx1"/>
                    </a:gs>
                    <a:gs pos="30000">
                      <a:schemeClr val="tx1"/>
                    </a:gs>
                  </a:gsLst>
                  <a:lin ang="5400000" scaled="0"/>
                </a:gradFill>
                <a:cs typeface="+mn-ea"/>
                <a:sym typeface="+mn-lt"/>
              </a:rPr>
              <a:t>d’image</a:t>
            </a:r>
            <a:endParaRPr lang="zh-CN" altLang="en-US" sz="1000" dirty="0" err="1">
              <a:gradFill>
                <a:gsLst>
                  <a:gs pos="2917">
                    <a:schemeClr val="tx1"/>
                  </a:gs>
                  <a:gs pos="30000">
                    <a:schemeClr val="tx1"/>
                  </a:gs>
                </a:gsLst>
                <a:lin ang="5400000" scaled="0"/>
              </a:gradFill>
              <a:cs typeface="+mn-ea"/>
              <a:sym typeface="+mn-lt"/>
            </a:endParaRPr>
          </a:p>
        </p:txBody>
      </p:sp>
      <p:sp>
        <p:nvSpPr>
          <p:cNvPr id="280" name="文本框 279"/>
          <p:cNvSpPr txBox="1"/>
          <p:nvPr/>
        </p:nvSpPr>
        <p:spPr>
          <a:xfrm>
            <a:off x="6680709" y="907751"/>
            <a:ext cx="1160343"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Centralized Storage</a:t>
            </a:r>
            <a:endParaRPr lang="zh-CN" altLang="en-US" sz="1000" dirty="0" err="1">
              <a:gradFill>
                <a:gsLst>
                  <a:gs pos="2917">
                    <a:schemeClr val="tx1"/>
                  </a:gs>
                  <a:gs pos="30000">
                    <a:schemeClr val="tx1"/>
                  </a:gs>
                </a:gsLst>
                <a:lin ang="5400000" scaled="0"/>
              </a:gradFill>
              <a:cs typeface="+mn-ea"/>
              <a:sym typeface="+mn-lt"/>
            </a:endParaRPr>
          </a:p>
        </p:txBody>
      </p:sp>
      <p:sp>
        <p:nvSpPr>
          <p:cNvPr id="281" name="文本框 280"/>
          <p:cNvSpPr txBox="1"/>
          <p:nvPr/>
        </p:nvSpPr>
        <p:spPr>
          <a:xfrm>
            <a:off x="5541457" y="1096355"/>
            <a:ext cx="1257391" cy="4616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Mobile</a:t>
            </a:r>
            <a:r>
              <a:rPr lang="en-US" altLang="zh-CN" sz="1200" dirty="0">
                <a:gradFill>
                  <a:gsLst>
                    <a:gs pos="2917">
                      <a:schemeClr val="tx1"/>
                    </a:gs>
                    <a:gs pos="30000">
                      <a:schemeClr val="tx1"/>
                    </a:gs>
                  </a:gsLst>
                  <a:lin ang="5400000" scaled="0"/>
                </a:gradFill>
                <a:cs typeface="+mn-ea"/>
                <a:sym typeface="+mn-lt"/>
              </a:rPr>
              <a:t> Client</a:t>
            </a:r>
            <a:endParaRPr lang="zh-CN" altLang="en-US" sz="1200" dirty="0" err="1">
              <a:gradFill>
                <a:gsLst>
                  <a:gs pos="2917">
                    <a:schemeClr val="tx1"/>
                  </a:gs>
                  <a:gs pos="30000">
                    <a:schemeClr val="tx1"/>
                  </a:gs>
                </a:gsLst>
                <a:lin ang="5400000" scaled="0"/>
              </a:gradFill>
              <a:cs typeface="+mn-ea"/>
              <a:sym typeface="+mn-lt"/>
            </a:endParaRPr>
          </a:p>
        </p:txBody>
      </p:sp>
      <p:pic>
        <p:nvPicPr>
          <p:cNvPr id="107" name="Picture 9" descr="C:\Users\Daniel\Desktop\图标-PNG\系统级-传输&amp;配件-PNG\工业光口汇聚交换机.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551" t="28574" r="6289" b="27441"/>
          <a:stretch>
            <a:fillRect/>
          </a:stretch>
        </p:blipFill>
        <p:spPr bwMode="auto">
          <a:xfrm>
            <a:off x="5717020" y="4006452"/>
            <a:ext cx="685082" cy="337972"/>
          </a:xfrm>
          <a:prstGeom prst="rect">
            <a:avLst/>
          </a:prstGeom>
          <a:noFill/>
          <a:extLst>
            <a:ext uri="{909E8E84-426E-40DD-AFC4-6F175D3DCCD1}">
              <a14:hiddenFill xmlns:a14="http://schemas.microsoft.com/office/drawing/2010/main">
                <a:solidFill>
                  <a:srgbClr val="FFFFFF"/>
                </a:solidFill>
              </a14:hiddenFill>
            </a:ext>
          </a:extLst>
        </p:spPr>
      </p:pic>
      <p:sp>
        <p:nvSpPr>
          <p:cNvPr id="108" name="文本框 107"/>
          <p:cNvSpPr txBox="1"/>
          <p:nvPr/>
        </p:nvSpPr>
        <p:spPr>
          <a:xfrm>
            <a:off x="5519588" y="4170831"/>
            <a:ext cx="1069784"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Swith</a:t>
            </a:r>
            <a:endParaRPr lang="zh-CN" altLang="en-US" sz="1000" dirty="0" err="1">
              <a:gradFill>
                <a:gsLst>
                  <a:gs pos="2917">
                    <a:schemeClr val="tx1"/>
                  </a:gs>
                  <a:gs pos="30000">
                    <a:schemeClr val="tx1"/>
                  </a:gs>
                </a:gsLst>
                <a:lin ang="5400000" scaled="0"/>
              </a:gradFill>
              <a:cs typeface="+mn-ea"/>
              <a:sym typeface="+mn-lt"/>
            </a:endParaRPr>
          </a:p>
        </p:txBody>
      </p:sp>
      <p:sp>
        <p:nvSpPr>
          <p:cNvPr id="111" name="文本框 110"/>
          <p:cNvSpPr txBox="1"/>
          <p:nvPr/>
        </p:nvSpPr>
        <p:spPr>
          <a:xfrm>
            <a:off x="6525630" y="4205508"/>
            <a:ext cx="1069784"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NVR</a:t>
            </a:r>
            <a:endParaRPr lang="zh-CN" altLang="en-US" sz="1000" dirty="0" err="1">
              <a:gradFill>
                <a:gsLst>
                  <a:gs pos="2917">
                    <a:schemeClr val="tx1"/>
                  </a:gs>
                  <a:gs pos="30000">
                    <a:schemeClr val="tx1"/>
                  </a:gs>
                </a:gsLst>
                <a:lin ang="5400000" scaled="0"/>
              </a:gradFill>
              <a:cs typeface="+mn-ea"/>
              <a:sym typeface="+mn-lt"/>
            </a:endParaRPr>
          </a:p>
        </p:txBody>
      </p:sp>
      <p:pic>
        <p:nvPicPr>
          <p:cNvPr id="112" name="Picture 10" descr="https://www.dahuasecurity.com/asset/upload/product/20180830/6_DH-IPC-HDBW5231E-ZE-HDMI_thumb.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624435" y="3226262"/>
            <a:ext cx="745621" cy="745621"/>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8" descr="http://file2.youboy.com/a/26/3/1/6/1497926.jpg?183*183"/>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461741" y="3198095"/>
            <a:ext cx="555605" cy="506661"/>
          </a:xfrm>
          <a:prstGeom prst="rect">
            <a:avLst/>
          </a:prstGeom>
          <a:noFill/>
          <a:extLst>
            <a:ext uri="{909E8E84-426E-40DD-AFC4-6F175D3DCCD1}">
              <a14:hiddenFill xmlns:a14="http://schemas.microsoft.com/office/drawing/2010/main">
                <a:solidFill>
                  <a:srgbClr val="FFFFFF"/>
                </a:solidFill>
              </a14:hiddenFill>
            </a:ext>
          </a:extLst>
        </p:spPr>
      </p:pic>
      <p:pic>
        <p:nvPicPr>
          <p:cNvPr id="114" name="图片 113"/>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497653" y="3959043"/>
            <a:ext cx="507093" cy="507093"/>
          </a:xfrm>
          <a:prstGeom prst="rect">
            <a:avLst/>
          </a:prstGeom>
        </p:spPr>
      </p:pic>
      <p:sp>
        <p:nvSpPr>
          <p:cNvPr id="115" name="文本框 114"/>
          <p:cNvSpPr txBox="1"/>
          <p:nvPr/>
        </p:nvSpPr>
        <p:spPr>
          <a:xfrm>
            <a:off x="6394234" y="3689754"/>
            <a:ext cx="1646433" cy="440890"/>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Caméra</a:t>
            </a:r>
            <a:r>
              <a:rPr lang="en-US" altLang="zh-CN" sz="1000" dirty="0">
                <a:gradFill>
                  <a:gsLst>
                    <a:gs pos="2917">
                      <a:schemeClr val="tx1"/>
                    </a:gs>
                    <a:gs pos="30000">
                      <a:schemeClr val="tx1"/>
                    </a:gs>
                  </a:gsLst>
                  <a:lin ang="5400000" scaled="0"/>
                </a:gradFill>
                <a:cs typeface="+mn-ea"/>
                <a:sym typeface="+mn-lt"/>
              </a:rPr>
              <a:t> avec Micro</a:t>
            </a:r>
            <a:endParaRPr lang="zh-CN" altLang="en-US" sz="1000" dirty="0" err="1">
              <a:gradFill>
                <a:gsLst>
                  <a:gs pos="2917">
                    <a:schemeClr val="tx1"/>
                  </a:gs>
                  <a:gs pos="30000">
                    <a:schemeClr val="tx1"/>
                  </a:gs>
                </a:gsLst>
                <a:lin ang="5400000" scaled="0"/>
              </a:gradFill>
              <a:cs typeface="+mn-ea"/>
              <a:sym typeface="+mn-lt"/>
            </a:endParaRPr>
          </a:p>
        </p:txBody>
      </p:sp>
      <p:cxnSp>
        <p:nvCxnSpPr>
          <p:cNvPr id="117" name="直接箭头连接符 116"/>
          <p:cNvCxnSpPr/>
          <p:nvPr/>
        </p:nvCxnSpPr>
        <p:spPr>
          <a:xfrm>
            <a:off x="6447997" y="4170831"/>
            <a:ext cx="243975" cy="0"/>
          </a:xfrm>
          <a:prstGeom prst="straightConnector1">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直接箭头连接符 120"/>
          <p:cNvCxnSpPr/>
          <p:nvPr/>
        </p:nvCxnSpPr>
        <p:spPr>
          <a:xfrm>
            <a:off x="5972250" y="3760859"/>
            <a:ext cx="0" cy="229015"/>
          </a:xfrm>
          <a:prstGeom prst="straightConnector1">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直接箭头连接符 124"/>
          <p:cNvCxnSpPr/>
          <p:nvPr/>
        </p:nvCxnSpPr>
        <p:spPr>
          <a:xfrm>
            <a:off x="6997245" y="3792226"/>
            <a:ext cx="0" cy="229015"/>
          </a:xfrm>
          <a:prstGeom prst="straightConnector1">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614621" y="3996778"/>
            <a:ext cx="522404" cy="394543"/>
          </a:xfrm>
          <a:prstGeom prst="rect">
            <a:avLst/>
          </a:prstGeom>
        </p:spPr>
      </p:pic>
      <p:cxnSp>
        <p:nvCxnSpPr>
          <p:cNvPr id="128" name="直接箭头连接符 127"/>
          <p:cNvCxnSpPr/>
          <p:nvPr/>
        </p:nvCxnSpPr>
        <p:spPr>
          <a:xfrm>
            <a:off x="7351439" y="4177861"/>
            <a:ext cx="243975" cy="0"/>
          </a:xfrm>
          <a:prstGeom prst="straightConnector1">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直接箭头连接符 128"/>
          <p:cNvCxnSpPr/>
          <p:nvPr/>
        </p:nvCxnSpPr>
        <p:spPr>
          <a:xfrm>
            <a:off x="8166771" y="4170831"/>
            <a:ext cx="274439" cy="0"/>
          </a:xfrm>
          <a:prstGeom prst="straightConnector1">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肘形连接符 23"/>
          <p:cNvCxnSpPr>
            <a:endCxn id="113" idx="1"/>
          </p:cNvCxnSpPr>
          <p:nvPr/>
        </p:nvCxnSpPr>
        <p:spPr>
          <a:xfrm flipV="1">
            <a:off x="7865821" y="3451426"/>
            <a:ext cx="595920" cy="536060"/>
          </a:xfrm>
          <a:prstGeom prst="bentConnector3">
            <a:avLst>
              <a:gd name="adj1" fmla="val 557"/>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5" name="文本框 134"/>
          <p:cNvSpPr txBox="1"/>
          <p:nvPr/>
        </p:nvSpPr>
        <p:spPr>
          <a:xfrm>
            <a:off x="7254311" y="4245695"/>
            <a:ext cx="1518275" cy="7109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Serveur</a:t>
            </a:r>
            <a:r>
              <a:rPr lang="en-US" altLang="zh-CN" sz="1000" dirty="0">
                <a:gradFill>
                  <a:gsLst>
                    <a:gs pos="2917">
                      <a:schemeClr val="tx1"/>
                    </a:gs>
                    <a:gs pos="30000">
                      <a:schemeClr val="tx1"/>
                    </a:gs>
                  </a:gsLst>
                  <a:lin ang="5400000" scaled="0"/>
                </a:gradFill>
                <a:cs typeface="+mn-ea"/>
                <a:sym typeface="+mn-lt"/>
              </a:rPr>
              <a:t> de </a:t>
            </a:r>
            <a:r>
              <a:rPr lang="en-US" altLang="zh-CN" sz="1000" dirty="0" err="1">
                <a:gradFill>
                  <a:gsLst>
                    <a:gs pos="2917">
                      <a:schemeClr val="tx1"/>
                    </a:gs>
                    <a:gs pos="30000">
                      <a:schemeClr val="tx1"/>
                    </a:gs>
                  </a:gsLst>
                  <a:lin ang="5400000" scaled="0"/>
                </a:gradFill>
                <a:cs typeface="+mn-ea"/>
                <a:sym typeface="+mn-lt"/>
              </a:rPr>
              <a:t>périphériques</a:t>
            </a:r>
            <a:r>
              <a:rPr lang="en-US" altLang="zh-CN" sz="1000" dirty="0">
                <a:gradFill>
                  <a:gsLst>
                    <a:gs pos="2917">
                      <a:schemeClr val="tx1"/>
                    </a:gs>
                    <a:gs pos="30000">
                      <a:schemeClr val="tx1"/>
                    </a:gs>
                  </a:gsLst>
                  <a:lin ang="5400000" scaled="0"/>
                </a:gradFill>
                <a:cs typeface="+mn-ea"/>
                <a:sym typeface="+mn-lt"/>
              </a:rPr>
              <a:t> </a:t>
            </a:r>
            <a:r>
              <a:rPr lang="en-US" altLang="zh-CN" sz="1000" dirty="0" err="1">
                <a:gradFill>
                  <a:gsLst>
                    <a:gs pos="2917">
                      <a:schemeClr val="tx1"/>
                    </a:gs>
                    <a:gs pos="30000">
                      <a:schemeClr val="tx1"/>
                    </a:gs>
                  </a:gsLst>
                  <a:lin ang="5400000" scaled="0"/>
                </a:gradFill>
                <a:cs typeface="+mn-ea"/>
                <a:sym typeface="+mn-lt"/>
              </a:rPr>
              <a:t>série</a:t>
            </a:r>
            <a:endParaRPr lang="zh-CN" altLang="en-US" sz="1000" dirty="0" err="1">
              <a:gradFill>
                <a:gsLst>
                  <a:gs pos="2917">
                    <a:schemeClr val="tx1"/>
                  </a:gs>
                  <a:gs pos="30000">
                    <a:schemeClr val="tx1"/>
                  </a:gs>
                </a:gsLst>
                <a:lin ang="5400000" scaled="0"/>
              </a:gradFill>
              <a:cs typeface="+mn-ea"/>
              <a:sym typeface="+mn-lt"/>
            </a:endParaRPr>
          </a:p>
        </p:txBody>
      </p:sp>
      <p:sp>
        <p:nvSpPr>
          <p:cNvPr id="136" name="文本框 135"/>
          <p:cNvSpPr txBox="1"/>
          <p:nvPr/>
        </p:nvSpPr>
        <p:spPr>
          <a:xfrm>
            <a:off x="8843651" y="4170776"/>
            <a:ext cx="1139797" cy="433965"/>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err="1">
                <a:gradFill>
                  <a:gsLst>
                    <a:gs pos="2917">
                      <a:schemeClr val="tx1"/>
                    </a:gs>
                    <a:gs pos="30000">
                      <a:schemeClr val="tx1"/>
                    </a:gs>
                  </a:gsLst>
                  <a:lin ang="5400000" scaled="0"/>
                </a:gradFill>
                <a:cs typeface="+mn-ea"/>
                <a:sym typeface="+mn-lt"/>
              </a:rPr>
              <a:t>Imprimante</a:t>
            </a:r>
            <a:endParaRPr lang="zh-CN" altLang="en-US" sz="1000" dirty="0" err="1">
              <a:gradFill>
                <a:gsLst>
                  <a:gs pos="2917">
                    <a:schemeClr val="tx1"/>
                  </a:gs>
                  <a:gs pos="30000">
                    <a:schemeClr val="tx1"/>
                  </a:gs>
                </a:gsLst>
                <a:lin ang="5400000" scaled="0"/>
              </a:gradFill>
              <a:cs typeface="+mn-ea"/>
              <a:sym typeface="+mn-lt"/>
            </a:endParaRPr>
          </a:p>
        </p:txBody>
      </p:sp>
      <p:sp>
        <p:nvSpPr>
          <p:cNvPr id="137" name="文本框 136"/>
          <p:cNvSpPr txBox="1"/>
          <p:nvPr/>
        </p:nvSpPr>
        <p:spPr>
          <a:xfrm>
            <a:off x="8872606" y="3177760"/>
            <a:ext cx="1069784" cy="572464"/>
          </a:xfrm>
          <a:prstGeom prst="rect">
            <a:avLst/>
          </a:prstGeom>
          <a:noFill/>
        </p:spPr>
        <p:txBody>
          <a:bodyPr wrap="square" lIns="182880" tIns="146304" rIns="182880" bIns="146304" rtlCol="0">
            <a:spAutoFit/>
          </a:bodyPr>
          <a:lstStyle/>
          <a:p>
            <a:pPr>
              <a:lnSpc>
                <a:spcPct val="90000"/>
              </a:lnSpc>
              <a:spcAft>
                <a:spcPts val="600"/>
              </a:spcAft>
            </a:pPr>
            <a:r>
              <a:rPr lang="en-US" altLang="zh-CN" sz="1000" dirty="0">
                <a:gradFill>
                  <a:gsLst>
                    <a:gs pos="2917">
                      <a:schemeClr val="tx1"/>
                    </a:gs>
                    <a:gs pos="30000">
                      <a:schemeClr val="tx1"/>
                    </a:gs>
                  </a:gsLst>
                  <a:lin ang="5400000" scaled="0"/>
                </a:gradFill>
                <a:cs typeface="+mn-ea"/>
                <a:sym typeface="+mn-lt"/>
              </a:rPr>
              <a:t>POS Machine</a:t>
            </a:r>
            <a:endParaRPr lang="zh-CN" altLang="en-US" sz="1000" dirty="0" err="1">
              <a:gradFill>
                <a:gsLst>
                  <a:gs pos="2917">
                    <a:schemeClr val="tx1"/>
                  </a:gs>
                  <a:gs pos="30000">
                    <a:schemeClr val="tx1"/>
                  </a:gs>
                </a:gsLst>
                <a:lin ang="5400000" scaled="0"/>
              </a:gradFill>
              <a:cs typeface="+mn-ea"/>
              <a:sym typeface="+mn-lt"/>
            </a:endParaRPr>
          </a:p>
        </p:txBody>
      </p:sp>
      <p:cxnSp>
        <p:nvCxnSpPr>
          <p:cNvPr id="143" name="直接连接符 142"/>
          <p:cNvCxnSpPr/>
          <p:nvPr/>
        </p:nvCxnSpPr>
        <p:spPr>
          <a:xfrm flipH="1" flipV="1">
            <a:off x="4777273" y="5271172"/>
            <a:ext cx="610973" cy="4662"/>
          </a:xfrm>
          <a:prstGeom prst="line">
            <a:avLst/>
          </a:prstGeom>
          <a:ln w="12700">
            <a:solidFill>
              <a:srgbClr val="00BCF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1186338" y="2092410"/>
            <a:ext cx="1383882" cy="649296"/>
            <a:chOff x="1186338" y="2092410"/>
            <a:chExt cx="1383882" cy="649296"/>
          </a:xfrm>
        </p:grpSpPr>
        <p:grpSp>
          <p:nvGrpSpPr>
            <p:cNvPr id="116" name="组合 115"/>
            <p:cNvGrpSpPr/>
            <p:nvPr/>
          </p:nvGrpSpPr>
          <p:grpSpPr>
            <a:xfrm>
              <a:off x="1186338" y="2169242"/>
              <a:ext cx="1383882" cy="572464"/>
              <a:chOff x="2156168" y="2123918"/>
              <a:chExt cx="1383882" cy="572464"/>
            </a:xfrm>
          </p:grpSpPr>
          <p:sp>
            <p:nvSpPr>
              <p:cNvPr id="120" name="云形 119"/>
              <p:cNvSpPr/>
              <p:nvPr/>
            </p:nvSpPr>
            <p:spPr bwMode="auto">
              <a:xfrm>
                <a:off x="2156168" y="2160803"/>
                <a:ext cx="1383882" cy="467577"/>
              </a:xfrm>
              <a:prstGeom prst="cloud">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122" name="文本框 121"/>
              <p:cNvSpPr txBox="1"/>
              <p:nvPr/>
            </p:nvSpPr>
            <p:spPr>
              <a:xfrm>
                <a:off x="2194376" y="2123918"/>
                <a:ext cx="1345674" cy="572464"/>
              </a:xfrm>
              <a:prstGeom prst="rect">
                <a:avLst/>
              </a:prstGeom>
              <a:noFill/>
            </p:spPr>
            <p:txBody>
              <a:bodyPr wrap="square" lIns="182880" tIns="146304" rIns="182880" bIns="146304" rtlCol="0">
                <a:spAutoFit/>
              </a:bodyPr>
              <a:lstStyle>
                <a:defPPr>
                  <a:defRPr lang="en-US"/>
                </a:defPPr>
                <a:lvl1pPr>
                  <a:lnSpc>
                    <a:spcPct val="90000"/>
                  </a:lnSpc>
                  <a:spcAft>
                    <a:spcPts val="600"/>
                  </a:spcAft>
                  <a:defRPr sz="2000" b="1">
                    <a:solidFill>
                      <a:schemeClr val="bg1"/>
                    </a:solidFill>
                  </a:defRPr>
                </a:lvl1pPr>
              </a:lstStyle>
              <a:p>
                <a:r>
                  <a:rPr lang="en-US" altLang="zh-CN" dirty="0">
                    <a:cs typeface="+mn-ea"/>
                    <a:sym typeface="+mn-lt"/>
                  </a:rPr>
                  <a:t>Internet</a:t>
                </a:r>
                <a:endParaRPr lang="zh-CN" altLang="en-US" dirty="0" err="1">
                  <a:cs typeface="+mn-ea"/>
                  <a:sym typeface="+mn-lt"/>
                </a:endParaRPr>
              </a:p>
            </p:txBody>
          </p:sp>
        </p:grpSp>
        <p:sp>
          <p:nvSpPr>
            <p:cNvPr id="123" name="闪电形 122"/>
            <p:cNvSpPr/>
            <p:nvPr/>
          </p:nvSpPr>
          <p:spPr bwMode="auto">
            <a:xfrm>
              <a:off x="1521911" y="2092410"/>
              <a:ext cx="262375" cy="288890"/>
            </a:xfrm>
            <a:prstGeom prst="lightningBolt">
              <a:avLst/>
            </a:prstGeom>
            <a:solidFill>
              <a:schemeClr val="accent1"/>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grpSp>
      <p:sp>
        <p:nvSpPr>
          <p:cNvPr id="124" name="标题 1"/>
          <p:cNvSpPr txBox="1"/>
          <p:nvPr/>
        </p:nvSpPr>
        <p:spPr>
          <a:xfrm>
            <a:off x="350036" y="277258"/>
            <a:ext cx="11192828" cy="946413"/>
          </a:xfrm>
          <a:prstGeom prst="rect">
            <a:avLst/>
          </a:prstGeom>
        </p:spPr>
        <p:txBody>
          <a:bodyPr vert="horz" wrap="square" lIns="146304" tIns="91440" rIns="146304" bIns="91440" rtlCol="0" anchor="t">
            <a:noAutofit/>
          </a:bodyPr>
          <a:lstStyle>
            <a:lvl1pPr algn="l" defTabSz="932180" rtl="0" eaLnBrk="1" latinLnBrk="0" hangingPunct="1">
              <a:lnSpc>
                <a:spcPct val="90000"/>
              </a:lnSpc>
              <a:spcBef>
                <a:spcPct val="0"/>
              </a:spcBef>
              <a:buNone/>
              <a:defRPr lang="en-US" sz="4800" b="0" kern="1200" cap="none" spc="-102" baseline="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a:latin typeface="+mn-lt"/>
                <a:cs typeface="+mn-ea"/>
                <a:sym typeface="+mn-lt"/>
              </a:rPr>
              <a:t>Architecture</a:t>
            </a:r>
          </a:p>
        </p:txBody>
      </p:sp>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 name="矩形 308"/>
          <p:cNvSpPr/>
          <p:nvPr/>
        </p:nvSpPr>
        <p:spPr bwMode="auto">
          <a:xfrm>
            <a:off x="8409256" y="1948051"/>
            <a:ext cx="3387456" cy="4480511"/>
          </a:xfrm>
          <a:prstGeom prst="rect">
            <a:avLst/>
          </a:prstGeom>
          <a:solidFill>
            <a:schemeClr val="bg1">
              <a:lumMod val="75000"/>
              <a:alpha val="1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308" name="矩形 307"/>
          <p:cNvSpPr/>
          <p:nvPr/>
        </p:nvSpPr>
        <p:spPr bwMode="auto">
          <a:xfrm>
            <a:off x="4538565" y="1942799"/>
            <a:ext cx="3387456" cy="4480511"/>
          </a:xfrm>
          <a:prstGeom prst="rect">
            <a:avLst/>
          </a:prstGeom>
          <a:solidFill>
            <a:schemeClr val="bg1">
              <a:lumMod val="75000"/>
              <a:alpha val="1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307" name="矩形 306"/>
          <p:cNvSpPr/>
          <p:nvPr/>
        </p:nvSpPr>
        <p:spPr bwMode="auto">
          <a:xfrm>
            <a:off x="667874" y="1942799"/>
            <a:ext cx="3387456" cy="4480511"/>
          </a:xfrm>
          <a:prstGeom prst="rect">
            <a:avLst/>
          </a:prstGeom>
          <a:solidFill>
            <a:schemeClr val="bg1">
              <a:lumMod val="75000"/>
              <a:alpha val="10000"/>
            </a:schemeClr>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sp>
        <p:nvSpPr>
          <p:cNvPr id="2" name="标题 1"/>
          <p:cNvSpPr>
            <a:spLocks noGrp="1"/>
          </p:cNvSpPr>
          <p:nvPr>
            <p:ph type="title"/>
          </p:nvPr>
        </p:nvSpPr>
        <p:spPr/>
        <p:txBody>
          <a:bodyPr/>
          <a:lstStyle/>
          <a:p>
            <a:r>
              <a:rPr lang="en-US" altLang="zh-CN" dirty="0" err="1">
                <a:latin typeface="+mn-lt"/>
                <a:cs typeface="+mn-ea"/>
                <a:sym typeface="+mn-lt"/>
              </a:rPr>
              <a:t>Pourquoi</a:t>
            </a:r>
            <a:r>
              <a:rPr lang="en-US" altLang="zh-CN" dirty="0">
                <a:latin typeface="+mn-lt"/>
                <a:cs typeface="+mn-ea"/>
                <a:sym typeface="+mn-lt"/>
              </a:rPr>
              <a:t> </a:t>
            </a:r>
            <a:r>
              <a:rPr lang="en-US" altLang="zh-CN" dirty="0" err="1">
                <a:latin typeface="+mn-lt"/>
                <a:cs typeface="+mn-ea"/>
                <a:sym typeface="+mn-lt"/>
              </a:rPr>
              <a:t>Dahua</a:t>
            </a:r>
            <a:endParaRPr lang="zh-CN" altLang="en-US" dirty="0">
              <a:latin typeface="+mn-lt"/>
              <a:cs typeface="+mn-ea"/>
              <a:sym typeface="+mn-lt"/>
            </a:endParaRPr>
          </a:p>
        </p:txBody>
      </p:sp>
      <p:grpSp>
        <p:nvGrpSpPr>
          <p:cNvPr id="6" name="组合 5"/>
          <p:cNvGrpSpPr/>
          <p:nvPr/>
        </p:nvGrpSpPr>
        <p:grpSpPr>
          <a:xfrm>
            <a:off x="9418602" y="2840034"/>
            <a:ext cx="1472400" cy="1472400"/>
            <a:chOff x="9210185" y="2516081"/>
            <a:chExt cx="1785600" cy="1969200"/>
          </a:xfrm>
        </p:grpSpPr>
        <p:sp>
          <p:nvSpPr>
            <p:cNvPr id="29" name="Shape 148"/>
            <p:cNvSpPr/>
            <p:nvPr/>
          </p:nvSpPr>
          <p:spPr>
            <a:xfrm>
              <a:off x="9210185" y="2516081"/>
              <a:ext cx="1785600" cy="1969200"/>
            </a:xfrm>
            <a:custGeom>
              <a:avLst/>
              <a:gdLst/>
              <a:ahLst/>
              <a:cxnLst>
                <a:cxn ang="0">
                  <a:pos x="wd2" y="hd2"/>
                </a:cxn>
                <a:cxn ang="5400000">
                  <a:pos x="wd2" y="hd2"/>
                </a:cxn>
                <a:cxn ang="10800000">
                  <a:pos x="wd2" y="hd2"/>
                </a:cxn>
                <a:cxn ang="16200000">
                  <a:pos x="wd2" y="hd2"/>
                </a:cxn>
              </a:cxnLst>
              <a:rect l="0" t="0" r="r" b="b"/>
              <a:pathLst>
                <a:path w="21596" h="21593" extrusionOk="0">
                  <a:moveTo>
                    <a:pt x="1092" y="4742"/>
                  </a:moveTo>
                  <a:lnTo>
                    <a:pt x="9180" y="528"/>
                  </a:lnTo>
                  <a:cubicBezTo>
                    <a:pt x="9459" y="385"/>
                    <a:pt x="9748" y="262"/>
                    <a:pt x="10042" y="160"/>
                  </a:cubicBezTo>
                  <a:cubicBezTo>
                    <a:pt x="10303" y="70"/>
                    <a:pt x="10577" y="-7"/>
                    <a:pt x="10864" y="0"/>
                  </a:cubicBezTo>
                  <a:cubicBezTo>
                    <a:pt x="11119" y="7"/>
                    <a:pt x="11362" y="80"/>
                    <a:pt x="11594" y="169"/>
                  </a:cubicBezTo>
                  <a:cubicBezTo>
                    <a:pt x="11881" y="278"/>
                    <a:pt x="12157" y="412"/>
                    <a:pt x="12419" y="569"/>
                  </a:cubicBezTo>
                  <a:lnTo>
                    <a:pt x="19879" y="4387"/>
                  </a:lnTo>
                  <a:cubicBezTo>
                    <a:pt x="20200" y="4546"/>
                    <a:pt x="20498" y="4733"/>
                    <a:pt x="20770" y="4942"/>
                  </a:cubicBezTo>
                  <a:cubicBezTo>
                    <a:pt x="20998" y="5118"/>
                    <a:pt x="21215" y="5315"/>
                    <a:pt x="21349" y="5564"/>
                  </a:cubicBezTo>
                  <a:cubicBezTo>
                    <a:pt x="21482" y="5812"/>
                    <a:pt x="21517" y="6088"/>
                    <a:pt x="21544" y="6359"/>
                  </a:cubicBezTo>
                  <a:cubicBezTo>
                    <a:pt x="21566" y="6590"/>
                    <a:pt x="21584" y="6822"/>
                    <a:pt x="21596" y="7055"/>
                  </a:cubicBezTo>
                  <a:lnTo>
                    <a:pt x="21596" y="14541"/>
                  </a:lnTo>
                  <a:cubicBezTo>
                    <a:pt x="21595" y="14806"/>
                    <a:pt x="21576" y="15070"/>
                    <a:pt x="21538" y="15331"/>
                  </a:cubicBezTo>
                  <a:cubicBezTo>
                    <a:pt x="21504" y="15566"/>
                    <a:pt x="21455" y="15801"/>
                    <a:pt x="21346" y="16020"/>
                  </a:cubicBezTo>
                  <a:cubicBezTo>
                    <a:pt x="21220" y="16272"/>
                    <a:pt x="21024" y="16484"/>
                    <a:pt x="20807" y="16671"/>
                  </a:cubicBezTo>
                  <a:cubicBezTo>
                    <a:pt x="20551" y="16891"/>
                    <a:pt x="20260" y="17080"/>
                    <a:pt x="19939" y="17231"/>
                  </a:cubicBezTo>
                  <a:lnTo>
                    <a:pt x="13910" y="20346"/>
                  </a:lnTo>
                  <a:cubicBezTo>
                    <a:pt x="13476" y="20557"/>
                    <a:pt x="13049" y="20773"/>
                    <a:pt x="12630" y="20995"/>
                  </a:cubicBezTo>
                  <a:cubicBezTo>
                    <a:pt x="12087" y="21283"/>
                    <a:pt x="11523" y="21593"/>
                    <a:pt x="10881" y="21593"/>
                  </a:cubicBezTo>
                  <a:cubicBezTo>
                    <a:pt x="10428" y="21593"/>
                    <a:pt x="10008" y="21438"/>
                    <a:pt x="9609" y="21276"/>
                  </a:cubicBezTo>
                  <a:cubicBezTo>
                    <a:pt x="8943" y="21005"/>
                    <a:pt x="8289" y="20696"/>
                    <a:pt x="7650" y="20346"/>
                  </a:cubicBezTo>
                  <a:lnTo>
                    <a:pt x="1772" y="17197"/>
                  </a:lnTo>
                  <a:cubicBezTo>
                    <a:pt x="1505" y="17049"/>
                    <a:pt x="1247" y="16891"/>
                    <a:pt x="999" y="16723"/>
                  </a:cubicBezTo>
                  <a:cubicBezTo>
                    <a:pt x="717" y="16533"/>
                    <a:pt x="440" y="16323"/>
                    <a:pt x="273" y="16039"/>
                  </a:cubicBezTo>
                  <a:cubicBezTo>
                    <a:pt x="125" y="15790"/>
                    <a:pt x="78" y="15510"/>
                    <a:pt x="47" y="15236"/>
                  </a:cubicBezTo>
                  <a:cubicBezTo>
                    <a:pt x="14" y="14947"/>
                    <a:pt x="-2" y="14653"/>
                    <a:pt x="0" y="14357"/>
                  </a:cubicBezTo>
                  <a:lnTo>
                    <a:pt x="0" y="7059"/>
                  </a:lnTo>
                  <a:cubicBezTo>
                    <a:pt x="-4" y="6767"/>
                    <a:pt x="16" y="6477"/>
                    <a:pt x="58" y="6192"/>
                  </a:cubicBezTo>
                  <a:cubicBezTo>
                    <a:pt x="97" y="5928"/>
                    <a:pt x="157" y="5660"/>
                    <a:pt x="311" y="5426"/>
                  </a:cubicBezTo>
                  <a:cubicBezTo>
                    <a:pt x="403" y="5287"/>
                    <a:pt x="525" y="5168"/>
                    <a:pt x="654" y="5058"/>
                  </a:cubicBezTo>
                  <a:cubicBezTo>
                    <a:pt x="790" y="4943"/>
                    <a:pt x="936" y="4837"/>
                    <a:pt x="1092" y="4742"/>
                  </a:cubicBezTo>
                  <a:close/>
                </a:path>
              </a:pathLst>
            </a:custGeom>
            <a:noFill/>
            <a:ln w="76200" cmpd="sng">
              <a:solidFill>
                <a:schemeClr val="tx1">
                  <a:lumMod val="85000"/>
                  <a:lumOff val="15000"/>
                </a:schemeClr>
              </a:solidFill>
              <a:prstDash val="solid"/>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sz="2400"/>
              </a:pPr>
              <a:endParaRPr kumimoji="0" sz="2400" b="0" i="0" u="none" strike="noStrike" kern="1200" cap="none" spc="0" normalizeH="0" baseline="0" noProof="0">
                <a:ln>
                  <a:noFill/>
                </a:ln>
                <a:solidFill>
                  <a:prstClr val="black"/>
                </a:solidFill>
                <a:effectLst/>
                <a:uLnTx/>
                <a:uFillTx/>
                <a:cs typeface="+mn-ea"/>
                <a:sym typeface="+mn-lt"/>
              </a:endParaRPr>
            </a:p>
          </p:txBody>
        </p:sp>
        <p:grpSp>
          <p:nvGrpSpPr>
            <p:cNvPr id="3" name="组合 2"/>
            <p:cNvGrpSpPr/>
            <p:nvPr/>
          </p:nvGrpSpPr>
          <p:grpSpPr>
            <a:xfrm>
              <a:off x="9555135" y="3078873"/>
              <a:ext cx="1017031" cy="779978"/>
              <a:chOff x="7110878" y="2320702"/>
              <a:chExt cx="1381819" cy="1138250"/>
            </a:xfrm>
          </p:grpSpPr>
          <p:sp>
            <p:nvSpPr>
              <p:cNvPr id="55" name="Freeform 15"/>
              <p:cNvSpPr/>
              <p:nvPr/>
            </p:nvSpPr>
            <p:spPr bwMode="auto">
              <a:xfrm>
                <a:off x="7695494" y="2481186"/>
                <a:ext cx="797203" cy="781618"/>
              </a:xfrm>
              <a:custGeom>
                <a:avLst/>
                <a:gdLst>
                  <a:gd name="T0" fmla="*/ 480 w 480"/>
                  <a:gd name="T1" fmla="*/ 516 h 526"/>
                  <a:gd name="T2" fmla="*/ 480 w 480"/>
                  <a:gd name="T3" fmla="*/ 0 h 526"/>
                  <a:gd name="T4" fmla="*/ 0 w 480"/>
                  <a:gd name="T5" fmla="*/ 0 h 526"/>
                  <a:gd name="T6" fmla="*/ 0 w 480"/>
                  <a:gd name="T7" fmla="*/ 526 h 526"/>
                  <a:gd name="T8" fmla="*/ 480 w 480"/>
                  <a:gd name="T9" fmla="*/ 516 h 526"/>
                </a:gdLst>
                <a:ahLst/>
                <a:cxnLst>
                  <a:cxn ang="0">
                    <a:pos x="T0" y="T1"/>
                  </a:cxn>
                  <a:cxn ang="0">
                    <a:pos x="T2" y="T3"/>
                  </a:cxn>
                  <a:cxn ang="0">
                    <a:pos x="T4" y="T5"/>
                  </a:cxn>
                  <a:cxn ang="0">
                    <a:pos x="T6" y="T7"/>
                  </a:cxn>
                  <a:cxn ang="0">
                    <a:pos x="T8" y="T9"/>
                  </a:cxn>
                </a:cxnLst>
                <a:rect l="0" t="0" r="r" b="b"/>
                <a:pathLst>
                  <a:path w="480" h="526">
                    <a:moveTo>
                      <a:pt x="480" y="516"/>
                    </a:moveTo>
                    <a:lnTo>
                      <a:pt x="480" y="0"/>
                    </a:lnTo>
                    <a:lnTo>
                      <a:pt x="0" y="0"/>
                    </a:lnTo>
                    <a:lnTo>
                      <a:pt x="0" y="526"/>
                    </a:lnTo>
                    <a:lnTo>
                      <a:pt x="480" y="516"/>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56" name="Freeform 16"/>
              <p:cNvSpPr/>
              <p:nvPr/>
            </p:nvSpPr>
            <p:spPr bwMode="auto">
              <a:xfrm>
                <a:off x="7695494" y="2481186"/>
                <a:ext cx="797203" cy="781618"/>
              </a:xfrm>
              <a:custGeom>
                <a:avLst/>
                <a:gdLst>
                  <a:gd name="T0" fmla="*/ 480 w 480"/>
                  <a:gd name="T1" fmla="*/ 516 h 526"/>
                  <a:gd name="T2" fmla="*/ 480 w 480"/>
                  <a:gd name="T3" fmla="*/ 0 h 526"/>
                  <a:gd name="T4" fmla="*/ 0 w 480"/>
                  <a:gd name="T5" fmla="*/ 0 h 526"/>
                  <a:gd name="T6" fmla="*/ 0 w 480"/>
                  <a:gd name="T7" fmla="*/ 526 h 526"/>
                  <a:gd name="T8" fmla="*/ 480 w 480"/>
                  <a:gd name="T9" fmla="*/ 516 h 526"/>
                </a:gdLst>
                <a:ahLst/>
                <a:cxnLst>
                  <a:cxn ang="0">
                    <a:pos x="T0" y="T1"/>
                  </a:cxn>
                  <a:cxn ang="0">
                    <a:pos x="T2" y="T3"/>
                  </a:cxn>
                  <a:cxn ang="0">
                    <a:pos x="T4" y="T5"/>
                  </a:cxn>
                  <a:cxn ang="0">
                    <a:pos x="T6" y="T7"/>
                  </a:cxn>
                  <a:cxn ang="0">
                    <a:pos x="T8" y="T9"/>
                  </a:cxn>
                </a:cxnLst>
                <a:rect l="0" t="0" r="r" b="b"/>
                <a:pathLst>
                  <a:path w="480" h="526">
                    <a:moveTo>
                      <a:pt x="480" y="516"/>
                    </a:moveTo>
                    <a:lnTo>
                      <a:pt x="480" y="0"/>
                    </a:lnTo>
                    <a:lnTo>
                      <a:pt x="0" y="0"/>
                    </a:lnTo>
                    <a:lnTo>
                      <a:pt x="0" y="526"/>
                    </a:lnTo>
                    <a:lnTo>
                      <a:pt x="480" y="5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57" name="Freeform 17"/>
              <p:cNvSpPr/>
              <p:nvPr/>
            </p:nvSpPr>
            <p:spPr bwMode="auto">
              <a:xfrm>
                <a:off x="7695494" y="3028022"/>
                <a:ext cx="797203" cy="323941"/>
              </a:xfrm>
              <a:custGeom>
                <a:avLst/>
                <a:gdLst>
                  <a:gd name="T0" fmla="*/ 240 w 480"/>
                  <a:gd name="T1" fmla="*/ 0 h 218"/>
                  <a:gd name="T2" fmla="*/ 240 w 480"/>
                  <a:gd name="T3" fmla="*/ 0 h 218"/>
                  <a:gd name="T4" fmla="*/ 192 w 480"/>
                  <a:gd name="T5" fmla="*/ 2 h 218"/>
                  <a:gd name="T6" fmla="*/ 146 w 480"/>
                  <a:gd name="T7" fmla="*/ 8 h 218"/>
                  <a:gd name="T8" fmla="*/ 106 w 480"/>
                  <a:gd name="T9" fmla="*/ 18 h 218"/>
                  <a:gd name="T10" fmla="*/ 88 w 480"/>
                  <a:gd name="T11" fmla="*/ 24 h 218"/>
                  <a:gd name="T12" fmla="*/ 70 w 480"/>
                  <a:gd name="T13" fmla="*/ 32 h 218"/>
                  <a:gd name="T14" fmla="*/ 54 w 480"/>
                  <a:gd name="T15" fmla="*/ 40 h 218"/>
                  <a:gd name="T16" fmla="*/ 42 w 480"/>
                  <a:gd name="T17" fmla="*/ 48 h 218"/>
                  <a:gd name="T18" fmla="*/ 30 w 480"/>
                  <a:gd name="T19" fmla="*/ 58 h 218"/>
                  <a:gd name="T20" fmla="*/ 20 w 480"/>
                  <a:gd name="T21" fmla="*/ 66 h 218"/>
                  <a:gd name="T22" fmla="*/ 10 w 480"/>
                  <a:gd name="T23" fmla="*/ 76 h 218"/>
                  <a:gd name="T24" fmla="*/ 6 w 480"/>
                  <a:gd name="T25" fmla="*/ 88 h 218"/>
                  <a:gd name="T26" fmla="*/ 2 w 480"/>
                  <a:gd name="T27" fmla="*/ 98 h 218"/>
                  <a:gd name="T28" fmla="*/ 0 w 480"/>
                  <a:gd name="T29" fmla="*/ 110 h 218"/>
                  <a:gd name="T30" fmla="*/ 0 w 480"/>
                  <a:gd name="T31" fmla="*/ 110 h 218"/>
                  <a:gd name="T32" fmla="*/ 2 w 480"/>
                  <a:gd name="T33" fmla="*/ 120 h 218"/>
                  <a:gd name="T34" fmla="*/ 6 w 480"/>
                  <a:gd name="T35" fmla="*/ 132 h 218"/>
                  <a:gd name="T36" fmla="*/ 10 w 480"/>
                  <a:gd name="T37" fmla="*/ 142 h 218"/>
                  <a:gd name="T38" fmla="*/ 20 w 480"/>
                  <a:gd name="T39" fmla="*/ 152 h 218"/>
                  <a:gd name="T40" fmla="*/ 30 w 480"/>
                  <a:gd name="T41" fmla="*/ 162 h 218"/>
                  <a:gd name="T42" fmla="*/ 42 w 480"/>
                  <a:gd name="T43" fmla="*/ 170 h 218"/>
                  <a:gd name="T44" fmla="*/ 54 w 480"/>
                  <a:gd name="T45" fmla="*/ 178 h 218"/>
                  <a:gd name="T46" fmla="*/ 70 w 480"/>
                  <a:gd name="T47" fmla="*/ 186 h 218"/>
                  <a:gd name="T48" fmla="*/ 88 w 480"/>
                  <a:gd name="T49" fmla="*/ 194 h 218"/>
                  <a:gd name="T50" fmla="*/ 106 w 480"/>
                  <a:gd name="T51" fmla="*/ 200 h 218"/>
                  <a:gd name="T52" fmla="*/ 146 w 480"/>
                  <a:gd name="T53" fmla="*/ 210 h 218"/>
                  <a:gd name="T54" fmla="*/ 192 w 480"/>
                  <a:gd name="T55" fmla="*/ 216 h 218"/>
                  <a:gd name="T56" fmla="*/ 240 w 480"/>
                  <a:gd name="T57" fmla="*/ 218 h 218"/>
                  <a:gd name="T58" fmla="*/ 240 w 480"/>
                  <a:gd name="T59" fmla="*/ 218 h 218"/>
                  <a:gd name="T60" fmla="*/ 288 w 480"/>
                  <a:gd name="T61" fmla="*/ 216 h 218"/>
                  <a:gd name="T62" fmla="*/ 334 w 480"/>
                  <a:gd name="T63" fmla="*/ 210 h 218"/>
                  <a:gd name="T64" fmla="*/ 374 w 480"/>
                  <a:gd name="T65" fmla="*/ 200 h 218"/>
                  <a:gd name="T66" fmla="*/ 392 w 480"/>
                  <a:gd name="T67" fmla="*/ 194 h 218"/>
                  <a:gd name="T68" fmla="*/ 410 w 480"/>
                  <a:gd name="T69" fmla="*/ 186 h 218"/>
                  <a:gd name="T70" fmla="*/ 426 w 480"/>
                  <a:gd name="T71" fmla="*/ 178 h 218"/>
                  <a:gd name="T72" fmla="*/ 440 w 480"/>
                  <a:gd name="T73" fmla="*/ 170 h 218"/>
                  <a:gd name="T74" fmla="*/ 452 w 480"/>
                  <a:gd name="T75" fmla="*/ 162 h 218"/>
                  <a:gd name="T76" fmla="*/ 462 w 480"/>
                  <a:gd name="T77" fmla="*/ 152 h 218"/>
                  <a:gd name="T78" fmla="*/ 470 w 480"/>
                  <a:gd name="T79" fmla="*/ 142 h 218"/>
                  <a:gd name="T80" fmla="*/ 476 w 480"/>
                  <a:gd name="T81" fmla="*/ 132 h 218"/>
                  <a:gd name="T82" fmla="*/ 478 w 480"/>
                  <a:gd name="T83" fmla="*/ 120 h 218"/>
                  <a:gd name="T84" fmla="*/ 480 w 480"/>
                  <a:gd name="T85" fmla="*/ 110 h 218"/>
                  <a:gd name="T86" fmla="*/ 480 w 480"/>
                  <a:gd name="T87" fmla="*/ 110 h 218"/>
                  <a:gd name="T88" fmla="*/ 478 w 480"/>
                  <a:gd name="T89" fmla="*/ 98 h 218"/>
                  <a:gd name="T90" fmla="*/ 476 w 480"/>
                  <a:gd name="T91" fmla="*/ 88 h 218"/>
                  <a:gd name="T92" fmla="*/ 470 w 480"/>
                  <a:gd name="T93" fmla="*/ 76 h 218"/>
                  <a:gd name="T94" fmla="*/ 462 w 480"/>
                  <a:gd name="T95" fmla="*/ 66 h 218"/>
                  <a:gd name="T96" fmla="*/ 452 w 480"/>
                  <a:gd name="T97" fmla="*/ 58 h 218"/>
                  <a:gd name="T98" fmla="*/ 440 w 480"/>
                  <a:gd name="T99" fmla="*/ 48 h 218"/>
                  <a:gd name="T100" fmla="*/ 426 w 480"/>
                  <a:gd name="T101" fmla="*/ 40 h 218"/>
                  <a:gd name="T102" fmla="*/ 410 w 480"/>
                  <a:gd name="T103" fmla="*/ 32 h 218"/>
                  <a:gd name="T104" fmla="*/ 392 w 480"/>
                  <a:gd name="T105" fmla="*/ 24 h 218"/>
                  <a:gd name="T106" fmla="*/ 374 w 480"/>
                  <a:gd name="T107" fmla="*/ 18 h 218"/>
                  <a:gd name="T108" fmla="*/ 334 w 480"/>
                  <a:gd name="T109" fmla="*/ 8 h 218"/>
                  <a:gd name="T110" fmla="*/ 288 w 480"/>
                  <a:gd name="T111" fmla="*/ 2 h 218"/>
                  <a:gd name="T112" fmla="*/ 240 w 480"/>
                  <a:gd name="T11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18">
                    <a:moveTo>
                      <a:pt x="240" y="0"/>
                    </a:moveTo>
                    <a:lnTo>
                      <a:pt x="240" y="0"/>
                    </a:lnTo>
                    <a:lnTo>
                      <a:pt x="192" y="2"/>
                    </a:lnTo>
                    <a:lnTo>
                      <a:pt x="146" y="8"/>
                    </a:lnTo>
                    <a:lnTo>
                      <a:pt x="106" y="18"/>
                    </a:lnTo>
                    <a:lnTo>
                      <a:pt x="88" y="24"/>
                    </a:lnTo>
                    <a:lnTo>
                      <a:pt x="70" y="32"/>
                    </a:lnTo>
                    <a:lnTo>
                      <a:pt x="54" y="40"/>
                    </a:lnTo>
                    <a:lnTo>
                      <a:pt x="42" y="48"/>
                    </a:lnTo>
                    <a:lnTo>
                      <a:pt x="30" y="58"/>
                    </a:lnTo>
                    <a:lnTo>
                      <a:pt x="20" y="66"/>
                    </a:lnTo>
                    <a:lnTo>
                      <a:pt x="10" y="76"/>
                    </a:lnTo>
                    <a:lnTo>
                      <a:pt x="6" y="88"/>
                    </a:lnTo>
                    <a:lnTo>
                      <a:pt x="2" y="98"/>
                    </a:lnTo>
                    <a:lnTo>
                      <a:pt x="0" y="110"/>
                    </a:lnTo>
                    <a:lnTo>
                      <a:pt x="0" y="110"/>
                    </a:lnTo>
                    <a:lnTo>
                      <a:pt x="2" y="120"/>
                    </a:lnTo>
                    <a:lnTo>
                      <a:pt x="6" y="132"/>
                    </a:lnTo>
                    <a:lnTo>
                      <a:pt x="10" y="142"/>
                    </a:lnTo>
                    <a:lnTo>
                      <a:pt x="20" y="152"/>
                    </a:lnTo>
                    <a:lnTo>
                      <a:pt x="30" y="162"/>
                    </a:lnTo>
                    <a:lnTo>
                      <a:pt x="42" y="170"/>
                    </a:lnTo>
                    <a:lnTo>
                      <a:pt x="54" y="178"/>
                    </a:lnTo>
                    <a:lnTo>
                      <a:pt x="70" y="186"/>
                    </a:lnTo>
                    <a:lnTo>
                      <a:pt x="88" y="194"/>
                    </a:lnTo>
                    <a:lnTo>
                      <a:pt x="106" y="200"/>
                    </a:lnTo>
                    <a:lnTo>
                      <a:pt x="146" y="210"/>
                    </a:lnTo>
                    <a:lnTo>
                      <a:pt x="192" y="216"/>
                    </a:lnTo>
                    <a:lnTo>
                      <a:pt x="240" y="218"/>
                    </a:lnTo>
                    <a:lnTo>
                      <a:pt x="240" y="218"/>
                    </a:lnTo>
                    <a:lnTo>
                      <a:pt x="288" y="216"/>
                    </a:lnTo>
                    <a:lnTo>
                      <a:pt x="334" y="210"/>
                    </a:lnTo>
                    <a:lnTo>
                      <a:pt x="374" y="200"/>
                    </a:lnTo>
                    <a:lnTo>
                      <a:pt x="392" y="194"/>
                    </a:lnTo>
                    <a:lnTo>
                      <a:pt x="410" y="186"/>
                    </a:lnTo>
                    <a:lnTo>
                      <a:pt x="426" y="178"/>
                    </a:lnTo>
                    <a:lnTo>
                      <a:pt x="440" y="170"/>
                    </a:lnTo>
                    <a:lnTo>
                      <a:pt x="452" y="162"/>
                    </a:lnTo>
                    <a:lnTo>
                      <a:pt x="462" y="152"/>
                    </a:lnTo>
                    <a:lnTo>
                      <a:pt x="470" y="142"/>
                    </a:lnTo>
                    <a:lnTo>
                      <a:pt x="476" y="132"/>
                    </a:lnTo>
                    <a:lnTo>
                      <a:pt x="478" y="120"/>
                    </a:lnTo>
                    <a:lnTo>
                      <a:pt x="480" y="110"/>
                    </a:lnTo>
                    <a:lnTo>
                      <a:pt x="480" y="110"/>
                    </a:lnTo>
                    <a:lnTo>
                      <a:pt x="478" y="98"/>
                    </a:lnTo>
                    <a:lnTo>
                      <a:pt x="476" y="88"/>
                    </a:lnTo>
                    <a:lnTo>
                      <a:pt x="470" y="76"/>
                    </a:lnTo>
                    <a:lnTo>
                      <a:pt x="462" y="66"/>
                    </a:lnTo>
                    <a:lnTo>
                      <a:pt x="452" y="58"/>
                    </a:lnTo>
                    <a:lnTo>
                      <a:pt x="440" y="48"/>
                    </a:lnTo>
                    <a:lnTo>
                      <a:pt x="426" y="40"/>
                    </a:lnTo>
                    <a:lnTo>
                      <a:pt x="410" y="32"/>
                    </a:lnTo>
                    <a:lnTo>
                      <a:pt x="392" y="24"/>
                    </a:lnTo>
                    <a:lnTo>
                      <a:pt x="374" y="18"/>
                    </a:lnTo>
                    <a:lnTo>
                      <a:pt x="334" y="8"/>
                    </a:lnTo>
                    <a:lnTo>
                      <a:pt x="288" y="2"/>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58" name="Freeform 18"/>
              <p:cNvSpPr/>
              <p:nvPr/>
            </p:nvSpPr>
            <p:spPr bwMode="auto">
              <a:xfrm>
                <a:off x="7695494" y="3028022"/>
                <a:ext cx="797203" cy="323941"/>
              </a:xfrm>
              <a:custGeom>
                <a:avLst/>
                <a:gdLst>
                  <a:gd name="T0" fmla="*/ 240 w 480"/>
                  <a:gd name="T1" fmla="*/ 0 h 218"/>
                  <a:gd name="T2" fmla="*/ 240 w 480"/>
                  <a:gd name="T3" fmla="*/ 0 h 218"/>
                  <a:gd name="T4" fmla="*/ 192 w 480"/>
                  <a:gd name="T5" fmla="*/ 2 h 218"/>
                  <a:gd name="T6" fmla="*/ 146 w 480"/>
                  <a:gd name="T7" fmla="*/ 8 h 218"/>
                  <a:gd name="T8" fmla="*/ 106 w 480"/>
                  <a:gd name="T9" fmla="*/ 18 h 218"/>
                  <a:gd name="T10" fmla="*/ 88 w 480"/>
                  <a:gd name="T11" fmla="*/ 24 h 218"/>
                  <a:gd name="T12" fmla="*/ 70 w 480"/>
                  <a:gd name="T13" fmla="*/ 32 h 218"/>
                  <a:gd name="T14" fmla="*/ 54 w 480"/>
                  <a:gd name="T15" fmla="*/ 40 h 218"/>
                  <a:gd name="T16" fmla="*/ 42 w 480"/>
                  <a:gd name="T17" fmla="*/ 48 h 218"/>
                  <a:gd name="T18" fmla="*/ 30 w 480"/>
                  <a:gd name="T19" fmla="*/ 58 h 218"/>
                  <a:gd name="T20" fmla="*/ 20 w 480"/>
                  <a:gd name="T21" fmla="*/ 66 h 218"/>
                  <a:gd name="T22" fmla="*/ 10 w 480"/>
                  <a:gd name="T23" fmla="*/ 76 h 218"/>
                  <a:gd name="T24" fmla="*/ 6 w 480"/>
                  <a:gd name="T25" fmla="*/ 88 h 218"/>
                  <a:gd name="T26" fmla="*/ 2 w 480"/>
                  <a:gd name="T27" fmla="*/ 98 h 218"/>
                  <a:gd name="T28" fmla="*/ 0 w 480"/>
                  <a:gd name="T29" fmla="*/ 110 h 218"/>
                  <a:gd name="T30" fmla="*/ 0 w 480"/>
                  <a:gd name="T31" fmla="*/ 110 h 218"/>
                  <a:gd name="T32" fmla="*/ 2 w 480"/>
                  <a:gd name="T33" fmla="*/ 120 h 218"/>
                  <a:gd name="T34" fmla="*/ 6 w 480"/>
                  <a:gd name="T35" fmla="*/ 132 h 218"/>
                  <a:gd name="T36" fmla="*/ 10 w 480"/>
                  <a:gd name="T37" fmla="*/ 142 h 218"/>
                  <a:gd name="T38" fmla="*/ 20 w 480"/>
                  <a:gd name="T39" fmla="*/ 152 h 218"/>
                  <a:gd name="T40" fmla="*/ 30 w 480"/>
                  <a:gd name="T41" fmla="*/ 162 h 218"/>
                  <a:gd name="T42" fmla="*/ 42 w 480"/>
                  <a:gd name="T43" fmla="*/ 170 h 218"/>
                  <a:gd name="T44" fmla="*/ 54 w 480"/>
                  <a:gd name="T45" fmla="*/ 178 h 218"/>
                  <a:gd name="T46" fmla="*/ 70 w 480"/>
                  <a:gd name="T47" fmla="*/ 186 h 218"/>
                  <a:gd name="T48" fmla="*/ 88 w 480"/>
                  <a:gd name="T49" fmla="*/ 194 h 218"/>
                  <a:gd name="T50" fmla="*/ 106 w 480"/>
                  <a:gd name="T51" fmla="*/ 200 h 218"/>
                  <a:gd name="T52" fmla="*/ 146 w 480"/>
                  <a:gd name="T53" fmla="*/ 210 h 218"/>
                  <a:gd name="T54" fmla="*/ 192 w 480"/>
                  <a:gd name="T55" fmla="*/ 216 h 218"/>
                  <a:gd name="T56" fmla="*/ 240 w 480"/>
                  <a:gd name="T57" fmla="*/ 218 h 218"/>
                  <a:gd name="T58" fmla="*/ 240 w 480"/>
                  <a:gd name="T59" fmla="*/ 218 h 218"/>
                  <a:gd name="T60" fmla="*/ 288 w 480"/>
                  <a:gd name="T61" fmla="*/ 216 h 218"/>
                  <a:gd name="T62" fmla="*/ 334 w 480"/>
                  <a:gd name="T63" fmla="*/ 210 h 218"/>
                  <a:gd name="T64" fmla="*/ 374 w 480"/>
                  <a:gd name="T65" fmla="*/ 200 h 218"/>
                  <a:gd name="T66" fmla="*/ 392 w 480"/>
                  <a:gd name="T67" fmla="*/ 194 h 218"/>
                  <a:gd name="T68" fmla="*/ 410 w 480"/>
                  <a:gd name="T69" fmla="*/ 186 h 218"/>
                  <a:gd name="T70" fmla="*/ 426 w 480"/>
                  <a:gd name="T71" fmla="*/ 178 h 218"/>
                  <a:gd name="T72" fmla="*/ 440 w 480"/>
                  <a:gd name="T73" fmla="*/ 170 h 218"/>
                  <a:gd name="T74" fmla="*/ 452 w 480"/>
                  <a:gd name="T75" fmla="*/ 162 h 218"/>
                  <a:gd name="T76" fmla="*/ 462 w 480"/>
                  <a:gd name="T77" fmla="*/ 152 h 218"/>
                  <a:gd name="T78" fmla="*/ 470 w 480"/>
                  <a:gd name="T79" fmla="*/ 142 h 218"/>
                  <a:gd name="T80" fmla="*/ 476 w 480"/>
                  <a:gd name="T81" fmla="*/ 132 h 218"/>
                  <a:gd name="T82" fmla="*/ 478 w 480"/>
                  <a:gd name="T83" fmla="*/ 120 h 218"/>
                  <a:gd name="T84" fmla="*/ 480 w 480"/>
                  <a:gd name="T85" fmla="*/ 110 h 218"/>
                  <a:gd name="T86" fmla="*/ 480 w 480"/>
                  <a:gd name="T87" fmla="*/ 110 h 218"/>
                  <a:gd name="T88" fmla="*/ 478 w 480"/>
                  <a:gd name="T89" fmla="*/ 98 h 218"/>
                  <a:gd name="T90" fmla="*/ 476 w 480"/>
                  <a:gd name="T91" fmla="*/ 88 h 218"/>
                  <a:gd name="T92" fmla="*/ 470 w 480"/>
                  <a:gd name="T93" fmla="*/ 76 h 218"/>
                  <a:gd name="T94" fmla="*/ 462 w 480"/>
                  <a:gd name="T95" fmla="*/ 66 h 218"/>
                  <a:gd name="T96" fmla="*/ 452 w 480"/>
                  <a:gd name="T97" fmla="*/ 58 h 218"/>
                  <a:gd name="T98" fmla="*/ 440 w 480"/>
                  <a:gd name="T99" fmla="*/ 48 h 218"/>
                  <a:gd name="T100" fmla="*/ 426 w 480"/>
                  <a:gd name="T101" fmla="*/ 40 h 218"/>
                  <a:gd name="T102" fmla="*/ 410 w 480"/>
                  <a:gd name="T103" fmla="*/ 32 h 218"/>
                  <a:gd name="T104" fmla="*/ 392 w 480"/>
                  <a:gd name="T105" fmla="*/ 24 h 218"/>
                  <a:gd name="T106" fmla="*/ 374 w 480"/>
                  <a:gd name="T107" fmla="*/ 18 h 218"/>
                  <a:gd name="T108" fmla="*/ 334 w 480"/>
                  <a:gd name="T109" fmla="*/ 8 h 218"/>
                  <a:gd name="T110" fmla="*/ 288 w 480"/>
                  <a:gd name="T111" fmla="*/ 2 h 218"/>
                  <a:gd name="T112" fmla="*/ 240 w 480"/>
                  <a:gd name="T11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18">
                    <a:moveTo>
                      <a:pt x="240" y="0"/>
                    </a:moveTo>
                    <a:lnTo>
                      <a:pt x="240" y="0"/>
                    </a:lnTo>
                    <a:lnTo>
                      <a:pt x="192" y="2"/>
                    </a:lnTo>
                    <a:lnTo>
                      <a:pt x="146" y="8"/>
                    </a:lnTo>
                    <a:lnTo>
                      <a:pt x="106" y="18"/>
                    </a:lnTo>
                    <a:lnTo>
                      <a:pt x="88" y="24"/>
                    </a:lnTo>
                    <a:lnTo>
                      <a:pt x="70" y="32"/>
                    </a:lnTo>
                    <a:lnTo>
                      <a:pt x="54" y="40"/>
                    </a:lnTo>
                    <a:lnTo>
                      <a:pt x="42" y="48"/>
                    </a:lnTo>
                    <a:lnTo>
                      <a:pt x="30" y="58"/>
                    </a:lnTo>
                    <a:lnTo>
                      <a:pt x="20" y="66"/>
                    </a:lnTo>
                    <a:lnTo>
                      <a:pt x="10" y="76"/>
                    </a:lnTo>
                    <a:lnTo>
                      <a:pt x="6" y="88"/>
                    </a:lnTo>
                    <a:lnTo>
                      <a:pt x="2" y="98"/>
                    </a:lnTo>
                    <a:lnTo>
                      <a:pt x="0" y="110"/>
                    </a:lnTo>
                    <a:lnTo>
                      <a:pt x="0" y="110"/>
                    </a:lnTo>
                    <a:lnTo>
                      <a:pt x="2" y="120"/>
                    </a:lnTo>
                    <a:lnTo>
                      <a:pt x="6" y="132"/>
                    </a:lnTo>
                    <a:lnTo>
                      <a:pt x="10" y="142"/>
                    </a:lnTo>
                    <a:lnTo>
                      <a:pt x="20" y="152"/>
                    </a:lnTo>
                    <a:lnTo>
                      <a:pt x="30" y="162"/>
                    </a:lnTo>
                    <a:lnTo>
                      <a:pt x="42" y="170"/>
                    </a:lnTo>
                    <a:lnTo>
                      <a:pt x="54" y="178"/>
                    </a:lnTo>
                    <a:lnTo>
                      <a:pt x="70" y="186"/>
                    </a:lnTo>
                    <a:lnTo>
                      <a:pt x="88" y="194"/>
                    </a:lnTo>
                    <a:lnTo>
                      <a:pt x="106" y="200"/>
                    </a:lnTo>
                    <a:lnTo>
                      <a:pt x="146" y="210"/>
                    </a:lnTo>
                    <a:lnTo>
                      <a:pt x="192" y="216"/>
                    </a:lnTo>
                    <a:lnTo>
                      <a:pt x="240" y="218"/>
                    </a:lnTo>
                    <a:lnTo>
                      <a:pt x="240" y="218"/>
                    </a:lnTo>
                    <a:lnTo>
                      <a:pt x="288" y="216"/>
                    </a:lnTo>
                    <a:lnTo>
                      <a:pt x="334" y="210"/>
                    </a:lnTo>
                    <a:lnTo>
                      <a:pt x="374" y="200"/>
                    </a:lnTo>
                    <a:lnTo>
                      <a:pt x="392" y="194"/>
                    </a:lnTo>
                    <a:lnTo>
                      <a:pt x="410" y="186"/>
                    </a:lnTo>
                    <a:lnTo>
                      <a:pt x="426" y="178"/>
                    </a:lnTo>
                    <a:lnTo>
                      <a:pt x="440" y="170"/>
                    </a:lnTo>
                    <a:lnTo>
                      <a:pt x="452" y="162"/>
                    </a:lnTo>
                    <a:lnTo>
                      <a:pt x="462" y="152"/>
                    </a:lnTo>
                    <a:lnTo>
                      <a:pt x="470" y="142"/>
                    </a:lnTo>
                    <a:lnTo>
                      <a:pt x="476" y="132"/>
                    </a:lnTo>
                    <a:lnTo>
                      <a:pt x="478" y="120"/>
                    </a:lnTo>
                    <a:lnTo>
                      <a:pt x="480" y="110"/>
                    </a:lnTo>
                    <a:lnTo>
                      <a:pt x="480" y="110"/>
                    </a:lnTo>
                    <a:lnTo>
                      <a:pt x="478" y="98"/>
                    </a:lnTo>
                    <a:lnTo>
                      <a:pt x="476" y="88"/>
                    </a:lnTo>
                    <a:lnTo>
                      <a:pt x="470" y="76"/>
                    </a:lnTo>
                    <a:lnTo>
                      <a:pt x="462" y="66"/>
                    </a:lnTo>
                    <a:lnTo>
                      <a:pt x="452" y="58"/>
                    </a:lnTo>
                    <a:lnTo>
                      <a:pt x="440" y="48"/>
                    </a:lnTo>
                    <a:lnTo>
                      <a:pt x="426" y="40"/>
                    </a:lnTo>
                    <a:lnTo>
                      <a:pt x="410" y="32"/>
                    </a:lnTo>
                    <a:lnTo>
                      <a:pt x="392" y="24"/>
                    </a:lnTo>
                    <a:lnTo>
                      <a:pt x="374" y="18"/>
                    </a:lnTo>
                    <a:lnTo>
                      <a:pt x="334" y="8"/>
                    </a:lnTo>
                    <a:lnTo>
                      <a:pt x="288" y="2"/>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59" name="Freeform 19"/>
              <p:cNvSpPr/>
              <p:nvPr/>
            </p:nvSpPr>
            <p:spPr bwMode="auto">
              <a:xfrm>
                <a:off x="7761927" y="3054769"/>
                <a:ext cx="664336" cy="243698"/>
              </a:xfrm>
              <a:custGeom>
                <a:avLst/>
                <a:gdLst>
                  <a:gd name="T0" fmla="*/ 200 w 400"/>
                  <a:gd name="T1" fmla="*/ 0 h 164"/>
                  <a:gd name="T2" fmla="*/ 200 w 400"/>
                  <a:gd name="T3" fmla="*/ 0 h 164"/>
                  <a:gd name="T4" fmla="*/ 160 w 400"/>
                  <a:gd name="T5" fmla="*/ 2 h 164"/>
                  <a:gd name="T6" fmla="*/ 122 w 400"/>
                  <a:gd name="T7" fmla="*/ 6 h 164"/>
                  <a:gd name="T8" fmla="*/ 88 w 400"/>
                  <a:gd name="T9" fmla="*/ 14 h 164"/>
                  <a:gd name="T10" fmla="*/ 58 w 400"/>
                  <a:gd name="T11" fmla="*/ 24 h 164"/>
                  <a:gd name="T12" fmla="*/ 34 w 400"/>
                  <a:gd name="T13" fmla="*/ 36 h 164"/>
                  <a:gd name="T14" fmla="*/ 24 w 400"/>
                  <a:gd name="T15" fmla="*/ 42 h 164"/>
                  <a:gd name="T16" fmla="*/ 16 w 400"/>
                  <a:gd name="T17" fmla="*/ 50 h 164"/>
                  <a:gd name="T18" fmla="*/ 10 w 400"/>
                  <a:gd name="T19" fmla="*/ 58 h 164"/>
                  <a:gd name="T20" fmla="*/ 4 w 400"/>
                  <a:gd name="T21" fmla="*/ 66 h 164"/>
                  <a:gd name="T22" fmla="*/ 2 w 400"/>
                  <a:gd name="T23" fmla="*/ 74 h 164"/>
                  <a:gd name="T24" fmla="*/ 0 w 400"/>
                  <a:gd name="T25" fmla="*/ 82 h 164"/>
                  <a:gd name="T26" fmla="*/ 0 w 400"/>
                  <a:gd name="T27" fmla="*/ 82 h 164"/>
                  <a:gd name="T28" fmla="*/ 2 w 400"/>
                  <a:gd name="T29" fmla="*/ 90 h 164"/>
                  <a:gd name="T30" fmla="*/ 4 w 400"/>
                  <a:gd name="T31" fmla="*/ 98 h 164"/>
                  <a:gd name="T32" fmla="*/ 10 w 400"/>
                  <a:gd name="T33" fmla="*/ 106 h 164"/>
                  <a:gd name="T34" fmla="*/ 16 w 400"/>
                  <a:gd name="T35" fmla="*/ 114 h 164"/>
                  <a:gd name="T36" fmla="*/ 24 w 400"/>
                  <a:gd name="T37" fmla="*/ 120 h 164"/>
                  <a:gd name="T38" fmla="*/ 34 w 400"/>
                  <a:gd name="T39" fmla="*/ 128 h 164"/>
                  <a:gd name="T40" fmla="*/ 58 w 400"/>
                  <a:gd name="T41" fmla="*/ 140 h 164"/>
                  <a:gd name="T42" fmla="*/ 88 w 400"/>
                  <a:gd name="T43" fmla="*/ 150 h 164"/>
                  <a:gd name="T44" fmla="*/ 122 w 400"/>
                  <a:gd name="T45" fmla="*/ 156 h 164"/>
                  <a:gd name="T46" fmla="*/ 160 w 400"/>
                  <a:gd name="T47" fmla="*/ 162 h 164"/>
                  <a:gd name="T48" fmla="*/ 200 w 400"/>
                  <a:gd name="T49" fmla="*/ 164 h 164"/>
                  <a:gd name="T50" fmla="*/ 200 w 400"/>
                  <a:gd name="T51" fmla="*/ 164 h 164"/>
                  <a:gd name="T52" fmla="*/ 240 w 400"/>
                  <a:gd name="T53" fmla="*/ 162 h 164"/>
                  <a:gd name="T54" fmla="*/ 278 w 400"/>
                  <a:gd name="T55" fmla="*/ 156 h 164"/>
                  <a:gd name="T56" fmla="*/ 312 w 400"/>
                  <a:gd name="T57" fmla="*/ 150 h 164"/>
                  <a:gd name="T58" fmla="*/ 342 w 400"/>
                  <a:gd name="T59" fmla="*/ 140 h 164"/>
                  <a:gd name="T60" fmla="*/ 366 w 400"/>
                  <a:gd name="T61" fmla="*/ 128 h 164"/>
                  <a:gd name="T62" fmla="*/ 376 w 400"/>
                  <a:gd name="T63" fmla="*/ 120 h 164"/>
                  <a:gd name="T64" fmla="*/ 384 w 400"/>
                  <a:gd name="T65" fmla="*/ 114 h 164"/>
                  <a:gd name="T66" fmla="*/ 392 w 400"/>
                  <a:gd name="T67" fmla="*/ 106 h 164"/>
                  <a:gd name="T68" fmla="*/ 396 w 400"/>
                  <a:gd name="T69" fmla="*/ 98 h 164"/>
                  <a:gd name="T70" fmla="*/ 400 w 400"/>
                  <a:gd name="T71" fmla="*/ 90 h 164"/>
                  <a:gd name="T72" fmla="*/ 400 w 400"/>
                  <a:gd name="T73" fmla="*/ 82 h 164"/>
                  <a:gd name="T74" fmla="*/ 400 w 400"/>
                  <a:gd name="T75" fmla="*/ 82 h 164"/>
                  <a:gd name="T76" fmla="*/ 400 w 400"/>
                  <a:gd name="T77" fmla="*/ 74 h 164"/>
                  <a:gd name="T78" fmla="*/ 396 w 400"/>
                  <a:gd name="T79" fmla="*/ 66 h 164"/>
                  <a:gd name="T80" fmla="*/ 392 w 400"/>
                  <a:gd name="T81" fmla="*/ 58 h 164"/>
                  <a:gd name="T82" fmla="*/ 384 w 400"/>
                  <a:gd name="T83" fmla="*/ 50 h 164"/>
                  <a:gd name="T84" fmla="*/ 376 w 400"/>
                  <a:gd name="T85" fmla="*/ 42 h 164"/>
                  <a:gd name="T86" fmla="*/ 366 w 400"/>
                  <a:gd name="T87" fmla="*/ 36 h 164"/>
                  <a:gd name="T88" fmla="*/ 342 w 400"/>
                  <a:gd name="T89" fmla="*/ 24 h 164"/>
                  <a:gd name="T90" fmla="*/ 312 w 400"/>
                  <a:gd name="T91" fmla="*/ 14 h 164"/>
                  <a:gd name="T92" fmla="*/ 278 w 400"/>
                  <a:gd name="T93" fmla="*/ 6 h 164"/>
                  <a:gd name="T94" fmla="*/ 240 w 400"/>
                  <a:gd name="T95" fmla="*/ 2 h 164"/>
                  <a:gd name="T96" fmla="*/ 200 w 400"/>
                  <a:gd name="T97" fmla="*/ 0 h 164"/>
                  <a:gd name="T98" fmla="*/ 200 w 400"/>
                  <a:gd name="T9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164">
                    <a:moveTo>
                      <a:pt x="200" y="0"/>
                    </a:moveTo>
                    <a:lnTo>
                      <a:pt x="200" y="0"/>
                    </a:lnTo>
                    <a:lnTo>
                      <a:pt x="160" y="2"/>
                    </a:lnTo>
                    <a:lnTo>
                      <a:pt x="122" y="6"/>
                    </a:lnTo>
                    <a:lnTo>
                      <a:pt x="88" y="14"/>
                    </a:lnTo>
                    <a:lnTo>
                      <a:pt x="58" y="24"/>
                    </a:lnTo>
                    <a:lnTo>
                      <a:pt x="34" y="36"/>
                    </a:lnTo>
                    <a:lnTo>
                      <a:pt x="24" y="42"/>
                    </a:lnTo>
                    <a:lnTo>
                      <a:pt x="16" y="50"/>
                    </a:lnTo>
                    <a:lnTo>
                      <a:pt x="10" y="58"/>
                    </a:lnTo>
                    <a:lnTo>
                      <a:pt x="4" y="66"/>
                    </a:lnTo>
                    <a:lnTo>
                      <a:pt x="2" y="74"/>
                    </a:lnTo>
                    <a:lnTo>
                      <a:pt x="0" y="82"/>
                    </a:lnTo>
                    <a:lnTo>
                      <a:pt x="0" y="82"/>
                    </a:lnTo>
                    <a:lnTo>
                      <a:pt x="2" y="90"/>
                    </a:lnTo>
                    <a:lnTo>
                      <a:pt x="4" y="98"/>
                    </a:lnTo>
                    <a:lnTo>
                      <a:pt x="10" y="106"/>
                    </a:lnTo>
                    <a:lnTo>
                      <a:pt x="16" y="114"/>
                    </a:lnTo>
                    <a:lnTo>
                      <a:pt x="24" y="120"/>
                    </a:lnTo>
                    <a:lnTo>
                      <a:pt x="34" y="128"/>
                    </a:lnTo>
                    <a:lnTo>
                      <a:pt x="58" y="140"/>
                    </a:lnTo>
                    <a:lnTo>
                      <a:pt x="88" y="150"/>
                    </a:lnTo>
                    <a:lnTo>
                      <a:pt x="122" y="156"/>
                    </a:lnTo>
                    <a:lnTo>
                      <a:pt x="160" y="162"/>
                    </a:lnTo>
                    <a:lnTo>
                      <a:pt x="200" y="164"/>
                    </a:lnTo>
                    <a:lnTo>
                      <a:pt x="200" y="164"/>
                    </a:lnTo>
                    <a:lnTo>
                      <a:pt x="240" y="162"/>
                    </a:lnTo>
                    <a:lnTo>
                      <a:pt x="278" y="156"/>
                    </a:lnTo>
                    <a:lnTo>
                      <a:pt x="312" y="150"/>
                    </a:lnTo>
                    <a:lnTo>
                      <a:pt x="342" y="140"/>
                    </a:lnTo>
                    <a:lnTo>
                      <a:pt x="366" y="128"/>
                    </a:lnTo>
                    <a:lnTo>
                      <a:pt x="376" y="120"/>
                    </a:lnTo>
                    <a:lnTo>
                      <a:pt x="384" y="114"/>
                    </a:lnTo>
                    <a:lnTo>
                      <a:pt x="392" y="106"/>
                    </a:lnTo>
                    <a:lnTo>
                      <a:pt x="396" y="98"/>
                    </a:lnTo>
                    <a:lnTo>
                      <a:pt x="400" y="90"/>
                    </a:lnTo>
                    <a:lnTo>
                      <a:pt x="400" y="82"/>
                    </a:lnTo>
                    <a:lnTo>
                      <a:pt x="400" y="82"/>
                    </a:lnTo>
                    <a:lnTo>
                      <a:pt x="400" y="74"/>
                    </a:lnTo>
                    <a:lnTo>
                      <a:pt x="396" y="66"/>
                    </a:lnTo>
                    <a:lnTo>
                      <a:pt x="392" y="58"/>
                    </a:lnTo>
                    <a:lnTo>
                      <a:pt x="384" y="50"/>
                    </a:lnTo>
                    <a:lnTo>
                      <a:pt x="376" y="42"/>
                    </a:lnTo>
                    <a:lnTo>
                      <a:pt x="366" y="36"/>
                    </a:lnTo>
                    <a:lnTo>
                      <a:pt x="342" y="24"/>
                    </a:lnTo>
                    <a:lnTo>
                      <a:pt x="312" y="14"/>
                    </a:lnTo>
                    <a:lnTo>
                      <a:pt x="278" y="6"/>
                    </a:lnTo>
                    <a:lnTo>
                      <a:pt x="240" y="2"/>
                    </a:lnTo>
                    <a:lnTo>
                      <a:pt x="20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0" name="Freeform 20"/>
              <p:cNvSpPr>
                <a:spLocks noEditPoints="1"/>
              </p:cNvSpPr>
              <p:nvPr/>
            </p:nvSpPr>
            <p:spPr bwMode="auto">
              <a:xfrm>
                <a:off x="7758606" y="3051797"/>
                <a:ext cx="670979" cy="246670"/>
              </a:xfrm>
              <a:custGeom>
                <a:avLst/>
                <a:gdLst>
                  <a:gd name="T0" fmla="*/ 212 w 404"/>
                  <a:gd name="T1" fmla="*/ 164 h 166"/>
                  <a:gd name="T2" fmla="*/ 192 w 404"/>
                  <a:gd name="T3" fmla="*/ 166 h 166"/>
                  <a:gd name="T4" fmla="*/ 222 w 404"/>
                  <a:gd name="T5" fmla="*/ 166 h 166"/>
                  <a:gd name="T6" fmla="*/ 222 w 404"/>
                  <a:gd name="T7" fmla="*/ 166 h 166"/>
                  <a:gd name="T8" fmla="*/ 164 w 404"/>
                  <a:gd name="T9" fmla="*/ 162 h 166"/>
                  <a:gd name="T10" fmla="*/ 250 w 404"/>
                  <a:gd name="T11" fmla="*/ 162 h 166"/>
                  <a:gd name="T12" fmla="*/ 154 w 404"/>
                  <a:gd name="T13" fmla="*/ 164 h 166"/>
                  <a:gd name="T14" fmla="*/ 260 w 404"/>
                  <a:gd name="T15" fmla="*/ 164 h 166"/>
                  <a:gd name="T16" fmla="*/ 260 w 404"/>
                  <a:gd name="T17" fmla="*/ 164 h 166"/>
                  <a:gd name="T18" fmla="*/ 126 w 404"/>
                  <a:gd name="T19" fmla="*/ 158 h 166"/>
                  <a:gd name="T20" fmla="*/ 288 w 404"/>
                  <a:gd name="T21" fmla="*/ 156 h 166"/>
                  <a:gd name="T22" fmla="*/ 116 w 404"/>
                  <a:gd name="T23" fmla="*/ 158 h 166"/>
                  <a:gd name="T24" fmla="*/ 298 w 404"/>
                  <a:gd name="T25" fmla="*/ 156 h 166"/>
                  <a:gd name="T26" fmla="*/ 298 w 404"/>
                  <a:gd name="T27" fmla="*/ 156 h 166"/>
                  <a:gd name="T28" fmla="*/ 88 w 404"/>
                  <a:gd name="T29" fmla="*/ 148 h 166"/>
                  <a:gd name="T30" fmla="*/ 324 w 404"/>
                  <a:gd name="T31" fmla="*/ 146 h 166"/>
                  <a:gd name="T32" fmla="*/ 78 w 404"/>
                  <a:gd name="T33" fmla="*/ 150 h 166"/>
                  <a:gd name="T34" fmla="*/ 334 w 404"/>
                  <a:gd name="T35" fmla="*/ 146 h 166"/>
                  <a:gd name="T36" fmla="*/ 334 w 404"/>
                  <a:gd name="T37" fmla="*/ 146 h 166"/>
                  <a:gd name="T38" fmla="*/ 52 w 404"/>
                  <a:gd name="T39" fmla="*/ 136 h 166"/>
                  <a:gd name="T40" fmla="*/ 360 w 404"/>
                  <a:gd name="T41" fmla="*/ 132 h 166"/>
                  <a:gd name="T42" fmla="*/ 42 w 404"/>
                  <a:gd name="T43" fmla="*/ 134 h 166"/>
                  <a:gd name="T44" fmla="*/ 370 w 404"/>
                  <a:gd name="T45" fmla="*/ 130 h 166"/>
                  <a:gd name="T46" fmla="*/ 370 w 404"/>
                  <a:gd name="T47" fmla="*/ 130 h 166"/>
                  <a:gd name="T48" fmla="*/ 20 w 404"/>
                  <a:gd name="T49" fmla="*/ 116 h 166"/>
                  <a:gd name="T50" fmla="*/ 390 w 404"/>
                  <a:gd name="T51" fmla="*/ 108 h 166"/>
                  <a:gd name="T52" fmla="*/ 12 w 404"/>
                  <a:gd name="T53" fmla="*/ 110 h 166"/>
                  <a:gd name="T54" fmla="*/ 398 w 404"/>
                  <a:gd name="T55" fmla="*/ 102 h 166"/>
                  <a:gd name="T56" fmla="*/ 398 w 404"/>
                  <a:gd name="T57" fmla="*/ 102 h 166"/>
                  <a:gd name="T58" fmla="*/ 4 w 404"/>
                  <a:gd name="T59" fmla="*/ 84 h 166"/>
                  <a:gd name="T60" fmla="*/ 402 w 404"/>
                  <a:gd name="T61" fmla="*/ 84 h 166"/>
                  <a:gd name="T62" fmla="*/ 404 w 404"/>
                  <a:gd name="T63" fmla="*/ 84 h 166"/>
                  <a:gd name="T64" fmla="*/ 8 w 404"/>
                  <a:gd name="T65" fmla="*/ 66 h 166"/>
                  <a:gd name="T66" fmla="*/ 390 w 404"/>
                  <a:gd name="T67" fmla="*/ 58 h 166"/>
                  <a:gd name="T68" fmla="*/ 12 w 404"/>
                  <a:gd name="T69" fmla="*/ 56 h 166"/>
                  <a:gd name="T70" fmla="*/ 14 w 404"/>
                  <a:gd name="T71" fmla="*/ 58 h 166"/>
                  <a:gd name="T72" fmla="*/ 386 w 404"/>
                  <a:gd name="T73" fmla="*/ 50 h 166"/>
                  <a:gd name="T74" fmla="*/ 36 w 404"/>
                  <a:gd name="T75" fmla="*/ 40 h 166"/>
                  <a:gd name="T76" fmla="*/ 360 w 404"/>
                  <a:gd name="T77" fmla="*/ 36 h 166"/>
                  <a:gd name="T78" fmla="*/ 42 w 404"/>
                  <a:gd name="T79" fmla="*/ 32 h 166"/>
                  <a:gd name="T80" fmla="*/ 44 w 404"/>
                  <a:gd name="T81" fmla="*/ 36 h 166"/>
                  <a:gd name="T82" fmla="*/ 354 w 404"/>
                  <a:gd name="T83" fmla="*/ 28 h 166"/>
                  <a:gd name="T84" fmla="*/ 70 w 404"/>
                  <a:gd name="T85" fmla="*/ 24 h 166"/>
                  <a:gd name="T86" fmla="*/ 326 w 404"/>
                  <a:gd name="T87" fmla="*/ 22 h 166"/>
                  <a:gd name="T88" fmla="*/ 78 w 404"/>
                  <a:gd name="T89" fmla="*/ 18 h 166"/>
                  <a:gd name="T90" fmla="*/ 80 w 404"/>
                  <a:gd name="T91" fmla="*/ 22 h 166"/>
                  <a:gd name="T92" fmla="*/ 318 w 404"/>
                  <a:gd name="T93" fmla="*/ 16 h 166"/>
                  <a:gd name="T94" fmla="*/ 106 w 404"/>
                  <a:gd name="T95" fmla="*/ 14 h 166"/>
                  <a:gd name="T96" fmla="*/ 288 w 404"/>
                  <a:gd name="T97" fmla="*/ 12 h 166"/>
                  <a:gd name="T98" fmla="*/ 116 w 404"/>
                  <a:gd name="T99" fmla="*/ 8 h 166"/>
                  <a:gd name="T100" fmla="*/ 116 w 404"/>
                  <a:gd name="T101" fmla="*/ 12 h 166"/>
                  <a:gd name="T102" fmla="*/ 280 w 404"/>
                  <a:gd name="T103" fmla="*/ 6 h 166"/>
                  <a:gd name="T104" fmla="*/ 144 w 404"/>
                  <a:gd name="T105" fmla="*/ 8 h 166"/>
                  <a:gd name="T106" fmla="*/ 250 w 404"/>
                  <a:gd name="T107" fmla="*/ 6 h 166"/>
                  <a:gd name="T108" fmla="*/ 154 w 404"/>
                  <a:gd name="T109" fmla="*/ 2 h 166"/>
                  <a:gd name="T110" fmla="*/ 154 w 404"/>
                  <a:gd name="T111" fmla="*/ 6 h 166"/>
                  <a:gd name="T112" fmla="*/ 242 w 404"/>
                  <a:gd name="T113" fmla="*/ 2 h 166"/>
                  <a:gd name="T114" fmla="*/ 182 w 404"/>
                  <a:gd name="T115" fmla="*/ 4 h 166"/>
                  <a:gd name="T116" fmla="*/ 212 w 404"/>
                  <a:gd name="T117" fmla="*/ 4 h 166"/>
                  <a:gd name="T118" fmla="*/ 192 w 404"/>
                  <a:gd name="T119" fmla="*/ 0 h 166"/>
                  <a:gd name="T120" fmla="*/ 202 w 404"/>
                  <a:gd name="T121"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4" h="166">
                    <a:moveTo>
                      <a:pt x="202" y="166"/>
                    </a:moveTo>
                    <a:lnTo>
                      <a:pt x="202" y="166"/>
                    </a:lnTo>
                    <a:lnTo>
                      <a:pt x="202" y="164"/>
                    </a:lnTo>
                    <a:lnTo>
                      <a:pt x="202" y="164"/>
                    </a:lnTo>
                    <a:lnTo>
                      <a:pt x="202" y="164"/>
                    </a:lnTo>
                    <a:lnTo>
                      <a:pt x="212" y="164"/>
                    </a:lnTo>
                    <a:lnTo>
                      <a:pt x="212" y="166"/>
                    </a:lnTo>
                    <a:lnTo>
                      <a:pt x="212" y="166"/>
                    </a:lnTo>
                    <a:lnTo>
                      <a:pt x="202" y="166"/>
                    </a:lnTo>
                    <a:lnTo>
                      <a:pt x="202" y="166"/>
                    </a:lnTo>
                    <a:close/>
                    <a:moveTo>
                      <a:pt x="192" y="166"/>
                    </a:moveTo>
                    <a:lnTo>
                      <a:pt x="192" y="166"/>
                    </a:lnTo>
                    <a:lnTo>
                      <a:pt x="182" y="166"/>
                    </a:lnTo>
                    <a:lnTo>
                      <a:pt x="182" y="164"/>
                    </a:lnTo>
                    <a:lnTo>
                      <a:pt x="182" y="164"/>
                    </a:lnTo>
                    <a:lnTo>
                      <a:pt x="192" y="164"/>
                    </a:lnTo>
                    <a:lnTo>
                      <a:pt x="192" y="166"/>
                    </a:lnTo>
                    <a:close/>
                    <a:moveTo>
                      <a:pt x="222" y="166"/>
                    </a:moveTo>
                    <a:lnTo>
                      <a:pt x="222" y="164"/>
                    </a:lnTo>
                    <a:lnTo>
                      <a:pt x="222" y="164"/>
                    </a:lnTo>
                    <a:lnTo>
                      <a:pt x="230" y="162"/>
                    </a:lnTo>
                    <a:lnTo>
                      <a:pt x="230" y="166"/>
                    </a:lnTo>
                    <a:lnTo>
                      <a:pt x="230" y="166"/>
                    </a:lnTo>
                    <a:lnTo>
                      <a:pt x="222" y="166"/>
                    </a:lnTo>
                    <a:lnTo>
                      <a:pt x="222" y="166"/>
                    </a:lnTo>
                    <a:close/>
                    <a:moveTo>
                      <a:pt x="172" y="166"/>
                    </a:moveTo>
                    <a:lnTo>
                      <a:pt x="172" y="166"/>
                    </a:lnTo>
                    <a:lnTo>
                      <a:pt x="164" y="166"/>
                    </a:lnTo>
                    <a:lnTo>
                      <a:pt x="164" y="162"/>
                    </a:lnTo>
                    <a:lnTo>
                      <a:pt x="164" y="162"/>
                    </a:lnTo>
                    <a:lnTo>
                      <a:pt x="174" y="162"/>
                    </a:lnTo>
                    <a:lnTo>
                      <a:pt x="172" y="166"/>
                    </a:lnTo>
                    <a:close/>
                    <a:moveTo>
                      <a:pt x="240" y="166"/>
                    </a:moveTo>
                    <a:lnTo>
                      <a:pt x="240" y="162"/>
                    </a:lnTo>
                    <a:lnTo>
                      <a:pt x="240" y="162"/>
                    </a:lnTo>
                    <a:lnTo>
                      <a:pt x="250" y="162"/>
                    </a:lnTo>
                    <a:lnTo>
                      <a:pt x="250" y="164"/>
                    </a:lnTo>
                    <a:lnTo>
                      <a:pt x="250" y="164"/>
                    </a:lnTo>
                    <a:lnTo>
                      <a:pt x="240" y="166"/>
                    </a:lnTo>
                    <a:lnTo>
                      <a:pt x="240" y="166"/>
                    </a:lnTo>
                    <a:close/>
                    <a:moveTo>
                      <a:pt x="154" y="164"/>
                    </a:moveTo>
                    <a:lnTo>
                      <a:pt x="154" y="164"/>
                    </a:lnTo>
                    <a:lnTo>
                      <a:pt x="144" y="164"/>
                    </a:lnTo>
                    <a:lnTo>
                      <a:pt x="144" y="160"/>
                    </a:lnTo>
                    <a:lnTo>
                      <a:pt x="144" y="160"/>
                    </a:lnTo>
                    <a:lnTo>
                      <a:pt x="154" y="160"/>
                    </a:lnTo>
                    <a:lnTo>
                      <a:pt x="154" y="164"/>
                    </a:lnTo>
                    <a:close/>
                    <a:moveTo>
                      <a:pt x="260" y="164"/>
                    </a:moveTo>
                    <a:lnTo>
                      <a:pt x="260" y="160"/>
                    </a:lnTo>
                    <a:lnTo>
                      <a:pt x="260" y="160"/>
                    </a:lnTo>
                    <a:lnTo>
                      <a:pt x="268" y="158"/>
                    </a:lnTo>
                    <a:lnTo>
                      <a:pt x="270" y="162"/>
                    </a:lnTo>
                    <a:lnTo>
                      <a:pt x="270" y="162"/>
                    </a:lnTo>
                    <a:lnTo>
                      <a:pt x="260" y="164"/>
                    </a:lnTo>
                    <a:lnTo>
                      <a:pt x="260" y="164"/>
                    </a:lnTo>
                    <a:close/>
                    <a:moveTo>
                      <a:pt x="134" y="162"/>
                    </a:moveTo>
                    <a:lnTo>
                      <a:pt x="134" y="162"/>
                    </a:lnTo>
                    <a:lnTo>
                      <a:pt x="126" y="160"/>
                    </a:lnTo>
                    <a:lnTo>
                      <a:pt x="126" y="158"/>
                    </a:lnTo>
                    <a:lnTo>
                      <a:pt x="126" y="158"/>
                    </a:lnTo>
                    <a:lnTo>
                      <a:pt x="136" y="158"/>
                    </a:lnTo>
                    <a:lnTo>
                      <a:pt x="134" y="162"/>
                    </a:lnTo>
                    <a:close/>
                    <a:moveTo>
                      <a:pt x="278" y="160"/>
                    </a:moveTo>
                    <a:lnTo>
                      <a:pt x="278" y="158"/>
                    </a:lnTo>
                    <a:lnTo>
                      <a:pt x="278" y="158"/>
                    </a:lnTo>
                    <a:lnTo>
                      <a:pt x="288" y="156"/>
                    </a:lnTo>
                    <a:lnTo>
                      <a:pt x="288" y="158"/>
                    </a:lnTo>
                    <a:lnTo>
                      <a:pt x="288" y="158"/>
                    </a:lnTo>
                    <a:lnTo>
                      <a:pt x="278" y="160"/>
                    </a:lnTo>
                    <a:lnTo>
                      <a:pt x="278" y="160"/>
                    </a:lnTo>
                    <a:close/>
                    <a:moveTo>
                      <a:pt x="116" y="158"/>
                    </a:moveTo>
                    <a:lnTo>
                      <a:pt x="116" y="158"/>
                    </a:lnTo>
                    <a:lnTo>
                      <a:pt x="106" y="156"/>
                    </a:lnTo>
                    <a:lnTo>
                      <a:pt x="106" y="154"/>
                    </a:lnTo>
                    <a:lnTo>
                      <a:pt x="106" y="154"/>
                    </a:lnTo>
                    <a:lnTo>
                      <a:pt x="116" y="156"/>
                    </a:lnTo>
                    <a:lnTo>
                      <a:pt x="116" y="158"/>
                    </a:lnTo>
                    <a:close/>
                    <a:moveTo>
                      <a:pt x="298" y="156"/>
                    </a:moveTo>
                    <a:lnTo>
                      <a:pt x="298" y="154"/>
                    </a:lnTo>
                    <a:lnTo>
                      <a:pt x="298" y="154"/>
                    </a:lnTo>
                    <a:lnTo>
                      <a:pt x="306" y="152"/>
                    </a:lnTo>
                    <a:lnTo>
                      <a:pt x="308" y="154"/>
                    </a:lnTo>
                    <a:lnTo>
                      <a:pt x="308" y="154"/>
                    </a:lnTo>
                    <a:lnTo>
                      <a:pt x="298" y="156"/>
                    </a:lnTo>
                    <a:lnTo>
                      <a:pt x="298" y="156"/>
                    </a:lnTo>
                    <a:close/>
                    <a:moveTo>
                      <a:pt x="96" y="154"/>
                    </a:moveTo>
                    <a:lnTo>
                      <a:pt x="96" y="154"/>
                    </a:lnTo>
                    <a:lnTo>
                      <a:pt x="88" y="152"/>
                    </a:lnTo>
                    <a:lnTo>
                      <a:pt x="88" y="148"/>
                    </a:lnTo>
                    <a:lnTo>
                      <a:pt x="88" y="148"/>
                    </a:lnTo>
                    <a:lnTo>
                      <a:pt x="98" y="152"/>
                    </a:lnTo>
                    <a:lnTo>
                      <a:pt x="96" y="154"/>
                    </a:lnTo>
                    <a:close/>
                    <a:moveTo>
                      <a:pt x="316" y="152"/>
                    </a:moveTo>
                    <a:lnTo>
                      <a:pt x="316" y="148"/>
                    </a:lnTo>
                    <a:lnTo>
                      <a:pt x="316" y="148"/>
                    </a:lnTo>
                    <a:lnTo>
                      <a:pt x="324" y="146"/>
                    </a:lnTo>
                    <a:lnTo>
                      <a:pt x="326" y="150"/>
                    </a:lnTo>
                    <a:lnTo>
                      <a:pt x="326" y="150"/>
                    </a:lnTo>
                    <a:lnTo>
                      <a:pt x="316" y="152"/>
                    </a:lnTo>
                    <a:lnTo>
                      <a:pt x="316" y="152"/>
                    </a:lnTo>
                    <a:close/>
                    <a:moveTo>
                      <a:pt x="78" y="150"/>
                    </a:moveTo>
                    <a:lnTo>
                      <a:pt x="78" y="150"/>
                    </a:lnTo>
                    <a:lnTo>
                      <a:pt x="68" y="146"/>
                    </a:lnTo>
                    <a:lnTo>
                      <a:pt x="70" y="142"/>
                    </a:lnTo>
                    <a:lnTo>
                      <a:pt x="70" y="142"/>
                    </a:lnTo>
                    <a:lnTo>
                      <a:pt x="80" y="146"/>
                    </a:lnTo>
                    <a:lnTo>
                      <a:pt x="78" y="150"/>
                    </a:lnTo>
                    <a:close/>
                    <a:moveTo>
                      <a:pt x="334" y="146"/>
                    </a:moveTo>
                    <a:lnTo>
                      <a:pt x="334" y="144"/>
                    </a:lnTo>
                    <a:lnTo>
                      <a:pt x="334" y="144"/>
                    </a:lnTo>
                    <a:lnTo>
                      <a:pt x="342" y="140"/>
                    </a:lnTo>
                    <a:lnTo>
                      <a:pt x="344" y="142"/>
                    </a:lnTo>
                    <a:lnTo>
                      <a:pt x="344" y="142"/>
                    </a:lnTo>
                    <a:lnTo>
                      <a:pt x="334" y="146"/>
                    </a:lnTo>
                    <a:lnTo>
                      <a:pt x="334" y="146"/>
                    </a:lnTo>
                    <a:close/>
                    <a:moveTo>
                      <a:pt x="60" y="142"/>
                    </a:moveTo>
                    <a:lnTo>
                      <a:pt x="60" y="142"/>
                    </a:lnTo>
                    <a:lnTo>
                      <a:pt x="50" y="138"/>
                    </a:lnTo>
                    <a:lnTo>
                      <a:pt x="52" y="136"/>
                    </a:lnTo>
                    <a:lnTo>
                      <a:pt x="52" y="136"/>
                    </a:lnTo>
                    <a:lnTo>
                      <a:pt x="62" y="140"/>
                    </a:lnTo>
                    <a:lnTo>
                      <a:pt x="60" y="142"/>
                    </a:lnTo>
                    <a:close/>
                    <a:moveTo>
                      <a:pt x="352" y="138"/>
                    </a:moveTo>
                    <a:lnTo>
                      <a:pt x="352" y="136"/>
                    </a:lnTo>
                    <a:lnTo>
                      <a:pt x="352" y="136"/>
                    </a:lnTo>
                    <a:lnTo>
                      <a:pt x="360" y="132"/>
                    </a:lnTo>
                    <a:lnTo>
                      <a:pt x="362" y="134"/>
                    </a:lnTo>
                    <a:lnTo>
                      <a:pt x="362" y="134"/>
                    </a:lnTo>
                    <a:lnTo>
                      <a:pt x="352" y="138"/>
                    </a:lnTo>
                    <a:lnTo>
                      <a:pt x="352" y="138"/>
                    </a:lnTo>
                    <a:close/>
                    <a:moveTo>
                      <a:pt x="42" y="134"/>
                    </a:moveTo>
                    <a:lnTo>
                      <a:pt x="42" y="134"/>
                    </a:lnTo>
                    <a:lnTo>
                      <a:pt x="34" y="130"/>
                    </a:lnTo>
                    <a:lnTo>
                      <a:pt x="36" y="126"/>
                    </a:lnTo>
                    <a:lnTo>
                      <a:pt x="36" y="126"/>
                    </a:lnTo>
                    <a:lnTo>
                      <a:pt x="44" y="132"/>
                    </a:lnTo>
                    <a:lnTo>
                      <a:pt x="42" y="134"/>
                    </a:lnTo>
                    <a:close/>
                    <a:moveTo>
                      <a:pt x="370" y="130"/>
                    </a:moveTo>
                    <a:lnTo>
                      <a:pt x="368" y="126"/>
                    </a:lnTo>
                    <a:lnTo>
                      <a:pt x="368" y="126"/>
                    </a:lnTo>
                    <a:lnTo>
                      <a:pt x="376" y="122"/>
                    </a:lnTo>
                    <a:lnTo>
                      <a:pt x="378" y="124"/>
                    </a:lnTo>
                    <a:lnTo>
                      <a:pt x="378" y="124"/>
                    </a:lnTo>
                    <a:lnTo>
                      <a:pt x="370" y="130"/>
                    </a:lnTo>
                    <a:lnTo>
                      <a:pt x="370" y="130"/>
                    </a:lnTo>
                    <a:close/>
                    <a:moveTo>
                      <a:pt x="26" y="124"/>
                    </a:moveTo>
                    <a:lnTo>
                      <a:pt x="26" y="124"/>
                    </a:lnTo>
                    <a:lnTo>
                      <a:pt x="18" y="118"/>
                    </a:lnTo>
                    <a:lnTo>
                      <a:pt x="20" y="116"/>
                    </a:lnTo>
                    <a:lnTo>
                      <a:pt x="20" y="116"/>
                    </a:lnTo>
                    <a:lnTo>
                      <a:pt x="28" y="122"/>
                    </a:lnTo>
                    <a:lnTo>
                      <a:pt x="26" y="124"/>
                    </a:lnTo>
                    <a:close/>
                    <a:moveTo>
                      <a:pt x="386" y="118"/>
                    </a:moveTo>
                    <a:lnTo>
                      <a:pt x="384" y="116"/>
                    </a:lnTo>
                    <a:lnTo>
                      <a:pt x="384" y="116"/>
                    </a:lnTo>
                    <a:lnTo>
                      <a:pt x="390" y="108"/>
                    </a:lnTo>
                    <a:lnTo>
                      <a:pt x="392" y="110"/>
                    </a:lnTo>
                    <a:lnTo>
                      <a:pt x="392" y="110"/>
                    </a:lnTo>
                    <a:lnTo>
                      <a:pt x="386" y="118"/>
                    </a:lnTo>
                    <a:lnTo>
                      <a:pt x="386" y="118"/>
                    </a:lnTo>
                    <a:close/>
                    <a:moveTo>
                      <a:pt x="12" y="110"/>
                    </a:moveTo>
                    <a:lnTo>
                      <a:pt x="12" y="110"/>
                    </a:lnTo>
                    <a:lnTo>
                      <a:pt x="6" y="102"/>
                    </a:lnTo>
                    <a:lnTo>
                      <a:pt x="8" y="100"/>
                    </a:lnTo>
                    <a:lnTo>
                      <a:pt x="8" y="100"/>
                    </a:lnTo>
                    <a:lnTo>
                      <a:pt x="14" y="108"/>
                    </a:lnTo>
                    <a:lnTo>
                      <a:pt x="12" y="110"/>
                    </a:lnTo>
                    <a:close/>
                    <a:moveTo>
                      <a:pt x="398" y="102"/>
                    </a:moveTo>
                    <a:lnTo>
                      <a:pt x="396" y="102"/>
                    </a:lnTo>
                    <a:lnTo>
                      <a:pt x="396" y="102"/>
                    </a:lnTo>
                    <a:lnTo>
                      <a:pt x="400" y="92"/>
                    </a:lnTo>
                    <a:lnTo>
                      <a:pt x="402" y="94"/>
                    </a:lnTo>
                    <a:lnTo>
                      <a:pt x="402" y="94"/>
                    </a:lnTo>
                    <a:lnTo>
                      <a:pt x="398" y="102"/>
                    </a:lnTo>
                    <a:lnTo>
                      <a:pt x="398" y="102"/>
                    </a:lnTo>
                    <a:close/>
                    <a:moveTo>
                      <a:pt x="2" y="94"/>
                    </a:moveTo>
                    <a:lnTo>
                      <a:pt x="2" y="94"/>
                    </a:lnTo>
                    <a:lnTo>
                      <a:pt x="0" y="84"/>
                    </a:lnTo>
                    <a:lnTo>
                      <a:pt x="4" y="84"/>
                    </a:lnTo>
                    <a:lnTo>
                      <a:pt x="4" y="84"/>
                    </a:lnTo>
                    <a:lnTo>
                      <a:pt x="4" y="84"/>
                    </a:lnTo>
                    <a:lnTo>
                      <a:pt x="6" y="92"/>
                    </a:lnTo>
                    <a:lnTo>
                      <a:pt x="2" y="94"/>
                    </a:lnTo>
                    <a:close/>
                    <a:moveTo>
                      <a:pt x="404" y="84"/>
                    </a:moveTo>
                    <a:lnTo>
                      <a:pt x="400" y="84"/>
                    </a:lnTo>
                    <a:lnTo>
                      <a:pt x="402" y="84"/>
                    </a:lnTo>
                    <a:lnTo>
                      <a:pt x="400" y="84"/>
                    </a:lnTo>
                    <a:lnTo>
                      <a:pt x="400" y="84"/>
                    </a:lnTo>
                    <a:lnTo>
                      <a:pt x="400" y="74"/>
                    </a:lnTo>
                    <a:lnTo>
                      <a:pt x="402" y="74"/>
                    </a:lnTo>
                    <a:lnTo>
                      <a:pt x="402" y="74"/>
                    </a:lnTo>
                    <a:lnTo>
                      <a:pt x="404" y="84"/>
                    </a:lnTo>
                    <a:lnTo>
                      <a:pt x="404" y="84"/>
                    </a:lnTo>
                    <a:close/>
                    <a:moveTo>
                      <a:pt x="6" y="74"/>
                    </a:moveTo>
                    <a:lnTo>
                      <a:pt x="2" y="74"/>
                    </a:lnTo>
                    <a:lnTo>
                      <a:pt x="2" y="74"/>
                    </a:lnTo>
                    <a:lnTo>
                      <a:pt x="6" y="64"/>
                    </a:lnTo>
                    <a:lnTo>
                      <a:pt x="8" y="66"/>
                    </a:lnTo>
                    <a:lnTo>
                      <a:pt x="8" y="66"/>
                    </a:lnTo>
                    <a:lnTo>
                      <a:pt x="6" y="74"/>
                    </a:lnTo>
                    <a:lnTo>
                      <a:pt x="6" y="74"/>
                    </a:lnTo>
                    <a:close/>
                    <a:moveTo>
                      <a:pt x="396" y="66"/>
                    </a:moveTo>
                    <a:lnTo>
                      <a:pt x="396" y="66"/>
                    </a:lnTo>
                    <a:lnTo>
                      <a:pt x="390" y="58"/>
                    </a:lnTo>
                    <a:lnTo>
                      <a:pt x="392" y="56"/>
                    </a:lnTo>
                    <a:lnTo>
                      <a:pt x="392" y="56"/>
                    </a:lnTo>
                    <a:lnTo>
                      <a:pt x="398" y="64"/>
                    </a:lnTo>
                    <a:lnTo>
                      <a:pt x="396" y="66"/>
                    </a:lnTo>
                    <a:close/>
                    <a:moveTo>
                      <a:pt x="14" y="58"/>
                    </a:moveTo>
                    <a:lnTo>
                      <a:pt x="12" y="56"/>
                    </a:lnTo>
                    <a:lnTo>
                      <a:pt x="12" y="56"/>
                    </a:lnTo>
                    <a:lnTo>
                      <a:pt x="18" y="50"/>
                    </a:lnTo>
                    <a:lnTo>
                      <a:pt x="20" y="52"/>
                    </a:lnTo>
                    <a:lnTo>
                      <a:pt x="20" y="52"/>
                    </a:lnTo>
                    <a:lnTo>
                      <a:pt x="14" y="58"/>
                    </a:lnTo>
                    <a:lnTo>
                      <a:pt x="14" y="58"/>
                    </a:lnTo>
                    <a:close/>
                    <a:moveTo>
                      <a:pt x="384" y="52"/>
                    </a:moveTo>
                    <a:lnTo>
                      <a:pt x="384" y="52"/>
                    </a:lnTo>
                    <a:lnTo>
                      <a:pt x="376" y="46"/>
                    </a:lnTo>
                    <a:lnTo>
                      <a:pt x="378" y="44"/>
                    </a:lnTo>
                    <a:lnTo>
                      <a:pt x="378" y="44"/>
                    </a:lnTo>
                    <a:lnTo>
                      <a:pt x="386" y="50"/>
                    </a:lnTo>
                    <a:lnTo>
                      <a:pt x="384" y="52"/>
                    </a:lnTo>
                    <a:close/>
                    <a:moveTo>
                      <a:pt x="28" y="46"/>
                    </a:moveTo>
                    <a:lnTo>
                      <a:pt x="26" y="44"/>
                    </a:lnTo>
                    <a:lnTo>
                      <a:pt x="26" y="44"/>
                    </a:lnTo>
                    <a:lnTo>
                      <a:pt x="34" y="38"/>
                    </a:lnTo>
                    <a:lnTo>
                      <a:pt x="36" y="40"/>
                    </a:lnTo>
                    <a:lnTo>
                      <a:pt x="36" y="40"/>
                    </a:lnTo>
                    <a:lnTo>
                      <a:pt x="28" y="46"/>
                    </a:lnTo>
                    <a:lnTo>
                      <a:pt x="28" y="46"/>
                    </a:lnTo>
                    <a:close/>
                    <a:moveTo>
                      <a:pt x="368" y="40"/>
                    </a:moveTo>
                    <a:lnTo>
                      <a:pt x="368" y="40"/>
                    </a:lnTo>
                    <a:lnTo>
                      <a:pt x="360" y="36"/>
                    </a:lnTo>
                    <a:lnTo>
                      <a:pt x="362" y="32"/>
                    </a:lnTo>
                    <a:lnTo>
                      <a:pt x="362" y="32"/>
                    </a:lnTo>
                    <a:lnTo>
                      <a:pt x="370" y="38"/>
                    </a:lnTo>
                    <a:lnTo>
                      <a:pt x="368" y="40"/>
                    </a:lnTo>
                    <a:close/>
                    <a:moveTo>
                      <a:pt x="44" y="36"/>
                    </a:moveTo>
                    <a:lnTo>
                      <a:pt x="42" y="32"/>
                    </a:lnTo>
                    <a:lnTo>
                      <a:pt x="42" y="32"/>
                    </a:lnTo>
                    <a:lnTo>
                      <a:pt x="52" y="28"/>
                    </a:lnTo>
                    <a:lnTo>
                      <a:pt x="52" y="32"/>
                    </a:lnTo>
                    <a:lnTo>
                      <a:pt x="52" y="32"/>
                    </a:lnTo>
                    <a:lnTo>
                      <a:pt x="44" y="36"/>
                    </a:lnTo>
                    <a:lnTo>
                      <a:pt x="44" y="36"/>
                    </a:lnTo>
                    <a:close/>
                    <a:moveTo>
                      <a:pt x="352" y="32"/>
                    </a:moveTo>
                    <a:lnTo>
                      <a:pt x="352" y="32"/>
                    </a:lnTo>
                    <a:lnTo>
                      <a:pt x="344" y="28"/>
                    </a:lnTo>
                    <a:lnTo>
                      <a:pt x="344" y="24"/>
                    </a:lnTo>
                    <a:lnTo>
                      <a:pt x="344" y="24"/>
                    </a:lnTo>
                    <a:lnTo>
                      <a:pt x="354" y="28"/>
                    </a:lnTo>
                    <a:lnTo>
                      <a:pt x="352" y="32"/>
                    </a:lnTo>
                    <a:close/>
                    <a:moveTo>
                      <a:pt x="62" y="28"/>
                    </a:moveTo>
                    <a:lnTo>
                      <a:pt x="60" y="24"/>
                    </a:lnTo>
                    <a:lnTo>
                      <a:pt x="60" y="24"/>
                    </a:lnTo>
                    <a:lnTo>
                      <a:pt x="70" y="22"/>
                    </a:lnTo>
                    <a:lnTo>
                      <a:pt x="70" y="24"/>
                    </a:lnTo>
                    <a:lnTo>
                      <a:pt x="70" y="24"/>
                    </a:lnTo>
                    <a:lnTo>
                      <a:pt x="62" y="28"/>
                    </a:lnTo>
                    <a:lnTo>
                      <a:pt x="62" y="28"/>
                    </a:lnTo>
                    <a:close/>
                    <a:moveTo>
                      <a:pt x="334" y="24"/>
                    </a:moveTo>
                    <a:lnTo>
                      <a:pt x="334" y="24"/>
                    </a:lnTo>
                    <a:lnTo>
                      <a:pt x="326" y="22"/>
                    </a:lnTo>
                    <a:lnTo>
                      <a:pt x="326" y="18"/>
                    </a:lnTo>
                    <a:lnTo>
                      <a:pt x="326" y="18"/>
                    </a:lnTo>
                    <a:lnTo>
                      <a:pt x="336" y="22"/>
                    </a:lnTo>
                    <a:lnTo>
                      <a:pt x="334" y="24"/>
                    </a:lnTo>
                    <a:close/>
                    <a:moveTo>
                      <a:pt x="80" y="22"/>
                    </a:moveTo>
                    <a:lnTo>
                      <a:pt x="78" y="18"/>
                    </a:lnTo>
                    <a:lnTo>
                      <a:pt x="78" y="18"/>
                    </a:lnTo>
                    <a:lnTo>
                      <a:pt x="88" y="16"/>
                    </a:lnTo>
                    <a:lnTo>
                      <a:pt x="88" y="18"/>
                    </a:lnTo>
                    <a:lnTo>
                      <a:pt x="88" y="18"/>
                    </a:lnTo>
                    <a:lnTo>
                      <a:pt x="80" y="22"/>
                    </a:lnTo>
                    <a:lnTo>
                      <a:pt x="80" y="22"/>
                    </a:lnTo>
                    <a:close/>
                    <a:moveTo>
                      <a:pt x="316" y="18"/>
                    </a:moveTo>
                    <a:lnTo>
                      <a:pt x="316" y="18"/>
                    </a:lnTo>
                    <a:lnTo>
                      <a:pt x="306" y="16"/>
                    </a:lnTo>
                    <a:lnTo>
                      <a:pt x="308" y="12"/>
                    </a:lnTo>
                    <a:lnTo>
                      <a:pt x="308" y="12"/>
                    </a:lnTo>
                    <a:lnTo>
                      <a:pt x="318" y="16"/>
                    </a:lnTo>
                    <a:lnTo>
                      <a:pt x="316" y="18"/>
                    </a:lnTo>
                    <a:close/>
                    <a:moveTo>
                      <a:pt x="98" y="16"/>
                    </a:moveTo>
                    <a:lnTo>
                      <a:pt x="96" y="12"/>
                    </a:lnTo>
                    <a:lnTo>
                      <a:pt x="96" y="12"/>
                    </a:lnTo>
                    <a:lnTo>
                      <a:pt x="106" y="10"/>
                    </a:lnTo>
                    <a:lnTo>
                      <a:pt x="106" y="14"/>
                    </a:lnTo>
                    <a:lnTo>
                      <a:pt x="106" y="14"/>
                    </a:lnTo>
                    <a:lnTo>
                      <a:pt x="98" y="16"/>
                    </a:lnTo>
                    <a:lnTo>
                      <a:pt x="98" y="16"/>
                    </a:lnTo>
                    <a:close/>
                    <a:moveTo>
                      <a:pt x="298" y="14"/>
                    </a:moveTo>
                    <a:lnTo>
                      <a:pt x="298" y="14"/>
                    </a:lnTo>
                    <a:lnTo>
                      <a:pt x="288" y="12"/>
                    </a:lnTo>
                    <a:lnTo>
                      <a:pt x="288" y="8"/>
                    </a:lnTo>
                    <a:lnTo>
                      <a:pt x="288" y="8"/>
                    </a:lnTo>
                    <a:lnTo>
                      <a:pt x="298" y="10"/>
                    </a:lnTo>
                    <a:lnTo>
                      <a:pt x="298" y="14"/>
                    </a:lnTo>
                    <a:close/>
                    <a:moveTo>
                      <a:pt x="116" y="12"/>
                    </a:moveTo>
                    <a:lnTo>
                      <a:pt x="116" y="8"/>
                    </a:lnTo>
                    <a:lnTo>
                      <a:pt x="116" y="8"/>
                    </a:lnTo>
                    <a:lnTo>
                      <a:pt x="126" y="6"/>
                    </a:lnTo>
                    <a:lnTo>
                      <a:pt x="126" y="10"/>
                    </a:lnTo>
                    <a:lnTo>
                      <a:pt x="126" y="10"/>
                    </a:lnTo>
                    <a:lnTo>
                      <a:pt x="116" y="12"/>
                    </a:lnTo>
                    <a:lnTo>
                      <a:pt x="116" y="12"/>
                    </a:lnTo>
                    <a:close/>
                    <a:moveTo>
                      <a:pt x="278" y="10"/>
                    </a:moveTo>
                    <a:lnTo>
                      <a:pt x="278" y="10"/>
                    </a:lnTo>
                    <a:lnTo>
                      <a:pt x="270" y="8"/>
                    </a:lnTo>
                    <a:lnTo>
                      <a:pt x="270" y="6"/>
                    </a:lnTo>
                    <a:lnTo>
                      <a:pt x="270" y="6"/>
                    </a:lnTo>
                    <a:lnTo>
                      <a:pt x="280" y="6"/>
                    </a:lnTo>
                    <a:lnTo>
                      <a:pt x="278" y="10"/>
                    </a:lnTo>
                    <a:close/>
                    <a:moveTo>
                      <a:pt x="136" y="8"/>
                    </a:moveTo>
                    <a:lnTo>
                      <a:pt x="134" y="6"/>
                    </a:lnTo>
                    <a:lnTo>
                      <a:pt x="134" y="6"/>
                    </a:lnTo>
                    <a:lnTo>
                      <a:pt x="144" y="4"/>
                    </a:lnTo>
                    <a:lnTo>
                      <a:pt x="144" y="8"/>
                    </a:lnTo>
                    <a:lnTo>
                      <a:pt x="144" y="8"/>
                    </a:lnTo>
                    <a:lnTo>
                      <a:pt x="136" y="8"/>
                    </a:lnTo>
                    <a:lnTo>
                      <a:pt x="136" y="8"/>
                    </a:lnTo>
                    <a:close/>
                    <a:moveTo>
                      <a:pt x="260" y="8"/>
                    </a:moveTo>
                    <a:lnTo>
                      <a:pt x="260" y="8"/>
                    </a:lnTo>
                    <a:lnTo>
                      <a:pt x="250" y="6"/>
                    </a:lnTo>
                    <a:lnTo>
                      <a:pt x="250" y="4"/>
                    </a:lnTo>
                    <a:lnTo>
                      <a:pt x="250" y="4"/>
                    </a:lnTo>
                    <a:lnTo>
                      <a:pt x="260" y="4"/>
                    </a:lnTo>
                    <a:lnTo>
                      <a:pt x="260" y="8"/>
                    </a:lnTo>
                    <a:close/>
                    <a:moveTo>
                      <a:pt x="154" y="6"/>
                    </a:moveTo>
                    <a:lnTo>
                      <a:pt x="154" y="2"/>
                    </a:lnTo>
                    <a:lnTo>
                      <a:pt x="154" y="2"/>
                    </a:lnTo>
                    <a:lnTo>
                      <a:pt x="164" y="2"/>
                    </a:lnTo>
                    <a:lnTo>
                      <a:pt x="164" y="6"/>
                    </a:lnTo>
                    <a:lnTo>
                      <a:pt x="164" y="6"/>
                    </a:lnTo>
                    <a:lnTo>
                      <a:pt x="154" y="6"/>
                    </a:lnTo>
                    <a:lnTo>
                      <a:pt x="154" y="6"/>
                    </a:lnTo>
                    <a:close/>
                    <a:moveTo>
                      <a:pt x="240" y="6"/>
                    </a:moveTo>
                    <a:lnTo>
                      <a:pt x="240" y="6"/>
                    </a:lnTo>
                    <a:lnTo>
                      <a:pt x="232" y="4"/>
                    </a:lnTo>
                    <a:lnTo>
                      <a:pt x="232" y="2"/>
                    </a:lnTo>
                    <a:lnTo>
                      <a:pt x="232" y="2"/>
                    </a:lnTo>
                    <a:lnTo>
                      <a:pt x="242" y="2"/>
                    </a:lnTo>
                    <a:lnTo>
                      <a:pt x="240" y="6"/>
                    </a:lnTo>
                    <a:close/>
                    <a:moveTo>
                      <a:pt x="174" y="4"/>
                    </a:moveTo>
                    <a:lnTo>
                      <a:pt x="174" y="2"/>
                    </a:lnTo>
                    <a:lnTo>
                      <a:pt x="174" y="2"/>
                    </a:lnTo>
                    <a:lnTo>
                      <a:pt x="182" y="0"/>
                    </a:lnTo>
                    <a:lnTo>
                      <a:pt x="182" y="4"/>
                    </a:lnTo>
                    <a:lnTo>
                      <a:pt x="182" y="4"/>
                    </a:lnTo>
                    <a:lnTo>
                      <a:pt x="174" y="4"/>
                    </a:lnTo>
                    <a:lnTo>
                      <a:pt x="174" y="4"/>
                    </a:lnTo>
                    <a:close/>
                    <a:moveTo>
                      <a:pt x="222" y="4"/>
                    </a:moveTo>
                    <a:lnTo>
                      <a:pt x="222" y="4"/>
                    </a:lnTo>
                    <a:lnTo>
                      <a:pt x="212" y="4"/>
                    </a:lnTo>
                    <a:lnTo>
                      <a:pt x="212" y="0"/>
                    </a:lnTo>
                    <a:lnTo>
                      <a:pt x="212" y="0"/>
                    </a:lnTo>
                    <a:lnTo>
                      <a:pt x="222" y="0"/>
                    </a:lnTo>
                    <a:lnTo>
                      <a:pt x="222" y="4"/>
                    </a:lnTo>
                    <a:close/>
                    <a:moveTo>
                      <a:pt x="192" y="4"/>
                    </a:moveTo>
                    <a:lnTo>
                      <a:pt x="192" y="0"/>
                    </a:lnTo>
                    <a:lnTo>
                      <a:pt x="192" y="0"/>
                    </a:lnTo>
                    <a:lnTo>
                      <a:pt x="202" y="0"/>
                    </a:lnTo>
                    <a:lnTo>
                      <a:pt x="202" y="0"/>
                    </a:lnTo>
                    <a:lnTo>
                      <a:pt x="202" y="4"/>
                    </a:lnTo>
                    <a:lnTo>
                      <a:pt x="202" y="4"/>
                    </a:lnTo>
                    <a:lnTo>
                      <a:pt x="202" y="4"/>
                    </a:lnTo>
                    <a:lnTo>
                      <a:pt x="192" y="4"/>
                    </a:lnTo>
                    <a:lnTo>
                      <a:pt x="192" y="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1" name="Freeform 21"/>
              <p:cNvSpPr/>
              <p:nvPr/>
            </p:nvSpPr>
            <p:spPr bwMode="auto">
              <a:xfrm>
                <a:off x="8007732" y="3081517"/>
                <a:ext cx="195979" cy="181288"/>
              </a:xfrm>
              <a:custGeom>
                <a:avLst/>
                <a:gdLst>
                  <a:gd name="T0" fmla="*/ 80 w 118"/>
                  <a:gd name="T1" fmla="*/ 42 h 122"/>
                  <a:gd name="T2" fmla="*/ 74 w 118"/>
                  <a:gd name="T3" fmla="*/ 30 h 122"/>
                  <a:gd name="T4" fmla="*/ 58 w 118"/>
                  <a:gd name="T5" fmla="*/ 26 h 122"/>
                  <a:gd name="T6" fmla="*/ 52 w 118"/>
                  <a:gd name="T7" fmla="*/ 28 h 122"/>
                  <a:gd name="T8" fmla="*/ 48 w 118"/>
                  <a:gd name="T9" fmla="*/ 34 h 122"/>
                  <a:gd name="T10" fmla="*/ 48 w 118"/>
                  <a:gd name="T11" fmla="*/ 36 h 122"/>
                  <a:gd name="T12" fmla="*/ 58 w 118"/>
                  <a:gd name="T13" fmla="*/ 42 h 122"/>
                  <a:gd name="T14" fmla="*/ 94 w 118"/>
                  <a:gd name="T15" fmla="*/ 52 h 122"/>
                  <a:gd name="T16" fmla="*/ 114 w 118"/>
                  <a:gd name="T17" fmla="*/ 68 h 122"/>
                  <a:gd name="T18" fmla="*/ 118 w 118"/>
                  <a:gd name="T19" fmla="*/ 78 h 122"/>
                  <a:gd name="T20" fmla="*/ 118 w 118"/>
                  <a:gd name="T21" fmla="*/ 86 h 122"/>
                  <a:gd name="T22" fmla="*/ 110 w 118"/>
                  <a:gd name="T23" fmla="*/ 100 h 122"/>
                  <a:gd name="T24" fmla="*/ 98 w 118"/>
                  <a:gd name="T25" fmla="*/ 108 h 122"/>
                  <a:gd name="T26" fmla="*/ 72 w 118"/>
                  <a:gd name="T27" fmla="*/ 112 h 122"/>
                  <a:gd name="T28" fmla="*/ 66 w 118"/>
                  <a:gd name="T29" fmla="*/ 110 h 122"/>
                  <a:gd name="T30" fmla="*/ 54 w 118"/>
                  <a:gd name="T31" fmla="*/ 122 h 122"/>
                  <a:gd name="T32" fmla="*/ 54 w 118"/>
                  <a:gd name="T33" fmla="*/ 108 h 122"/>
                  <a:gd name="T34" fmla="*/ 34 w 118"/>
                  <a:gd name="T35" fmla="*/ 96 h 122"/>
                  <a:gd name="T36" fmla="*/ 0 w 118"/>
                  <a:gd name="T37" fmla="*/ 108 h 122"/>
                  <a:gd name="T38" fmla="*/ 34 w 118"/>
                  <a:gd name="T39" fmla="*/ 70 h 122"/>
                  <a:gd name="T40" fmla="*/ 36 w 118"/>
                  <a:gd name="T41" fmla="*/ 74 h 122"/>
                  <a:gd name="T42" fmla="*/ 42 w 118"/>
                  <a:gd name="T43" fmla="*/ 82 h 122"/>
                  <a:gd name="T44" fmla="*/ 56 w 118"/>
                  <a:gd name="T45" fmla="*/ 84 h 122"/>
                  <a:gd name="T46" fmla="*/ 66 w 118"/>
                  <a:gd name="T47" fmla="*/ 84 h 122"/>
                  <a:gd name="T48" fmla="*/ 72 w 118"/>
                  <a:gd name="T49" fmla="*/ 78 h 122"/>
                  <a:gd name="T50" fmla="*/ 70 w 118"/>
                  <a:gd name="T51" fmla="*/ 76 h 122"/>
                  <a:gd name="T52" fmla="*/ 60 w 118"/>
                  <a:gd name="T53" fmla="*/ 70 h 122"/>
                  <a:gd name="T54" fmla="*/ 26 w 118"/>
                  <a:gd name="T55" fmla="*/ 60 h 122"/>
                  <a:gd name="T56" fmla="*/ 12 w 118"/>
                  <a:gd name="T57" fmla="*/ 52 h 122"/>
                  <a:gd name="T58" fmla="*/ 6 w 118"/>
                  <a:gd name="T59" fmla="*/ 42 h 122"/>
                  <a:gd name="T60" fmla="*/ 6 w 118"/>
                  <a:gd name="T61" fmla="*/ 36 h 122"/>
                  <a:gd name="T62" fmla="*/ 10 w 118"/>
                  <a:gd name="T63" fmla="*/ 22 h 122"/>
                  <a:gd name="T64" fmla="*/ 20 w 118"/>
                  <a:gd name="T65" fmla="*/ 14 h 122"/>
                  <a:gd name="T66" fmla="*/ 46 w 118"/>
                  <a:gd name="T67" fmla="*/ 8 h 122"/>
                  <a:gd name="T68" fmla="*/ 52 w 118"/>
                  <a:gd name="T69" fmla="*/ 8 h 122"/>
                  <a:gd name="T70" fmla="*/ 62 w 118"/>
                  <a:gd name="T71" fmla="*/ 0 h 122"/>
                  <a:gd name="T72" fmla="*/ 62 w 118"/>
                  <a:gd name="T73" fmla="*/ 10 h 122"/>
                  <a:gd name="T74" fmla="*/ 80 w 118"/>
                  <a:gd name="T75" fmla="*/ 20 h 122"/>
                  <a:gd name="T76" fmla="*/ 108 w 118"/>
                  <a:gd name="T77" fmla="*/ 10 h 122"/>
                  <a:gd name="T78" fmla="*/ 80 w 118"/>
                  <a:gd name="T79" fmla="*/ 4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2"/>
                    </a:moveTo>
                    <a:lnTo>
                      <a:pt x="80" y="42"/>
                    </a:lnTo>
                    <a:lnTo>
                      <a:pt x="78" y="36"/>
                    </a:lnTo>
                    <a:lnTo>
                      <a:pt x="74" y="30"/>
                    </a:lnTo>
                    <a:lnTo>
                      <a:pt x="68" y="28"/>
                    </a:lnTo>
                    <a:lnTo>
                      <a:pt x="58" y="26"/>
                    </a:lnTo>
                    <a:lnTo>
                      <a:pt x="58" y="26"/>
                    </a:lnTo>
                    <a:lnTo>
                      <a:pt x="52" y="28"/>
                    </a:lnTo>
                    <a:lnTo>
                      <a:pt x="48" y="30"/>
                    </a:lnTo>
                    <a:lnTo>
                      <a:pt x="48" y="34"/>
                    </a:lnTo>
                    <a:lnTo>
                      <a:pt x="48" y="34"/>
                    </a:lnTo>
                    <a:lnTo>
                      <a:pt x="48" y="36"/>
                    </a:lnTo>
                    <a:lnTo>
                      <a:pt x="50" y="38"/>
                    </a:lnTo>
                    <a:lnTo>
                      <a:pt x="58" y="42"/>
                    </a:lnTo>
                    <a:lnTo>
                      <a:pt x="82" y="48"/>
                    </a:lnTo>
                    <a:lnTo>
                      <a:pt x="94" y="52"/>
                    </a:lnTo>
                    <a:lnTo>
                      <a:pt x="106" y="58"/>
                    </a:lnTo>
                    <a:lnTo>
                      <a:pt x="114" y="68"/>
                    </a:lnTo>
                    <a:lnTo>
                      <a:pt x="116" y="72"/>
                    </a:lnTo>
                    <a:lnTo>
                      <a:pt x="118" y="78"/>
                    </a:lnTo>
                    <a:lnTo>
                      <a:pt x="118" y="78"/>
                    </a:lnTo>
                    <a:lnTo>
                      <a:pt x="118" y="86"/>
                    </a:lnTo>
                    <a:lnTo>
                      <a:pt x="114" y="94"/>
                    </a:lnTo>
                    <a:lnTo>
                      <a:pt x="110" y="100"/>
                    </a:lnTo>
                    <a:lnTo>
                      <a:pt x="104" y="104"/>
                    </a:lnTo>
                    <a:lnTo>
                      <a:pt x="98" y="108"/>
                    </a:lnTo>
                    <a:lnTo>
                      <a:pt x="90" y="110"/>
                    </a:lnTo>
                    <a:lnTo>
                      <a:pt x="72" y="112"/>
                    </a:lnTo>
                    <a:lnTo>
                      <a:pt x="72" y="112"/>
                    </a:lnTo>
                    <a:lnTo>
                      <a:pt x="66" y="110"/>
                    </a:lnTo>
                    <a:lnTo>
                      <a:pt x="66" y="122"/>
                    </a:lnTo>
                    <a:lnTo>
                      <a:pt x="54" y="122"/>
                    </a:lnTo>
                    <a:lnTo>
                      <a:pt x="54" y="108"/>
                    </a:lnTo>
                    <a:lnTo>
                      <a:pt x="54" y="108"/>
                    </a:lnTo>
                    <a:lnTo>
                      <a:pt x="42" y="104"/>
                    </a:lnTo>
                    <a:lnTo>
                      <a:pt x="34" y="96"/>
                    </a:lnTo>
                    <a:lnTo>
                      <a:pt x="32" y="108"/>
                    </a:lnTo>
                    <a:lnTo>
                      <a:pt x="0" y="108"/>
                    </a:lnTo>
                    <a:lnTo>
                      <a:pt x="2" y="70"/>
                    </a:lnTo>
                    <a:lnTo>
                      <a:pt x="34" y="70"/>
                    </a:lnTo>
                    <a:lnTo>
                      <a:pt x="34" y="70"/>
                    </a:lnTo>
                    <a:lnTo>
                      <a:pt x="36" y="74"/>
                    </a:lnTo>
                    <a:lnTo>
                      <a:pt x="36" y="78"/>
                    </a:lnTo>
                    <a:lnTo>
                      <a:pt x="42" y="82"/>
                    </a:lnTo>
                    <a:lnTo>
                      <a:pt x="50" y="84"/>
                    </a:lnTo>
                    <a:lnTo>
                      <a:pt x="56" y="84"/>
                    </a:lnTo>
                    <a:lnTo>
                      <a:pt x="56" y="84"/>
                    </a:lnTo>
                    <a:lnTo>
                      <a:pt x="66" y="84"/>
                    </a:lnTo>
                    <a:lnTo>
                      <a:pt x="70" y="82"/>
                    </a:lnTo>
                    <a:lnTo>
                      <a:pt x="72" y="78"/>
                    </a:lnTo>
                    <a:lnTo>
                      <a:pt x="72" y="78"/>
                    </a:lnTo>
                    <a:lnTo>
                      <a:pt x="70" y="76"/>
                    </a:lnTo>
                    <a:lnTo>
                      <a:pt x="68" y="74"/>
                    </a:lnTo>
                    <a:lnTo>
                      <a:pt x="60" y="70"/>
                    </a:lnTo>
                    <a:lnTo>
                      <a:pt x="38" y="66"/>
                    </a:lnTo>
                    <a:lnTo>
                      <a:pt x="26" y="60"/>
                    </a:lnTo>
                    <a:lnTo>
                      <a:pt x="16" y="56"/>
                    </a:lnTo>
                    <a:lnTo>
                      <a:pt x="12" y="52"/>
                    </a:lnTo>
                    <a:lnTo>
                      <a:pt x="8" y="46"/>
                    </a:lnTo>
                    <a:lnTo>
                      <a:pt x="6" y="42"/>
                    </a:lnTo>
                    <a:lnTo>
                      <a:pt x="6" y="36"/>
                    </a:lnTo>
                    <a:lnTo>
                      <a:pt x="6" y="36"/>
                    </a:lnTo>
                    <a:lnTo>
                      <a:pt x="8" y="28"/>
                    </a:lnTo>
                    <a:lnTo>
                      <a:pt x="10" y="22"/>
                    </a:lnTo>
                    <a:lnTo>
                      <a:pt x="16" y="18"/>
                    </a:lnTo>
                    <a:lnTo>
                      <a:pt x="20" y="14"/>
                    </a:lnTo>
                    <a:lnTo>
                      <a:pt x="32" y="10"/>
                    </a:lnTo>
                    <a:lnTo>
                      <a:pt x="46" y="8"/>
                    </a:lnTo>
                    <a:lnTo>
                      <a:pt x="46" y="8"/>
                    </a:lnTo>
                    <a:lnTo>
                      <a:pt x="52" y="8"/>
                    </a:lnTo>
                    <a:lnTo>
                      <a:pt x="52" y="0"/>
                    </a:lnTo>
                    <a:lnTo>
                      <a:pt x="62" y="0"/>
                    </a:lnTo>
                    <a:lnTo>
                      <a:pt x="62" y="10"/>
                    </a:lnTo>
                    <a:lnTo>
                      <a:pt x="62" y="10"/>
                    </a:lnTo>
                    <a:lnTo>
                      <a:pt x="72" y="14"/>
                    </a:lnTo>
                    <a:lnTo>
                      <a:pt x="80" y="20"/>
                    </a:lnTo>
                    <a:lnTo>
                      <a:pt x="80" y="10"/>
                    </a:lnTo>
                    <a:lnTo>
                      <a:pt x="108" y="10"/>
                    </a:lnTo>
                    <a:lnTo>
                      <a:pt x="110" y="42"/>
                    </a:lnTo>
                    <a:lnTo>
                      <a:pt x="80" y="4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2" name="Freeform 22"/>
              <p:cNvSpPr/>
              <p:nvPr/>
            </p:nvSpPr>
            <p:spPr bwMode="auto">
              <a:xfrm>
                <a:off x="7695494" y="3197422"/>
                <a:ext cx="797203" cy="222895"/>
              </a:xfrm>
              <a:custGeom>
                <a:avLst/>
                <a:gdLst>
                  <a:gd name="T0" fmla="*/ 436 w 480"/>
                  <a:gd name="T1" fmla="*/ 46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6 h 150"/>
                  <a:gd name="T44" fmla="*/ 174 w 480"/>
                  <a:gd name="T45" fmla="*/ 144 h 150"/>
                  <a:gd name="T46" fmla="*/ 218 w 480"/>
                  <a:gd name="T47" fmla="*/ 148 h 150"/>
                  <a:gd name="T48" fmla="*/ 240 w 480"/>
                  <a:gd name="T49" fmla="*/ 150 h 150"/>
                  <a:gd name="T50" fmla="*/ 262 w 480"/>
                  <a:gd name="T51" fmla="*/ 148 h 150"/>
                  <a:gd name="T52" fmla="*/ 306 w 480"/>
                  <a:gd name="T53" fmla="*/ 144 h 150"/>
                  <a:gd name="T54" fmla="*/ 348 w 480"/>
                  <a:gd name="T55" fmla="*/ 136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6"/>
                    </a:moveTo>
                    <a:lnTo>
                      <a:pt x="436" y="46"/>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50"/>
                    </a:lnTo>
                    <a:lnTo>
                      <a:pt x="240" y="150"/>
                    </a:lnTo>
                    <a:lnTo>
                      <a:pt x="262" y="148"/>
                    </a:lnTo>
                    <a:lnTo>
                      <a:pt x="262" y="148"/>
                    </a:lnTo>
                    <a:lnTo>
                      <a:pt x="306" y="144"/>
                    </a:lnTo>
                    <a:lnTo>
                      <a:pt x="306" y="144"/>
                    </a:lnTo>
                    <a:lnTo>
                      <a:pt x="348" y="136"/>
                    </a:lnTo>
                    <a:lnTo>
                      <a:pt x="348" y="136"/>
                    </a:lnTo>
                    <a:lnTo>
                      <a:pt x="372" y="130"/>
                    </a:lnTo>
                    <a:lnTo>
                      <a:pt x="392" y="124"/>
                    </a:lnTo>
                    <a:lnTo>
                      <a:pt x="392" y="124"/>
                    </a:lnTo>
                    <a:lnTo>
                      <a:pt x="416" y="114"/>
                    </a:lnTo>
                    <a:lnTo>
                      <a:pt x="436" y="104"/>
                    </a:lnTo>
                    <a:lnTo>
                      <a:pt x="436" y="104"/>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3" name="Freeform 23"/>
              <p:cNvSpPr/>
              <p:nvPr/>
            </p:nvSpPr>
            <p:spPr bwMode="auto">
              <a:xfrm>
                <a:off x="7695494" y="3197422"/>
                <a:ext cx="797203" cy="222895"/>
              </a:xfrm>
              <a:custGeom>
                <a:avLst/>
                <a:gdLst>
                  <a:gd name="T0" fmla="*/ 436 w 480"/>
                  <a:gd name="T1" fmla="*/ 46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6 h 150"/>
                  <a:gd name="T44" fmla="*/ 174 w 480"/>
                  <a:gd name="T45" fmla="*/ 144 h 150"/>
                  <a:gd name="T46" fmla="*/ 218 w 480"/>
                  <a:gd name="T47" fmla="*/ 148 h 150"/>
                  <a:gd name="T48" fmla="*/ 240 w 480"/>
                  <a:gd name="T49" fmla="*/ 150 h 150"/>
                  <a:gd name="T50" fmla="*/ 262 w 480"/>
                  <a:gd name="T51" fmla="*/ 148 h 150"/>
                  <a:gd name="T52" fmla="*/ 306 w 480"/>
                  <a:gd name="T53" fmla="*/ 144 h 150"/>
                  <a:gd name="T54" fmla="*/ 348 w 480"/>
                  <a:gd name="T55" fmla="*/ 136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6"/>
                    </a:moveTo>
                    <a:lnTo>
                      <a:pt x="436" y="46"/>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50"/>
                    </a:lnTo>
                    <a:lnTo>
                      <a:pt x="240" y="150"/>
                    </a:lnTo>
                    <a:lnTo>
                      <a:pt x="262" y="148"/>
                    </a:lnTo>
                    <a:lnTo>
                      <a:pt x="262" y="148"/>
                    </a:lnTo>
                    <a:lnTo>
                      <a:pt x="306" y="144"/>
                    </a:lnTo>
                    <a:lnTo>
                      <a:pt x="306" y="144"/>
                    </a:lnTo>
                    <a:lnTo>
                      <a:pt x="348" y="136"/>
                    </a:lnTo>
                    <a:lnTo>
                      <a:pt x="348" y="136"/>
                    </a:lnTo>
                    <a:lnTo>
                      <a:pt x="372" y="130"/>
                    </a:lnTo>
                    <a:lnTo>
                      <a:pt x="392" y="124"/>
                    </a:lnTo>
                    <a:lnTo>
                      <a:pt x="392" y="124"/>
                    </a:lnTo>
                    <a:lnTo>
                      <a:pt x="416" y="114"/>
                    </a:lnTo>
                    <a:lnTo>
                      <a:pt x="436" y="104"/>
                    </a:lnTo>
                    <a:lnTo>
                      <a:pt x="436" y="104"/>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4" name="Freeform 24"/>
              <p:cNvSpPr/>
              <p:nvPr/>
            </p:nvSpPr>
            <p:spPr bwMode="auto">
              <a:xfrm>
                <a:off x="7695494" y="2912116"/>
                <a:ext cx="797203" cy="326913"/>
              </a:xfrm>
              <a:custGeom>
                <a:avLst/>
                <a:gdLst>
                  <a:gd name="T0" fmla="*/ 240 w 480"/>
                  <a:gd name="T1" fmla="*/ 0 h 220"/>
                  <a:gd name="T2" fmla="*/ 240 w 480"/>
                  <a:gd name="T3" fmla="*/ 0 h 220"/>
                  <a:gd name="T4" fmla="*/ 192 w 480"/>
                  <a:gd name="T5" fmla="*/ 2 h 220"/>
                  <a:gd name="T6" fmla="*/ 146 w 480"/>
                  <a:gd name="T7" fmla="*/ 10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0 h 220"/>
                  <a:gd name="T52" fmla="*/ 146 w 480"/>
                  <a:gd name="T53" fmla="*/ 210 h 220"/>
                  <a:gd name="T54" fmla="*/ 192 w 480"/>
                  <a:gd name="T55" fmla="*/ 218 h 220"/>
                  <a:gd name="T56" fmla="*/ 240 w 480"/>
                  <a:gd name="T57" fmla="*/ 220 h 220"/>
                  <a:gd name="T58" fmla="*/ 240 w 480"/>
                  <a:gd name="T59" fmla="*/ 220 h 220"/>
                  <a:gd name="T60" fmla="*/ 288 w 480"/>
                  <a:gd name="T61" fmla="*/ 218 h 220"/>
                  <a:gd name="T62" fmla="*/ 334 w 480"/>
                  <a:gd name="T63" fmla="*/ 212 h 220"/>
                  <a:gd name="T64" fmla="*/ 374 w 480"/>
                  <a:gd name="T65" fmla="*/ 204 h 220"/>
                  <a:gd name="T66" fmla="*/ 392 w 480"/>
                  <a:gd name="T67" fmla="*/ 198 h 220"/>
                  <a:gd name="T68" fmla="*/ 410 w 480"/>
                  <a:gd name="T69" fmla="*/ 192 h 220"/>
                  <a:gd name="T70" fmla="*/ 426 w 480"/>
                  <a:gd name="T71" fmla="*/ 184 h 220"/>
                  <a:gd name="T72" fmla="*/ 440 w 480"/>
                  <a:gd name="T73" fmla="*/ 176 h 220"/>
                  <a:gd name="T74" fmla="*/ 452 w 480"/>
                  <a:gd name="T75" fmla="*/ 168 h 220"/>
                  <a:gd name="T76" fmla="*/ 462 w 480"/>
                  <a:gd name="T77" fmla="*/ 158 h 220"/>
                  <a:gd name="T78" fmla="*/ 470 w 480"/>
                  <a:gd name="T79" fmla="*/ 148 h 220"/>
                  <a:gd name="T80" fmla="*/ 476 w 480"/>
                  <a:gd name="T81" fmla="*/ 136 h 220"/>
                  <a:gd name="T82" fmla="*/ 478 w 480"/>
                  <a:gd name="T83" fmla="*/ 124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10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10"/>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0"/>
                    </a:lnTo>
                    <a:lnTo>
                      <a:pt x="146" y="210"/>
                    </a:lnTo>
                    <a:lnTo>
                      <a:pt x="192" y="218"/>
                    </a:lnTo>
                    <a:lnTo>
                      <a:pt x="240" y="220"/>
                    </a:lnTo>
                    <a:lnTo>
                      <a:pt x="240" y="220"/>
                    </a:lnTo>
                    <a:lnTo>
                      <a:pt x="288" y="218"/>
                    </a:lnTo>
                    <a:lnTo>
                      <a:pt x="334" y="212"/>
                    </a:lnTo>
                    <a:lnTo>
                      <a:pt x="374" y="204"/>
                    </a:lnTo>
                    <a:lnTo>
                      <a:pt x="392" y="198"/>
                    </a:lnTo>
                    <a:lnTo>
                      <a:pt x="410" y="192"/>
                    </a:lnTo>
                    <a:lnTo>
                      <a:pt x="426" y="184"/>
                    </a:lnTo>
                    <a:lnTo>
                      <a:pt x="440" y="176"/>
                    </a:lnTo>
                    <a:lnTo>
                      <a:pt x="452" y="168"/>
                    </a:lnTo>
                    <a:lnTo>
                      <a:pt x="462" y="158"/>
                    </a:lnTo>
                    <a:lnTo>
                      <a:pt x="470" y="148"/>
                    </a:lnTo>
                    <a:lnTo>
                      <a:pt x="476" y="136"/>
                    </a:lnTo>
                    <a:lnTo>
                      <a:pt x="478" y="124"/>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10"/>
                    </a:lnTo>
                    <a:lnTo>
                      <a:pt x="288" y="2"/>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5" name="Freeform 25"/>
              <p:cNvSpPr/>
              <p:nvPr/>
            </p:nvSpPr>
            <p:spPr bwMode="auto">
              <a:xfrm>
                <a:off x="7695494" y="2912116"/>
                <a:ext cx="797203" cy="326913"/>
              </a:xfrm>
              <a:custGeom>
                <a:avLst/>
                <a:gdLst>
                  <a:gd name="T0" fmla="*/ 240 w 480"/>
                  <a:gd name="T1" fmla="*/ 0 h 220"/>
                  <a:gd name="T2" fmla="*/ 240 w 480"/>
                  <a:gd name="T3" fmla="*/ 0 h 220"/>
                  <a:gd name="T4" fmla="*/ 192 w 480"/>
                  <a:gd name="T5" fmla="*/ 2 h 220"/>
                  <a:gd name="T6" fmla="*/ 146 w 480"/>
                  <a:gd name="T7" fmla="*/ 10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0 h 220"/>
                  <a:gd name="T52" fmla="*/ 146 w 480"/>
                  <a:gd name="T53" fmla="*/ 210 h 220"/>
                  <a:gd name="T54" fmla="*/ 192 w 480"/>
                  <a:gd name="T55" fmla="*/ 218 h 220"/>
                  <a:gd name="T56" fmla="*/ 240 w 480"/>
                  <a:gd name="T57" fmla="*/ 220 h 220"/>
                  <a:gd name="T58" fmla="*/ 240 w 480"/>
                  <a:gd name="T59" fmla="*/ 220 h 220"/>
                  <a:gd name="T60" fmla="*/ 288 w 480"/>
                  <a:gd name="T61" fmla="*/ 218 h 220"/>
                  <a:gd name="T62" fmla="*/ 334 w 480"/>
                  <a:gd name="T63" fmla="*/ 212 h 220"/>
                  <a:gd name="T64" fmla="*/ 374 w 480"/>
                  <a:gd name="T65" fmla="*/ 204 h 220"/>
                  <a:gd name="T66" fmla="*/ 392 w 480"/>
                  <a:gd name="T67" fmla="*/ 198 h 220"/>
                  <a:gd name="T68" fmla="*/ 410 w 480"/>
                  <a:gd name="T69" fmla="*/ 192 h 220"/>
                  <a:gd name="T70" fmla="*/ 426 w 480"/>
                  <a:gd name="T71" fmla="*/ 184 h 220"/>
                  <a:gd name="T72" fmla="*/ 440 w 480"/>
                  <a:gd name="T73" fmla="*/ 176 h 220"/>
                  <a:gd name="T74" fmla="*/ 452 w 480"/>
                  <a:gd name="T75" fmla="*/ 168 h 220"/>
                  <a:gd name="T76" fmla="*/ 462 w 480"/>
                  <a:gd name="T77" fmla="*/ 158 h 220"/>
                  <a:gd name="T78" fmla="*/ 470 w 480"/>
                  <a:gd name="T79" fmla="*/ 148 h 220"/>
                  <a:gd name="T80" fmla="*/ 476 w 480"/>
                  <a:gd name="T81" fmla="*/ 136 h 220"/>
                  <a:gd name="T82" fmla="*/ 478 w 480"/>
                  <a:gd name="T83" fmla="*/ 124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10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10"/>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0"/>
                    </a:lnTo>
                    <a:lnTo>
                      <a:pt x="146" y="210"/>
                    </a:lnTo>
                    <a:lnTo>
                      <a:pt x="192" y="218"/>
                    </a:lnTo>
                    <a:lnTo>
                      <a:pt x="240" y="220"/>
                    </a:lnTo>
                    <a:lnTo>
                      <a:pt x="240" y="220"/>
                    </a:lnTo>
                    <a:lnTo>
                      <a:pt x="288" y="218"/>
                    </a:lnTo>
                    <a:lnTo>
                      <a:pt x="334" y="212"/>
                    </a:lnTo>
                    <a:lnTo>
                      <a:pt x="374" y="204"/>
                    </a:lnTo>
                    <a:lnTo>
                      <a:pt x="392" y="198"/>
                    </a:lnTo>
                    <a:lnTo>
                      <a:pt x="410" y="192"/>
                    </a:lnTo>
                    <a:lnTo>
                      <a:pt x="426" y="184"/>
                    </a:lnTo>
                    <a:lnTo>
                      <a:pt x="440" y="176"/>
                    </a:lnTo>
                    <a:lnTo>
                      <a:pt x="452" y="168"/>
                    </a:lnTo>
                    <a:lnTo>
                      <a:pt x="462" y="158"/>
                    </a:lnTo>
                    <a:lnTo>
                      <a:pt x="470" y="148"/>
                    </a:lnTo>
                    <a:lnTo>
                      <a:pt x="476" y="136"/>
                    </a:lnTo>
                    <a:lnTo>
                      <a:pt x="478" y="124"/>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10"/>
                    </a:lnTo>
                    <a:lnTo>
                      <a:pt x="288" y="2"/>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6" name="Freeform 26"/>
              <p:cNvSpPr/>
              <p:nvPr/>
            </p:nvSpPr>
            <p:spPr bwMode="auto">
              <a:xfrm>
                <a:off x="7761927" y="2935892"/>
                <a:ext cx="664336" cy="243698"/>
              </a:xfrm>
              <a:custGeom>
                <a:avLst/>
                <a:gdLst>
                  <a:gd name="T0" fmla="*/ 200 w 400"/>
                  <a:gd name="T1" fmla="*/ 0 h 164"/>
                  <a:gd name="T2" fmla="*/ 200 w 400"/>
                  <a:gd name="T3" fmla="*/ 0 h 164"/>
                  <a:gd name="T4" fmla="*/ 160 w 400"/>
                  <a:gd name="T5" fmla="*/ 2 h 164"/>
                  <a:gd name="T6" fmla="*/ 122 w 400"/>
                  <a:gd name="T7" fmla="*/ 8 h 164"/>
                  <a:gd name="T8" fmla="*/ 88 w 400"/>
                  <a:gd name="T9" fmla="*/ 14 h 164"/>
                  <a:gd name="T10" fmla="*/ 58 w 400"/>
                  <a:gd name="T11" fmla="*/ 24 h 164"/>
                  <a:gd name="T12" fmla="*/ 34 w 400"/>
                  <a:gd name="T13" fmla="*/ 36 h 164"/>
                  <a:gd name="T14" fmla="*/ 24 w 400"/>
                  <a:gd name="T15" fmla="*/ 44 h 164"/>
                  <a:gd name="T16" fmla="*/ 16 w 400"/>
                  <a:gd name="T17" fmla="*/ 50 h 164"/>
                  <a:gd name="T18" fmla="*/ 10 w 400"/>
                  <a:gd name="T19" fmla="*/ 58 h 164"/>
                  <a:gd name="T20" fmla="*/ 4 w 400"/>
                  <a:gd name="T21" fmla="*/ 66 h 164"/>
                  <a:gd name="T22" fmla="*/ 2 w 400"/>
                  <a:gd name="T23" fmla="*/ 74 h 164"/>
                  <a:gd name="T24" fmla="*/ 0 w 400"/>
                  <a:gd name="T25" fmla="*/ 82 h 164"/>
                  <a:gd name="T26" fmla="*/ 0 w 400"/>
                  <a:gd name="T27" fmla="*/ 82 h 164"/>
                  <a:gd name="T28" fmla="*/ 2 w 400"/>
                  <a:gd name="T29" fmla="*/ 90 h 164"/>
                  <a:gd name="T30" fmla="*/ 4 w 400"/>
                  <a:gd name="T31" fmla="*/ 98 h 164"/>
                  <a:gd name="T32" fmla="*/ 10 w 400"/>
                  <a:gd name="T33" fmla="*/ 106 h 164"/>
                  <a:gd name="T34" fmla="*/ 16 w 400"/>
                  <a:gd name="T35" fmla="*/ 114 h 164"/>
                  <a:gd name="T36" fmla="*/ 24 w 400"/>
                  <a:gd name="T37" fmla="*/ 120 h 164"/>
                  <a:gd name="T38" fmla="*/ 34 w 400"/>
                  <a:gd name="T39" fmla="*/ 128 h 164"/>
                  <a:gd name="T40" fmla="*/ 58 w 400"/>
                  <a:gd name="T41" fmla="*/ 140 h 164"/>
                  <a:gd name="T42" fmla="*/ 88 w 400"/>
                  <a:gd name="T43" fmla="*/ 150 h 164"/>
                  <a:gd name="T44" fmla="*/ 122 w 400"/>
                  <a:gd name="T45" fmla="*/ 158 h 164"/>
                  <a:gd name="T46" fmla="*/ 160 w 400"/>
                  <a:gd name="T47" fmla="*/ 162 h 164"/>
                  <a:gd name="T48" fmla="*/ 200 w 400"/>
                  <a:gd name="T49" fmla="*/ 164 h 164"/>
                  <a:gd name="T50" fmla="*/ 200 w 400"/>
                  <a:gd name="T51" fmla="*/ 164 h 164"/>
                  <a:gd name="T52" fmla="*/ 240 w 400"/>
                  <a:gd name="T53" fmla="*/ 162 h 164"/>
                  <a:gd name="T54" fmla="*/ 278 w 400"/>
                  <a:gd name="T55" fmla="*/ 158 h 164"/>
                  <a:gd name="T56" fmla="*/ 312 w 400"/>
                  <a:gd name="T57" fmla="*/ 150 h 164"/>
                  <a:gd name="T58" fmla="*/ 342 w 400"/>
                  <a:gd name="T59" fmla="*/ 140 h 164"/>
                  <a:gd name="T60" fmla="*/ 366 w 400"/>
                  <a:gd name="T61" fmla="*/ 128 h 164"/>
                  <a:gd name="T62" fmla="*/ 376 w 400"/>
                  <a:gd name="T63" fmla="*/ 120 h 164"/>
                  <a:gd name="T64" fmla="*/ 384 w 400"/>
                  <a:gd name="T65" fmla="*/ 114 h 164"/>
                  <a:gd name="T66" fmla="*/ 392 w 400"/>
                  <a:gd name="T67" fmla="*/ 106 h 164"/>
                  <a:gd name="T68" fmla="*/ 396 w 400"/>
                  <a:gd name="T69" fmla="*/ 98 h 164"/>
                  <a:gd name="T70" fmla="*/ 400 w 400"/>
                  <a:gd name="T71" fmla="*/ 90 h 164"/>
                  <a:gd name="T72" fmla="*/ 400 w 400"/>
                  <a:gd name="T73" fmla="*/ 82 h 164"/>
                  <a:gd name="T74" fmla="*/ 400 w 400"/>
                  <a:gd name="T75" fmla="*/ 82 h 164"/>
                  <a:gd name="T76" fmla="*/ 400 w 400"/>
                  <a:gd name="T77" fmla="*/ 74 h 164"/>
                  <a:gd name="T78" fmla="*/ 396 w 400"/>
                  <a:gd name="T79" fmla="*/ 66 h 164"/>
                  <a:gd name="T80" fmla="*/ 392 w 400"/>
                  <a:gd name="T81" fmla="*/ 58 h 164"/>
                  <a:gd name="T82" fmla="*/ 384 w 400"/>
                  <a:gd name="T83" fmla="*/ 50 h 164"/>
                  <a:gd name="T84" fmla="*/ 376 w 400"/>
                  <a:gd name="T85" fmla="*/ 44 h 164"/>
                  <a:gd name="T86" fmla="*/ 366 w 400"/>
                  <a:gd name="T87" fmla="*/ 36 h 164"/>
                  <a:gd name="T88" fmla="*/ 342 w 400"/>
                  <a:gd name="T89" fmla="*/ 24 h 164"/>
                  <a:gd name="T90" fmla="*/ 312 w 400"/>
                  <a:gd name="T91" fmla="*/ 14 h 164"/>
                  <a:gd name="T92" fmla="*/ 278 w 400"/>
                  <a:gd name="T93" fmla="*/ 8 h 164"/>
                  <a:gd name="T94" fmla="*/ 240 w 400"/>
                  <a:gd name="T95" fmla="*/ 2 h 164"/>
                  <a:gd name="T96" fmla="*/ 200 w 400"/>
                  <a:gd name="T97" fmla="*/ 0 h 164"/>
                  <a:gd name="T98" fmla="*/ 200 w 400"/>
                  <a:gd name="T9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164">
                    <a:moveTo>
                      <a:pt x="200" y="0"/>
                    </a:moveTo>
                    <a:lnTo>
                      <a:pt x="200" y="0"/>
                    </a:lnTo>
                    <a:lnTo>
                      <a:pt x="160" y="2"/>
                    </a:lnTo>
                    <a:lnTo>
                      <a:pt x="122" y="8"/>
                    </a:lnTo>
                    <a:lnTo>
                      <a:pt x="88" y="14"/>
                    </a:lnTo>
                    <a:lnTo>
                      <a:pt x="58" y="24"/>
                    </a:lnTo>
                    <a:lnTo>
                      <a:pt x="34" y="36"/>
                    </a:lnTo>
                    <a:lnTo>
                      <a:pt x="24" y="44"/>
                    </a:lnTo>
                    <a:lnTo>
                      <a:pt x="16" y="50"/>
                    </a:lnTo>
                    <a:lnTo>
                      <a:pt x="10" y="58"/>
                    </a:lnTo>
                    <a:lnTo>
                      <a:pt x="4" y="66"/>
                    </a:lnTo>
                    <a:lnTo>
                      <a:pt x="2" y="74"/>
                    </a:lnTo>
                    <a:lnTo>
                      <a:pt x="0" y="82"/>
                    </a:lnTo>
                    <a:lnTo>
                      <a:pt x="0" y="82"/>
                    </a:lnTo>
                    <a:lnTo>
                      <a:pt x="2" y="90"/>
                    </a:lnTo>
                    <a:lnTo>
                      <a:pt x="4" y="98"/>
                    </a:lnTo>
                    <a:lnTo>
                      <a:pt x="10" y="106"/>
                    </a:lnTo>
                    <a:lnTo>
                      <a:pt x="16" y="114"/>
                    </a:lnTo>
                    <a:lnTo>
                      <a:pt x="24" y="120"/>
                    </a:lnTo>
                    <a:lnTo>
                      <a:pt x="34" y="128"/>
                    </a:lnTo>
                    <a:lnTo>
                      <a:pt x="58" y="140"/>
                    </a:lnTo>
                    <a:lnTo>
                      <a:pt x="88" y="150"/>
                    </a:lnTo>
                    <a:lnTo>
                      <a:pt x="122" y="158"/>
                    </a:lnTo>
                    <a:lnTo>
                      <a:pt x="160" y="162"/>
                    </a:lnTo>
                    <a:lnTo>
                      <a:pt x="200" y="164"/>
                    </a:lnTo>
                    <a:lnTo>
                      <a:pt x="200" y="164"/>
                    </a:lnTo>
                    <a:lnTo>
                      <a:pt x="240" y="162"/>
                    </a:lnTo>
                    <a:lnTo>
                      <a:pt x="278" y="158"/>
                    </a:lnTo>
                    <a:lnTo>
                      <a:pt x="312" y="150"/>
                    </a:lnTo>
                    <a:lnTo>
                      <a:pt x="342" y="140"/>
                    </a:lnTo>
                    <a:lnTo>
                      <a:pt x="366" y="128"/>
                    </a:lnTo>
                    <a:lnTo>
                      <a:pt x="376" y="120"/>
                    </a:lnTo>
                    <a:lnTo>
                      <a:pt x="384" y="114"/>
                    </a:lnTo>
                    <a:lnTo>
                      <a:pt x="392" y="106"/>
                    </a:lnTo>
                    <a:lnTo>
                      <a:pt x="396" y="98"/>
                    </a:lnTo>
                    <a:lnTo>
                      <a:pt x="400" y="90"/>
                    </a:lnTo>
                    <a:lnTo>
                      <a:pt x="400" y="82"/>
                    </a:lnTo>
                    <a:lnTo>
                      <a:pt x="400" y="82"/>
                    </a:lnTo>
                    <a:lnTo>
                      <a:pt x="400" y="74"/>
                    </a:lnTo>
                    <a:lnTo>
                      <a:pt x="396" y="66"/>
                    </a:lnTo>
                    <a:lnTo>
                      <a:pt x="392" y="58"/>
                    </a:lnTo>
                    <a:lnTo>
                      <a:pt x="384" y="50"/>
                    </a:lnTo>
                    <a:lnTo>
                      <a:pt x="376" y="44"/>
                    </a:lnTo>
                    <a:lnTo>
                      <a:pt x="366" y="36"/>
                    </a:lnTo>
                    <a:lnTo>
                      <a:pt x="342" y="24"/>
                    </a:lnTo>
                    <a:lnTo>
                      <a:pt x="312" y="14"/>
                    </a:lnTo>
                    <a:lnTo>
                      <a:pt x="278" y="8"/>
                    </a:lnTo>
                    <a:lnTo>
                      <a:pt x="240" y="2"/>
                    </a:lnTo>
                    <a:lnTo>
                      <a:pt x="20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7" name="Freeform 27"/>
              <p:cNvSpPr>
                <a:spLocks noEditPoints="1"/>
              </p:cNvSpPr>
              <p:nvPr/>
            </p:nvSpPr>
            <p:spPr bwMode="auto">
              <a:xfrm>
                <a:off x="7758606" y="2935892"/>
                <a:ext cx="670979" cy="246670"/>
              </a:xfrm>
              <a:custGeom>
                <a:avLst/>
                <a:gdLst>
                  <a:gd name="T0" fmla="*/ 212 w 404"/>
                  <a:gd name="T1" fmla="*/ 162 h 166"/>
                  <a:gd name="T2" fmla="*/ 192 w 404"/>
                  <a:gd name="T3" fmla="*/ 166 h 166"/>
                  <a:gd name="T4" fmla="*/ 222 w 404"/>
                  <a:gd name="T5" fmla="*/ 164 h 166"/>
                  <a:gd name="T6" fmla="*/ 222 w 404"/>
                  <a:gd name="T7" fmla="*/ 164 h 166"/>
                  <a:gd name="T8" fmla="*/ 164 w 404"/>
                  <a:gd name="T9" fmla="*/ 160 h 166"/>
                  <a:gd name="T10" fmla="*/ 250 w 404"/>
                  <a:gd name="T11" fmla="*/ 160 h 166"/>
                  <a:gd name="T12" fmla="*/ 154 w 404"/>
                  <a:gd name="T13" fmla="*/ 162 h 166"/>
                  <a:gd name="T14" fmla="*/ 260 w 404"/>
                  <a:gd name="T15" fmla="*/ 162 h 166"/>
                  <a:gd name="T16" fmla="*/ 260 w 404"/>
                  <a:gd name="T17" fmla="*/ 162 h 166"/>
                  <a:gd name="T18" fmla="*/ 126 w 404"/>
                  <a:gd name="T19" fmla="*/ 156 h 166"/>
                  <a:gd name="T20" fmla="*/ 288 w 404"/>
                  <a:gd name="T21" fmla="*/ 154 h 166"/>
                  <a:gd name="T22" fmla="*/ 116 w 404"/>
                  <a:gd name="T23" fmla="*/ 158 h 166"/>
                  <a:gd name="T24" fmla="*/ 298 w 404"/>
                  <a:gd name="T25" fmla="*/ 156 h 166"/>
                  <a:gd name="T26" fmla="*/ 298 w 404"/>
                  <a:gd name="T27" fmla="*/ 156 h 166"/>
                  <a:gd name="T28" fmla="*/ 88 w 404"/>
                  <a:gd name="T29" fmla="*/ 148 h 166"/>
                  <a:gd name="T30" fmla="*/ 324 w 404"/>
                  <a:gd name="T31" fmla="*/ 144 h 166"/>
                  <a:gd name="T32" fmla="*/ 78 w 404"/>
                  <a:gd name="T33" fmla="*/ 148 h 166"/>
                  <a:gd name="T34" fmla="*/ 334 w 404"/>
                  <a:gd name="T35" fmla="*/ 144 h 166"/>
                  <a:gd name="T36" fmla="*/ 334 w 404"/>
                  <a:gd name="T37" fmla="*/ 144 h 166"/>
                  <a:gd name="T38" fmla="*/ 52 w 404"/>
                  <a:gd name="T39" fmla="*/ 134 h 166"/>
                  <a:gd name="T40" fmla="*/ 360 w 404"/>
                  <a:gd name="T41" fmla="*/ 130 h 166"/>
                  <a:gd name="T42" fmla="*/ 42 w 404"/>
                  <a:gd name="T43" fmla="*/ 132 h 166"/>
                  <a:gd name="T44" fmla="*/ 370 w 404"/>
                  <a:gd name="T45" fmla="*/ 128 h 166"/>
                  <a:gd name="T46" fmla="*/ 370 w 404"/>
                  <a:gd name="T47" fmla="*/ 128 h 166"/>
                  <a:gd name="T48" fmla="*/ 20 w 404"/>
                  <a:gd name="T49" fmla="*/ 114 h 166"/>
                  <a:gd name="T50" fmla="*/ 390 w 404"/>
                  <a:gd name="T51" fmla="*/ 108 h 166"/>
                  <a:gd name="T52" fmla="*/ 12 w 404"/>
                  <a:gd name="T53" fmla="*/ 110 h 166"/>
                  <a:gd name="T54" fmla="*/ 398 w 404"/>
                  <a:gd name="T55" fmla="*/ 102 h 166"/>
                  <a:gd name="T56" fmla="*/ 398 w 404"/>
                  <a:gd name="T57" fmla="*/ 102 h 166"/>
                  <a:gd name="T58" fmla="*/ 4 w 404"/>
                  <a:gd name="T59" fmla="*/ 82 h 166"/>
                  <a:gd name="T60" fmla="*/ 402 w 404"/>
                  <a:gd name="T61" fmla="*/ 82 h 166"/>
                  <a:gd name="T62" fmla="*/ 404 w 404"/>
                  <a:gd name="T63" fmla="*/ 82 h 166"/>
                  <a:gd name="T64" fmla="*/ 8 w 404"/>
                  <a:gd name="T65" fmla="*/ 64 h 166"/>
                  <a:gd name="T66" fmla="*/ 390 w 404"/>
                  <a:gd name="T67" fmla="*/ 58 h 166"/>
                  <a:gd name="T68" fmla="*/ 12 w 404"/>
                  <a:gd name="T69" fmla="*/ 54 h 166"/>
                  <a:gd name="T70" fmla="*/ 14 w 404"/>
                  <a:gd name="T71" fmla="*/ 56 h 166"/>
                  <a:gd name="T72" fmla="*/ 386 w 404"/>
                  <a:gd name="T73" fmla="*/ 48 h 166"/>
                  <a:gd name="T74" fmla="*/ 36 w 404"/>
                  <a:gd name="T75" fmla="*/ 38 h 166"/>
                  <a:gd name="T76" fmla="*/ 360 w 404"/>
                  <a:gd name="T77" fmla="*/ 34 h 166"/>
                  <a:gd name="T78" fmla="*/ 42 w 404"/>
                  <a:gd name="T79" fmla="*/ 32 h 166"/>
                  <a:gd name="T80" fmla="*/ 44 w 404"/>
                  <a:gd name="T81" fmla="*/ 34 h 166"/>
                  <a:gd name="T82" fmla="*/ 354 w 404"/>
                  <a:gd name="T83" fmla="*/ 28 h 166"/>
                  <a:gd name="T84" fmla="*/ 70 w 404"/>
                  <a:gd name="T85" fmla="*/ 22 h 166"/>
                  <a:gd name="T86" fmla="*/ 326 w 404"/>
                  <a:gd name="T87" fmla="*/ 20 h 166"/>
                  <a:gd name="T88" fmla="*/ 78 w 404"/>
                  <a:gd name="T89" fmla="*/ 16 h 166"/>
                  <a:gd name="T90" fmla="*/ 80 w 404"/>
                  <a:gd name="T91" fmla="*/ 20 h 166"/>
                  <a:gd name="T92" fmla="*/ 318 w 404"/>
                  <a:gd name="T93" fmla="*/ 14 h 166"/>
                  <a:gd name="T94" fmla="*/ 106 w 404"/>
                  <a:gd name="T95" fmla="*/ 12 h 166"/>
                  <a:gd name="T96" fmla="*/ 288 w 404"/>
                  <a:gd name="T97" fmla="*/ 10 h 166"/>
                  <a:gd name="T98" fmla="*/ 116 w 404"/>
                  <a:gd name="T99" fmla="*/ 8 h 166"/>
                  <a:gd name="T100" fmla="*/ 116 w 404"/>
                  <a:gd name="T101" fmla="*/ 10 h 166"/>
                  <a:gd name="T102" fmla="*/ 280 w 404"/>
                  <a:gd name="T103" fmla="*/ 6 h 166"/>
                  <a:gd name="T104" fmla="*/ 144 w 404"/>
                  <a:gd name="T105" fmla="*/ 6 h 166"/>
                  <a:gd name="T106" fmla="*/ 250 w 404"/>
                  <a:gd name="T107" fmla="*/ 4 h 166"/>
                  <a:gd name="T108" fmla="*/ 154 w 404"/>
                  <a:gd name="T109" fmla="*/ 2 h 166"/>
                  <a:gd name="T110" fmla="*/ 154 w 404"/>
                  <a:gd name="T111" fmla="*/ 4 h 166"/>
                  <a:gd name="T112" fmla="*/ 242 w 404"/>
                  <a:gd name="T113" fmla="*/ 0 h 166"/>
                  <a:gd name="T114" fmla="*/ 182 w 404"/>
                  <a:gd name="T115" fmla="*/ 2 h 166"/>
                  <a:gd name="T116" fmla="*/ 212 w 404"/>
                  <a:gd name="T117" fmla="*/ 2 h 166"/>
                  <a:gd name="T118" fmla="*/ 192 w 404"/>
                  <a:gd name="T119" fmla="*/ 0 h 166"/>
                  <a:gd name="T120" fmla="*/ 202 w 404"/>
                  <a:gd name="T121"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4" h="166">
                    <a:moveTo>
                      <a:pt x="202" y="166"/>
                    </a:moveTo>
                    <a:lnTo>
                      <a:pt x="202" y="164"/>
                    </a:lnTo>
                    <a:lnTo>
                      <a:pt x="202" y="162"/>
                    </a:lnTo>
                    <a:lnTo>
                      <a:pt x="202" y="162"/>
                    </a:lnTo>
                    <a:lnTo>
                      <a:pt x="202" y="162"/>
                    </a:lnTo>
                    <a:lnTo>
                      <a:pt x="212" y="162"/>
                    </a:lnTo>
                    <a:lnTo>
                      <a:pt x="212" y="166"/>
                    </a:lnTo>
                    <a:lnTo>
                      <a:pt x="212" y="166"/>
                    </a:lnTo>
                    <a:lnTo>
                      <a:pt x="202" y="166"/>
                    </a:lnTo>
                    <a:lnTo>
                      <a:pt x="202" y="166"/>
                    </a:lnTo>
                    <a:close/>
                    <a:moveTo>
                      <a:pt x="192" y="166"/>
                    </a:moveTo>
                    <a:lnTo>
                      <a:pt x="192" y="166"/>
                    </a:lnTo>
                    <a:lnTo>
                      <a:pt x="182" y="164"/>
                    </a:lnTo>
                    <a:lnTo>
                      <a:pt x="182" y="162"/>
                    </a:lnTo>
                    <a:lnTo>
                      <a:pt x="182" y="162"/>
                    </a:lnTo>
                    <a:lnTo>
                      <a:pt x="192" y="162"/>
                    </a:lnTo>
                    <a:lnTo>
                      <a:pt x="192" y="166"/>
                    </a:lnTo>
                    <a:close/>
                    <a:moveTo>
                      <a:pt x="222" y="164"/>
                    </a:moveTo>
                    <a:lnTo>
                      <a:pt x="222" y="162"/>
                    </a:lnTo>
                    <a:lnTo>
                      <a:pt x="222" y="162"/>
                    </a:lnTo>
                    <a:lnTo>
                      <a:pt x="230" y="162"/>
                    </a:lnTo>
                    <a:lnTo>
                      <a:pt x="230" y="164"/>
                    </a:lnTo>
                    <a:lnTo>
                      <a:pt x="230" y="164"/>
                    </a:lnTo>
                    <a:lnTo>
                      <a:pt x="222" y="164"/>
                    </a:lnTo>
                    <a:lnTo>
                      <a:pt x="222" y="164"/>
                    </a:lnTo>
                    <a:close/>
                    <a:moveTo>
                      <a:pt x="172" y="164"/>
                    </a:moveTo>
                    <a:lnTo>
                      <a:pt x="172" y="164"/>
                    </a:lnTo>
                    <a:lnTo>
                      <a:pt x="164" y="164"/>
                    </a:lnTo>
                    <a:lnTo>
                      <a:pt x="164" y="160"/>
                    </a:lnTo>
                    <a:lnTo>
                      <a:pt x="164" y="160"/>
                    </a:lnTo>
                    <a:lnTo>
                      <a:pt x="174" y="162"/>
                    </a:lnTo>
                    <a:lnTo>
                      <a:pt x="172" y="164"/>
                    </a:lnTo>
                    <a:close/>
                    <a:moveTo>
                      <a:pt x="240" y="164"/>
                    </a:moveTo>
                    <a:lnTo>
                      <a:pt x="240" y="160"/>
                    </a:lnTo>
                    <a:lnTo>
                      <a:pt x="240" y="160"/>
                    </a:lnTo>
                    <a:lnTo>
                      <a:pt x="250" y="160"/>
                    </a:lnTo>
                    <a:lnTo>
                      <a:pt x="250" y="162"/>
                    </a:lnTo>
                    <a:lnTo>
                      <a:pt x="250" y="162"/>
                    </a:lnTo>
                    <a:lnTo>
                      <a:pt x="240" y="164"/>
                    </a:lnTo>
                    <a:lnTo>
                      <a:pt x="240" y="164"/>
                    </a:lnTo>
                    <a:close/>
                    <a:moveTo>
                      <a:pt x="154" y="162"/>
                    </a:moveTo>
                    <a:lnTo>
                      <a:pt x="154" y="162"/>
                    </a:lnTo>
                    <a:lnTo>
                      <a:pt x="144" y="162"/>
                    </a:lnTo>
                    <a:lnTo>
                      <a:pt x="144" y="158"/>
                    </a:lnTo>
                    <a:lnTo>
                      <a:pt x="144" y="158"/>
                    </a:lnTo>
                    <a:lnTo>
                      <a:pt x="154" y="160"/>
                    </a:lnTo>
                    <a:lnTo>
                      <a:pt x="154" y="162"/>
                    </a:lnTo>
                    <a:close/>
                    <a:moveTo>
                      <a:pt x="260" y="162"/>
                    </a:moveTo>
                    <a:lnTo>
                      <a:pt x="260" y="158"/>
                    </a:lnTo>
                    <a:lnTo>
                      <a:pt x="260" y="158"/>
                    </a:lnTo>
                    <a:lnTo>
                      <a:pt x="268" y="158"/>
                    </a:lnTo>
                    <a:lnTo>
                      <a:pt x="270" y="160"/>
                    </a:lnTo>
                    <a:lnTo>
                      <a:pt x="270" y="160"/>
                    </a:lnTo>
                    <a:lnTo>
                      <a:pt x="260" y="162"/>
                    </a:lnTo>
                    <a:lnTo>
                      <a:pt x="260" y="162"/>
                    </a:lnTo>
                    <a:close/>
                    <a:moveTo>
                      <a:pt x="134" y="160"/>
                    </a:moveTo>
                    <a:lnTo>
                      <a:pt x="134" y="160"/>
                    </a:lnTo>
                    <a:lnTo>
                      <a:pt x="126" y="158"/>
                    </a:lnTo>
                    <a:lnTo>
                      <a:pt x="126" y="156"/>
                    </a:lnTo>
                    <a:lnTo>
                      <a:pt x="126" y="156"/>
                    </a:lnTo>
                    <a:lnTo>
                      <a:pt x="136" y="158"/>
                    </a:lnTo>
                    <a:lnTo>
                      <a:pt x="134" y="160"/>
                    </a:lnTo>
                    <a:close/>
                    <a:moveTo>
                      <a:pt x="278" y="158"/>
                    </a:moveTo>
                    <a:lnTo>
                      <a:pt x="278" y="156"/>
                    </a:lnTo>
                    <a:lnTo>
                      <a:pt x="278" y="156"/>
                    </a:lnTo>
                    <a:lnTo>
                      <a:pt x="288" y="154"/>
                    </a:lnTo>
                    <a:lnTo>
                      <a:pt x="288" y="158"/>
                    </a:lnTo>
                    <a:lnTo>
                      <a:pt x="288" y="158"/>
                    </a:lnTo>
                    <a:lnTo>
                      <a:pt x="278" y="158"/>
                    </a:lnTo>
                    <a:lnTo>
                      <a:pt x="278" y="158"/>
                    </a:lnTo>
                    <a:close/>
                    <a:moveTo>
                      <a:pt x="116" y="158"/>
                    </a:moveTo>
                    <a:lnTo>
                      <a:pt x="116" y="158"/>
                    </a:lnTo>
                    <a:lnTo>
                      <a:pt x="106" y="156"/>
                    </a:lnTo>
                    <a:lnTo>
                      <a:pt x="106" y="152"/>
                    </a:lnTo>
                    <a:lnTo>
                      <a:pt x="106" y="152"/>
                    </a:lnTo>
                    <a:lnTo>
                      <a:pt x="116" y="154"/>
                    </a:lnTo>
                    <a:lnTo>
                      <a:pt x="116" y="158"/>
                    </a:lnTo>
                    <a:close/>
                    <a:moveTo>
                      <a:pt x="298" y="156"/>
                    </a:moveTo>
                    <a:lnTo>
                      <a:pt x="298" y="152"/>
                    </a:lnTo>
                    <a:lnTo>
                      <a:pt x="298" y="152"/>
                    </a:lnTo>
                    <a:lnTo>
                      <a:pt x="306" y="150"/>
                    </a:lnTo>
                    <a:lnTo>
                      <a:pt x="308" y="154"/>
                    </a:lnTo>
                    <a:lnTo>
                      <a:pt x="308" y="154"/>
                    </a:lnTo>
                    <a:lnTo>
                      <a:pt x="298" y="156"/>
                    </a:lnTo>
                    <a:lnTo>
                      <a:pt x="298" y="156"/>
                    </a:lnTo>
                    <a:close/>
                    <a:moveTo>
                      <a:pt x="96" y="152"/>
                    </a:moveTo>
                    <a:lnTo>
                      <a:pt x="96" y="152"/>
                    </a:lnTo>
                    <a:lnTo>
                      <a:pt x="88" y="150"/>
                    </a:lnTo>
                    <a:lnTo>
                      <a:pt x="88" y="148"/>
                    </a:lnTo>
                    <a:lnTo>
                      <a:pt x="88" y="148"/>
                    </a:lnTo>
                    <a:lnTo>
                      <a:pt x="98" y="150"/>
                    </a:lnTo>
                    <a:lnTo>
                      <a:pt x="96" y="152"/>
                    </a:lnTo>
                    <a:close/>
                    <a:moveTo>
                      <a:pt x="316" y="150"/>
                    </a:moveTo>
                    <a:lnTo>
                      <a:pt x="316" y="148"/>
                    </a:lnTo>
                    <a:lnTo>
                      <a:pt x="316" y="148"/>
                    </a:lnTo>
                    <a:lnTo>
                      <a:pt x="324" y="144"/>
                    </a:lnTo>
                    <a:lnTo>
                      <a:pt x="326" y="148"/>
                    </a:lnTo>
                    <a:lnTo>
                      <a:pt x="326" y="148"/>
                    </a:lnTo>
                    <a:lnTo>
                      <a:pt x="316" y="150"/>
                    </a:lnTo>
                    <a:lnTo>
                      <a:pt x="316" y="150"/>
                    </a:lnTo>
                    <a:close/>
                    <a:moveTo>
                      <a:pt x="78" y="148"/>
                    </a:moveTo>
                    <a:lnTo>
                      <a:pt x="78" y="148"/>
                    </a:lnTo>
                    <a:lnTo>
                      <a:pt x="68" y="144"/>
                    </a:lnTo>
                    <a:lnTo>
                      <a:pt x="70" y="142"/>
                    </a:lnTo>
                    <a:lnTo>
                      <a:pt x="70" y="142"/>
                    </a:lnTo>
                    <a:lnTo>
                      <a:pt x="80" y="144"/>
                    </a:lnTo>
                    <a:lnTo>
                      <a:pt x="78" y="148"/>
                    </a:lnTo>
                    <a:close/>
                    <a:moveTo>
                      <a:pt x="334" y="144"/>
                    </a:moveTo>
                    <a:lnTo>
                      <a:pt x="334" y="142"/>
                    </a:lnTo>
                    <a:lnTo>
                      <a:pt x="334" y="142"/>
                    </a:lnTo>
                    <a:lnTo>
                      <a:pt x="342" y="138"/>
                    </a:lnTo>
                    <a:lnTo>
                      <a:pt x="344" y="142"/>
                    </a:lnTo>
                    <a:lnTo>
                      <a:pt x="344" y="142"/>
                    </a:lnTo>
                    <a:lnTo>
                      <a:pt x="334" y="144"/>
                    </a:lnTo>
                    <a:lnTo>
                      <a:pt x="334" y="144"/>
                    </a:lnTo>
                    <a:close/>
                    <a:moveTo>
                      <a:pt x="60" y="142"/>
                    </a:moveTo>
                    <a:lnTo>
                      <a:pt x="60" y="142"/>
                    </a:lnTo>
                    <a:lnTo>
                      <a:pt x="50" y="138"/>
                    </a:lnTo>
                    <a:lnTo>
                      <a:pt x="52" y="134"/>
                    </a:lnTo>
                    <a:lnTo>
                      <a:pt x="52" y="134"/>
                    </a:lnTo>
                    <a:lnTo>
                      <a:pt x="62" y="138"/>
                    </a:lnTo>
                    <a:lnTo>
                      <a:pt x="60" y="142"/>
                    </a:lnTo>
                    <a:close/>
                    <a:moveTo>
                      <a:pt x="352" y="138"/>
                    </a:moveTo>
                    <a:lnTo>
                      <a:pt x="352" y="134"/>
                    </a:lnTo>
                    <a:lnTo>
                      <a:pt x="352" y="134"/>
                    </a:lnTo>
                    <a:lnTo>
                      <a:pt x="360" y="130"/>
                    </a:lnTo>
                    <a:lnTo>
                      <a:pt x="362" y="134"/>
                    </a:lnTo>
                    <a:lnTo>
                      <a:pt x="362" y="134"/>
                    </a:lnTo>
                    <a:lnTo>
                      <a:pt x="352" y="138"/>
                    </a:lnTo>
                    <a:lnTo>
                      <a:pt x="352" y="138"/>
                    </a:lnTo>
                    <a:close/>
                    <a:moveTo>
                      <a:pt x="42" y="132"/>
                    </a:moveTo>
                    <a:lnTo>
                      <a:pt x="42" y="132"/>
                    </a:lnTo>
                    <a:lnTo>
                      <a:pt x="34" y="128"/>
                    </a:lnTo>
                    <a:lnTo>
                      <a:pt x="36" y="126"/>
                    </a:lnTo>
                    <a:lnTo>
                      <a:pt x="36" y="126"/>
                    </a:lnTo>
                    <a:lnTo>
                      <a:pt x="44" y="130"/>
                    </a:lnTo>
                    <a:lnTo>
                      <a:pt x="42" y="132"/>
                    </a:lnTo>
                    <a:close/>
                    <a:moveTo>
                      <a:pt x="370" y="128"/>
                    </a:moveTo>
                    <a:lnTo>
                      <a:pt x="368" y="126"/>
                    </a:lnTo>
                    <a:lnTo>
                      <a:pt x="368" y="126"/>
                    </a:lnTo>
                    <a:lnTo>
                      <a:pt x="376" y="120"/>
                    </a:lnTo>
                    <a:lnTo>
                      <a:pt x="378" y="122"/>
                    </a:lnTo>
                    <a:lnTo>
                      <a:pt x="378" y="122"/>
                    </a:lnTo>
                    <a:lnTo>
                      <a:pt x="370" y="128"/>
                    </a:lnTo>
                    <a:lnTo>
                      <a:pt x="370" y="128"/>
                    </a:lnTo>
                    <a:close/>
                    <a:moveTo>
                      <a:pt x="26" y="122"/>
                    </a:moveTo>
                    <a:lnTo>
                      <a:pt x="26" y="122"/>
                    </a:lnTo>
                    <a:lnTo>
                      <a:pt x="18" y="116"/>
                    </a:lnTo>
                    <a:lnTo>
                      <a:pt x="20" y="114"/>
                    </a:lnTo>
                    <a:lnTo>
                      <a:pt x="20" y="114"/>
                    </a:lnTo>
                    <a:lnTo>
                      <a:pt x="28" y="120"/>
                    </a:lnTo>
                    <a:lnTo>
                      <a:pt x="26" y="122"/>
                    </a:lnTo>
                    <a:close/>
                    <a:moveTo>
                      <a:pt x="386" y="116"/>
                    </a:moveTo>
                    <a:lnTo>
                      <a:pt x="384" y="114"/>
                    </a:lnTo>
                    <a:lnTo>
                      <a:pt x="384" y="114"/>
                    </a:lnTo>
                    <a:lnTo>
                      <a:pt x="390" y="108"/>
                    </a:lnTo>
                    <a:lnTo>
                      <a:pt x="392" y="110"/>
                    </a:lnTo>
                    <a:lnTo>
                      <a:pt x="392" y="110"/>
                    </a:lnTo>
                    <a:lnTo>
                      <a:pt x="386" y="116"/>
                    </a:lnTo>
                    <a:lnTo>
                      <a:pt x="386" y="116"/>
                    </a:lnTo>
                    <a:close/>
                    <a:moveTo>
                      <a:pt x="12" y="110"/>
                    </a:moveTo>
                    <a:lnTo>
                      <a:pt x="12" y="110"/>
                    </a:lnTo>
                    <a:lnTo>
                      <a:pt x="6" y="102"/>
                    </a:lnTo>
                    <a:lnTo>
                      <a:pt x="8" y="100"/>
                    </a:lnTo>
                    <a:lnTo>
                      <a:pt x="8" y="100"/>
                    </a:lnTo>
                    <a:lnTo>
                      <a:pt x="14" y="108"/>
                    </a:lnTo>
                    <a:lnTo>
                      <a:pt x="12" y="110"/>
                    </a:lnTo>
                    <a:close/>
                    <a:moveTo>
                      <a:pt x="398" y="102"/>
                    </a:moveTo>
                    <a:lnTo>
                      <a:pt x="396" y="100"/>
                    </a:lnTo>
                    <a:lnTo>
                      <a:pt x="396" y="100"/>
                    </a:lnTo>
                    <a:lnTo>
                      <a:pt x="400" y="92"/>
                    </a:lnTo>
                    <a:lnTo>
                      <a:pt x="402" y="92"/>
                    </a:lnTo>
                    <a:lnTo>
                      <a:pt x="402" y="92"/>
                    </a:lnTo>
                    <a:lnTo>
                      <a:pt x="398" y="102"/>
                    </a:lnTo>
                    <a:lnTo>
                      <a:pt x="398" y="102"/>
                    </a:lnTo>
                    <a:close/>
                    <a:moveTo>
                      <a:pt x="2" y="92"/>
                    </a:moveTo>
                    <a:lnTo>
                      <a:pt x="2" y="92"/>
                    </a:lnTo>
                    <a:lnTo>
                      <a:pt x="0" y="82"/>
                    </a:lnTo>
                    <a:lnTo>
                      <a:pt x="4" y="82"/>
                    </a:lnTo>
                    <a:lnTo>
                      <a:pt x="4" y="82"/>
                    </a:lnTo>
                    <a:lnTo>
                      <a:pt x="4" y="82"/>
                    </a:lnTo>
                    <a:lnTo>
                      <a:pt x="6" y="92"/>
                    </a:lnTo>
                    <a:lnTo>
                      <a:pt x="2" y="92"/>
                    </a:lnTo>
                    <a:close/>
                    <a:moveTo>
                      <a:pt x="404" y="82"/>
                    </a:moveTo>
                    <a:lnTo>
                      <a:pt x="400" y="82"/>
                    </a:lnTo>
                    <a:lnTo>
                      <a:pt x="402" y="82"/>
                    </a:lnTo>
                    <a:lnTo>
                      <a:pt x="400" y="82"/>
                    </a:lnTo>
                    <a:lnTo>
                      <a:pt x="400" y="82"/>
                    </a:lnTo>
                    <a:lnTo>
                      <a:pt x="400" y="74"/>
                    </a:lnTo>
                    <a:lnTo>
                      <a:pt x="402" y="72"/>
                    </a:lnTo>
                    <a:lnTo>
                      <a:pt x="402" y="72"/>
                    </a:lnTo>
                    <a:lnTo>
                      <a:pt x="404" y="82"/>
                    </a:lnTo>
                    <a:lnTo>
                      <a:pt x="404" y="82"/>
                    </a:lnTo>
                    <a:close/>
                    <a:moveTo>
                      <a:pt x="6" y="74"/>
                    </a:moveTo>
                    <a:lnTo>
                      <a:pt x="2" y="72"/>
                    </a:lnTo>
                    <a:lnTo>
                      <a:pt x="2" y="72"/>
                    </a:lnTo>
                    <a:lnTo>
                      <a:pt x="6" y="62"/>
                    </a:lnTo>
                    <a:lnTo>
                      <a:pt x="8" y="64"/>
                    </a:lnTo>
                    <a:lnTo>
                      <a:pt x="8" y="64"/>
                    </a:lnTo>
                    <a:lnTo>
                      <a:pt x="6" y="74"/>
                    </a:lnTo>
                    <a:lnTo>
                      <a:pt x="6" y="74"/>
                    </a:lnTo>
                    <a:close/>
                    <a:moveTo>
                      <a:pt x="396" y="64"/>
                    </a:moveTo>
                    <a:lnTo>
                      <a:pt x="396" y="64"/>
                    </a:lnTo>
                    <a:lnTo>
                      <a:pt x="390" y="58"/>
                    </a:lnTo>
                    <a:lnTo>
                      <a:pt x="392" y="56"/>
                    </a:lnTo>
                    <a:lnTo>
                      <a:pt x="392" y="56"/>
                    </a:lnTo>
                    <a:lnTo>
                      <a:pt x="398" y="64"/>
                    </a:lnTo>
                    <a:lnTo>
                      <a:pt x="396" y="64"/>
                    </a:lnTo>
                    <a:close/>
                    <a:moveTo>
                      <a:pt x="14" y="56"/>
                    </a:moveTo>
                    <a:lnTo>
                      <a:pt x="12" y="54"/>
                    </a:lnTo>
                    <a:lnTo>
                      <a:pt x="12" y="54"/>
                    </a:lnTo>
                    <a:lnTo>
                      <a:pt x="18" y="48"/>
                    </a:lnTo>
                    <a:lnTo>
                      <a:pt x="20" y="50"/>
                    </a:lnTo>
                    <a:lnTo>
                      <a:pt x="20" y="50"/>
                    </a:lnTo>
                    <a:lnTo>
                      <a:pt x="14" y="56"/>
                    </a:lnTo>
                    <a:lnTo>
                      <a:pt x="14" y="56"/>
                    </a:lnTo>
                    <a:close/>
                    <a:moveTo>
                      <a:pt x="384" y="50"/>
                    </a:moveTo>
                    <a:lnTo>
                      <a:pt x="384" y="50"/>
                    </a:lnTo>
                    <a:lnTo>
                      <a:pt x="376" y="44"/>
                    </a:lnTo>
                    <a:lnTo>
                      <a:pt x="378" y="42"/>
                    </a:lnTo>
                    <a:lnTo>
                      <a:pt x="378" y="42"/>
                    </a:lnTo>
                    <a:lnTo>
                      <a:pt x="386" y="48"/>
                    </a:lnTo>
                    <a:lnTo>
                      <a:pt x="384" y="50"/>
                    </a:lnTo>
                    <a:close/>
                    <a:moveTo>
                      <a:pt x="28" y="44"/>
                    </a:moveTo>
                    <a:lnTo>
                      <a:pt x="26" y="42"/>
                    </a:lnTo>
                    <a:lnTo>
                      <a:pt x="26" y="42"/>
                    </a:lnTo>
                    <a:lnTo>
                      <a:pt x="34" y="36"/>
                    </a:lnTo>
                    <a:lnTo>
                      <a:pt x="36" y="38"/>
                    </a:lnTo>
                    <a:lnTo>
                      <a:pt x="36" y="38"/>
                    </a:lnTo>
                    <a:lnTo>
                      <a:pt x="28" y="44"/>
                    </a:lnTo>
                    <a:lnTo>
                      <a:pt x="28" y="44"/>
                    </a:lnTo>
                    <a:close/>
                    <a:moveTo>
                      <a:pt x="368" y="40"/>
                    </a:moveTo>
                    <a:lnTo>
                      <a:pt x="368" y="40"/>
                    </a:lnTo>
                    <a:lnTo>
                      <a:pt x="360" y="34"/>
                    </a:lnTo>
                    <a:lnTo>
                      <a:pt x="362" y="32"/>
                    </a:lnTo>
                    <a:lnTo>
                      <a:pt x="362" y="32"/>
                    </a:lnTo>
                    <a:lnTo>
                      <a:pt x="370" y="36"/>
                    </a:lnTo>
                    <a:lnTo>
                      <a:pt x="368" y="40"/>
                    </a:lnTo>
                    <a:close/>
                    <a:moveTo>
                      <a:pt x="44" y="34"/>
                    </a:moveTo>
                    <a:lnTo>
                      <a:pt x="42" y="32"/>
                    </a:lnTo>
                    <a:lnTo>
                      <a:pt x="42" y="32"/>
                    </a:lnTo>
                    <a:lnTo>
                      <a:pt x="52" y="28"/>
                    </a:lnTo>
                    <a:lnTo>
                      <a:pt x="52" y="30"/>
                    </a:lnTo>
                    <a:lnTo>
                      <a:pt x="52" y="30"/>
                    </a:lnTo>
                    <a:lnTo>
                      <a:pt x="44" y="34"/>
                    </a:lnTo>
                    <a:lnTo>
                      <a:pt x="44" y="34"/>
                    </a:lnTo>
                    <a:close/>
                    <a:moveTo>
                      <a:pt x="352" y="30"/>
                    </a:moveTo>
                    <a:lnTo>
                      <a:pt x="352" y="30"/>
                    </a:lnTo>
                    <a:lnTo>
                      <a:pt x="344" y="26"/>
                    </a:lnTo>
                    <a:lnTo>
                      <a:pt x="344" y="24"/>
                    </a:lnTo>
                    <a:lnTo>
                      <a:pt x="344" y="24"/>
                    </a:lnTo>
                    <a:lnTo>
                      <a:pt x="354" y="28"/>
                    </a:lnTo>
                    <a:lnTo>
                      <a:pt x="352" y="30"/>
                    </a:lnTo>
                    <a:close/>
                    <a:moveTo>
                      <a:pt x="62" y="26"/>
                    </a:moveTo>
                    <a:lnTo>
                      <a:pt x="60" y="24"/>
                    </a:lnTo>
                    <a:lnTo>
                      <a:pt x="60" y="24"/>
                    </a:lnTo>
                    <a:lnTo>
                      <a:pt x="70" y="20"/>
                    </a:lnTo>
                    <a:lnTo>
                      <a:pt x="70" y="22"/>
                    </a:lnTo>
                    <a:lnTo>
                      <a:pt x="70" y="22"/>
                    </a:lnTo>
                    <a:lnTo>
                      <a:pt x="62" y="26"/>
                    </a:lnTo>
                    <a:lnTo>
                      <a:pt x="62" y="26"/>
                    </a:lnTo>
                    <a:close/>
                    <a:moveTo>
                      <a:pt x="334" y="22"/>
                    </a:moveTo>
                    <a:lnTo>
                      <a:pt x="334" y="22"/>
                    </a:lnTo>
                    <a:lnTo>
                      <a:pt x="326" y="20"/>
                    </a:lnTo>
                    <a:lnTo>
                      <a:pt x="326" y="16"/>
                    </a:lnTo>
                    <a:lnTo>
                      <a:pt x="326" y="16"/>
                    </a:lnTo>
                    <a:lnTo>
                      <a:pt x="336" y="20"/>
                    </a:lnTo>
                    <a:lnTo>
                      <a:pt x="334" y="22"/>
                    </a:lnTo>
                    <a:close/>
                    <a:moveTo>
                      <a:pt x="80" y="20"/>
                    </a:moveTo>
                    <a:lnTo>
                      <a:pt x="78" y="16"/>
                    </a:lnTo>
                    <a:lnTo>
                      <a:pt x="78" y="16"/>
                    </a:lnTo>
                    <a:lnTo>
                      <a:pt x="88" y="14"/>
                    </a:lnTo>
                    <a:lnTo>
                      <a:pt x="88" y="16"/>
                    </a:lnTo>
                    <a:lnTo>
                      <a:pt x="88" y="16"/>
                    </a:lnTo>
                    <a:lnTo>
                      <a:pt x="80" y="20"/>
                    </a:lnTo>
                    <a:lnTo>
                      <a:pt x="80" y="20"/>
                    </a:lnTo>
                    <a:close/>
                    <a:moveTo>
                      <a:pt x="316" y="16"/>
                    </a:moveTo>
                    <a:lnTo>
                      <a:pt x="316" y="16"/>
                    </a:lnTo>
                    <a:lnTo>
                      <a:pt x="306" y="14"/>
                    </a:lnTo>
                    <a:lnTo>
                      <a:pt x="308" y="12"/>
                    </a:lnTo>
                    <a:lnTo>
                      <a:pt x="308" y="12"/>
                    </a:lnTo>
                    <a:lnTo>
                      <a:pt x="318" y="14"/>
                    </a:lnTo>
                    <a:lnTo>
                      <a:pt x="316" y="16"/>
                    </a:lnTo>
                    <a:close/>
                    <a:moveTo>
                      <a:pt x="98" y="14"/>
                    </a:moveTo>
                    <a:lnTo>
                      <a:pt x="96" y="12"/>
                    </a:lnTo>
                    <a:lnTo>
                      <a:pt x="96" y="12"/>
                    </a:lnTo>
                    <a:lnTo>
                      <a:pt x="106" y="10"/>
                    </a:lnTo>
                    <a:lnTo>
                      <a:pt x="106" y="12"/>
                    </a:lnTo>
                    <a:lnTo>
                      <a:pt x="106" y="12"/>
                    </a:lnTo>
                    <a:lnTo>
                      <a:pt x="98" y="14"/>
                    </a:lnTo>
                    <a:lnTo>
                      <a:pt x="98" y="14"/>
                    </a:lnTo>
                    <a:close/>
                    <a:moveTo>
                      <a:pt x="298" y="12"/>
                    </a:moveTo>
                    <a:lnTo>
                      <a:pt x="298" y="12"/>
                    </a:lnTo>
                    <a:lnTo>
                      <a:pt x="288" y="10"/>
                    </a:lnTo>
                    <a:lnTo>
                      <a:pt x="288" y="8"/>
                    </a:lnTo>
                    <a:lnTo>
                      <a:pt x="288" y="8"/>
                    </a:lnTo>
                    <a:lnTo>
                      <a:pt x="298" y="10"/>
                    </a:lnTo>
                    <a:lnTo>
                      <a:pt x="298" y="12"/>
                    </a:lnTo>
                    <a:close/>
                    <a:moveTo>
                      <a:pt x="116" y="10"/>
                    </a:moveTo>
                    <a:lnTo>
                      <a:pt x="116" y="8"/>
                    </a:lnTo>
                    <a:lnTo>
                      <a:pt x="116" y="8"/>
                    </a:lnTo>
                    <a:lnTo>
                      <a:pt x="126" y="6"/>
                    </a:lnTo>
                    <a:lnTo>
                      <a:pt x="126" y="8"/>
                    </a:lnTo>
                    <a:lnTo>
                      <a:pt x="126" y="8"/>
                    </a:lnTo>
                    <a:lnTo>
                      <a:pt x="116" y="10"/>
                    </a:lnTo>
                    <a:lnTo>
                      <a:pt x="116" y="10"/>
                    </a:lnTo>
                    <a:close/>
                    <a:moveTo>
                      <a:pt x="278" y="8"/>
                    </a:moveTo>
                    <a:lnTo>
                      <a:pt x="278" y="8"/>
                    </a:lnTo>
                    <a:lnTo>
                      <a:pt x="270" y="8"/>
                    </a:lnTo>
                    <a:lnTo>
                      <a:pt x="270" y="4"/>
                    </a:lnTo>
                    <a:lnTo>
                      <a:pt x="270" y="4"/>
                    </a:lnTo>
                    <a:lnTo>
                      <a:pt x="280" y="6"/>
                    </a:lnTo>
                    <a:lnTo>
                      <a:pt x="278" y="8"/>
                    </a:lnTo>
                    <a:close/>
                    <a:moveTo>
                      <a:pt x="136" y="8"/>
                    </a:moveTo>
                    <a:lnTo>
                      <a:pt x="134" y="4"/>
                    </a:lnTo>
                    <a:lnTo>
                      <a:pt x="134" y="4"/>
                    </a:lnTo>
                    <a:lnTo>
                      <a:pt x="144" y="2"/>
                    </a:lnTo>
                    <a:lnTo>
                      <a:pt x="144" y="6"/>
                    </a:lnTo>
                    <a:lnTo>
                      <a:pt x="144" y="6"/>
                    </a:lnTo>
                    <a:lnTo>
                      <a:pt x="136" y="8"/>
                    </a:lnTo>
                    <a:lnTo>
                      <a:pt x="136" y="8"/>
                    </a:lnTo>
                    <a:close/>
                    <a:moveTo>
                      <a:pt x="260" y="6"/>
                    </a:moveTo>
                    <a:lnTo>
                      <a:pt x="260" y="6"/>
                    </a:lnTo>
                    <a:lnTo>
                      <a:pt x="250" y="4"/>
                    </a:lnTo>
                    <a:lnTo>
                      <a:pt x="250" y="2"/>
                    </a:lnTo>
                    <a:lnTo>
                      <a:pt x="250" y="2"/>
                    </a:lnTo>
                    <a:lnTo>
                      <a:pt x="260" y="2"/>
                    </a:lnTo>
                    <a:lnTo>
                      <a:pt x="260" y="6"/>
                    </a:lnTo>
                    <a:close/>
                    <a:moveTo>
                      <a:pt x="154" y="4"/>
                    </a:moveTo>
                    <a:lnTo>
                      <a:pt x="154" y="2"/>
                    </a:lnTo>
                    <a:lnTo>
                      <a:pt x="154" y="2"/>
                    </a:lnTo>
                    <a:lnTo>
                      <a:pt x="164" y="0"/>
                    </a:lnTo>
                    <a:lnTo>
                      <a:pt x="164" y="4"/>
                    </a:lnTo>
                    <a:lnTo>
                      <a:pt x="164" y="4"/>
                    </a:lnTo>
                    <a:lnTo>
                      <a:pt x="154" y="4"/>
                    </a:lnTo>
                    <a:lnTo>
                      <a:pt x="154" y="4"/>
                    </a:lnTo>
                    <a:close/>
                    <a:moveTo>
                      <a:pt x="240" y="4"/>
                    </a:moveTo>
                    <a:lnTo>
                      <a:pt x="240" y="4"/>
                    </a:lnTo>
                    <a:lnTo>
                      <a:pt x="232" y="4"/>
                    </a:lnTo>
                    <a:lnTo>
                      <a:pt x="232" y="0"/>
                    </a:lnTo>
                    <a:lnTo>
                      <a:pt x="232" y="0"/>
                    </a:lnTo>
                    <a:lnTo>
                      <a:pt x="242" y="0"/>
                    </a:lnTo>
                    <a:lnTo>
                      <a:pt x="240" y="4"/>
                    </a:lnTo>
                    <a:close/>
                    <a:moveTo>
                      <a:pt x="174" y="4"/>
                    </a:moveTo>
                    <a:lnTo>
                      <a:pt x="174" y="0"/>
                    </a:lnTo>
                    <a:lnTo>
                      <a:pt x="174" y="0"/>
                    </a:lnTo>
                    <a:lnTo>
                      <a:pt x="182" y="0"/>
                    </a:lnTo>
                    <a:lnTo>
                      <a:pt x="182" y="2"/>
                    </a:lnTo>
                    <a:lnTo>
                      <a:pt x="182" y="2"/>
                    </a:lnTo>
                    <a:lnTo>
                      <a:pt x="174" y="4"/>
                    </a:lnTo>
                    <a:lnTo>
                      <a:pt x="174" y="4"/>
                    </a:lnTo>
                    <a:close/>
                    <a:moveTo>
                      <a:pt x="222" y="2"/>
                    </a:moveTo>
                    <a:lnTo>
                      <a:pt x="222" y="2"/>
                    </a:lnTo>
                    <a:lnTo>
                      <a:pt x="212" y="2"/>
                    </a:lnTo>
                    <a:lnTo>
                      <a:pt x="212" y="0"/>
                    </a:lnTo>
                    <a:lnTo>
                      <a:pt x="212" y="0"/>
                    </a:lnTo>
                    <a:lnTo>
                      <a:pt x="222" y="0"/>
                    </a:lnTo>
                    <a:lnTo>
                      <a:pt x="222" y="2"/>
                    </a:lnTo>
                    <a:close/>
                    <a:moveTo>
                      <a:pt x="192" y="2"/>
                    </a:moveTo>
                    <a:lnTo>
                      <a:pt x="192" y="0"/>
                    </a:lnTo>
                    <a:lnTo>
                      <a:pt x="192" y="0"/>
                    </a:lnTo>
                    <a:lnTo>
                      <a:pt x="202" y="0"/>
                    </a:lnTo>
                    <a:lnTo>
                      <a:pt x="202" y="0"/>
                    </a:lnTo>
                    <a:lnTo>
                      <a:pt x="202" y="2"/>
                    </a:lnTo>
                    <a:lnTo>
                      <a:pt x="202" y="2"/>
                    </a:lnTo>
                    <a:lnTo>
                      <a:pt x="202" y="2"/>
                    </a:lnTo>
                    <a:lnTo>
                      <a:pt x="192" y="2"/>
                    </a:lnTo>
                    <a:lnTo>
                      <a:pt x="192" y="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8" name="Freeform 28"/>
              <p:cNvSpPr/>
              <p:nvPr/>
            </p:nvSpPr>
            <p:spPr bwMode="auto">
              <a:xfrm>
                <a:off x="8007732" y="2944808"/>
                <a:ext cx="195979" cy="184260"/>
              </a:xfrm>
              <a:custGeom>
                <a:avLst/>
                <a:gdLst>
                  <a:gd name="T0" fmla="*/ 80 w 118"/>
                  <a:gd name="T1" fmla="*/ 44 h 124"/>
                  <a:gd name="T2" fmla="*/ 74 w 118"/>
                  <a:gd name="T3" fmla="*/ 32 h 124"/>
                  <a:gd name="T4" fmla="*/ 58 w 118"/>
                  <a:gd name="T5" fmla="*/ 28 h 124"/>
                  <a:gd name="T6" fmla="*/ 52 w 118"/>
                  <a:gd name="T7" fmla="*/ 30 h 124"/>
                  <a:gd name="T8" fmla="*/ 48 w 118"/>
                  <a:gd name="T9" fmla="*/ 36 h 124"/>
                  <a:gd name="T10" fmla="*/ 48 w 118"/>
                  <a:gd name="T11" fmla="*/ 38 h 124"/>
                  <a:gd name="T12" fmla="*/ 58 w 118"/>
                  <a:gd name="T13" fmla="*/ 44 h 124"/>
                  <a:gd name="T14" fmla="*/ 94 w 118"/>
                  <a:gd name="T15" fmla="*/ 54 h 124"/>
                  <a:gd name="T16" fmla="*/ 114 w 118"/>
                  <a:gd name="T17" fmla="*/ 68 h 124"/>
                  <a:gd name="T18" fmla="*/ 118 w 118"/>
                  <a:gd name="T19" fmla="*/ 80 h 124"/>
                  <a:gd name="T20" fmla="*/ 118 w 118"/>
                  <a:gd name="T21" fmla="*/ 88 h 124"/>
                  <a:gd name="T22" fmla="*/ 110 w 118"/>
                  <a:gd name="T23" fmla="*/ 100 h 124"/>
                  <a:gd name="T24" fmla="*/ 98 w 118"/>
                  <a:gd name="T25" fmla="*/ 108 h 124"/>
                  <a:gd name="T26" fmla="*/ 72 w 118"/>
                  <a:gd name="T27" fmla="*/ 114 h 124"/>
                  <a:gd name="T28" fmla="*/ 66 w 118"/>
                  <a:gd name="T29" fmla="*/ 112 h 124"/>
                  <a:gd name="T30" fmla="*/ 54 w 118"/>
                  <a:gd name="T31" fmla="*/ 124 h 124"/>
                  <a:gd name="T32" fmla="*/ 54 w 118"/>
                  <a:gd name="T33" fmla="*/ 110 h 124"/>
                  <a:gd name="T34" fmla="*/ 34 w 118"/>
                  <a:gd name="T35" fmla="*/ 98 h 124"/>
                  <a:gd name="T36" fmla="*/ 0 w 118"/>
                  <a:gd name="T37" fmla="*/ 110 h 124"/>
                  <a:gd name="T38" fmla="*/ 34 w 118"/>
                  <a:gd name="T39" fmla="*/ 72 h 124"/>
                  <a:gd name="T40" fmla="*/ 36 w 118"/>
                  <a:gd name="T41" fmla="*/ 76 h 124"/>
                  <a:gd name="T42" fmla="*/ 42 w 118"/>
                  <a:gd name="T43" fmla="*/ 84 h 124"/>
                  <a:gd name="T44" fmla="*/ 56 w 118"/>
                  <a:gd name="T45" fmla="*/ 86 h 124"/>
                  <a:gd name="T46" fmla="*/ 66 w 118"/>
                  <a:gd name="T47" fmla="*/ 86 h 124"/>
                  <a:gd name="T48" fmla="*/ 72 w 118"/>
                  <a:gd name="T49" fmla="*/ 80 h 124"/>
                  <a:gd name="T50" fmla="*/ 70 w 118"/>
                  <a:gd name="T51" fmla="*/ 78 h 124"/>
                  <a:gd name="T52" fmla="*/ 60 w 118"/>
                  <a:gd name="T53" fmla="*/ 72 h 124"/>
                  <a:gd name="T54" fmla="*/ 26 w 118"/>
                  <a:gd name="T55" fmla="*/ 62 h 124"/>
                  <a:gd name="T56" fmla="*/ 12 w 118"/>
                  <a:gd name="T57" fmla="*/ 52 h 124"/>
                  <a:gd name="T58" fmla="*/ 6 w 118"/>
                  <a:gd name="T59" fmla="*/ 44 h 124"/>
                  <a:gd name="T60" fmla="*/ 6 w 118"/>
                  <a:gd name="T61" fmla="*/ 36 h 124"/>
                  <a:gd name="T62" fmla="*/ 10 w 118"/>
                  <a:gd name="T63" fmla="*/ 24 h 124"/>
                  <a:gd name="T64" fmla="*/ 20 w 118"/>
                  <a:gd name="T65" fmla="*/ 16 h 124"/>
                  <a:gd name="T66" fmla="*/ 46 w 118"/>
                  <a:gd name="T67" fmla="*/ 10 h 124"/>
                  <a:gd name="T68" fmla="*/ 52 w 118"/>
                  <a:gd name="T69" fmla="*/ 10 h 124"/>
                  <a:gd name="T70" fmla="*/ 62 w 118"/>
                  <a:gd name="T71" fmla="*/ 0 h 124"/>
                  <a:gd name="T72" fmla="*/ 62 w 118"/>
                  <a:gd name="T73" fmla="*/ 12 h 124"/>
                  <a:gd name="T74" fmla="*/ 80 w 118"/>
                  <a:gd name="T75" fmla="*/ 22 h 124"/>
                  <a:gd name="T76" fmla="*/ 108 w 118"/>
                  <a:gd name="T77" fmla="*/ 12 h 124"/>
                  <a:gd name="T78" fmla="*/ 80 w 118"/>
                  <a:gd name="T79"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4">
                    <a:moveTo>
                      <a:pt x="80" y="44"/>
                    </a:moveTo>
                    <a:lnTo>
                      <a:pt x="80" y="44"/>
                    </a:lnTo>
                    <a:lnTo>
                      <a:pt x="78" y="38"/>
                    </a:lnTo>
                    <a:lnTo>
                      <a:pt x="74" y="32"/>
                    </a:lnTo>
                    <a:lnTo>
                      <a:pt x="68" y="30"/>
                    </a:lnTo>
                    <a:lnTo>
                      <a:pt x="58" y="28"/>
                    </a:lnTo>
                    <a:lnTo>
                      <a:pt x="58" y="28"/>
                    </a:lnTo>
                    <a:lnTo>
                      <a:pt x="52" y="30"/>
                    </a:lnTo>
                    <a:lnTo>
                      <a:pt x="48" y="32"/>
                    </a:lnTo>
                    <a:lnTo>
                      <a:pt x="48" y="36"/>
                    </a:lnTo>
                    <a:lnTo>
                      <a:pt x="48" y="36"/>
                    </a:lnTo>
                    <a:lnTo>
                      <a:pt x="48" y="38"/>
                    </a:lnTo>
                    <a:lnTo>
                      <a:pt x="50" y="40"/>
                    </a:lnTo>
                    <a:lnTo>
                      <a:pt x="58" y="44"/>
                    </a:lnTo>
                    <a:lnTo>
                      <a:pt x="82" y="50"/>
                    </a:lnTo>
                    <a:lnTo>
                      <a:pt x="94" y="54"/>
                    </a:lnTo>
                    <a:lnTo>
                      <a:pt x="106" y="60"/>
                    </a:lnTo>
                    <a:lnTo>
                      <a:pt x="114" y="68"/>
                    </a:lnTo>
                    <a:lnTo>
                      <a:pt x="116" y="74"/>
                    </a:lnTo>
                    <a:lnTo>
                      <a:pt x="118" y="80"/>
                    </a:lnTo>
                    <a:lnTo>
                      <a:pt x="118" y="80"/>
                    </a:lnTo>
                    <a:lnTo>
                      <a:pt x="118" y="88"/>
                    </a:lnTo>
                    <a:lnTo>
                      <a:pt x="114" y="96"/>
                    </a:lnTo>
                    <a:lnTo>
                      <a:pt x="110" y="100"/>
                    </a:lnTo>
                    <a:lnTo>
                      <a:pt x="104" y="106"/>
                    </a:lnTo>
                    <a:lnTo>
                      <a:pt x="98" y="108"/>
                    </a:lnTo>
                    <a:lnTo>
                      <a:pt x="90" y="112"/>
                    </a:lnTo>
                    <a:lnTo>
                      <a:pt x="72" y="114"/>
                    </a:lnTo>
                    <a:lnTo>
                      <a:pt x="72" y="114"/>
                    </a:lnTo>
                    <a:lnTo>
                      <a:pt x="66" y="112"/>
                    </a:lnTo>
                    <a:lnTo>
                      <a:pt x="66" y="124"/>
                    </a:lnTo>
                    <a:lnTo>
                      <a:pt x="54" y="124"/>
                    </a:lnTo>
                    <a:lnTo>
                      <a:pt x="54" y="110"/>
                    </a:lnTo>
                    <a:lnTo>
                      <a:pt x="54" y="110"/>
                    </a:lnTo>
                    <a:lnTo>
                      <a:pt x="42" y="104"/>
                    </a:lnTo>
                    <a:lnTo>
                      <a:pt x="34" y="98"/>
                    </a:lnTo>
                    <a:lnTo>
                      <a:pt x="32" y="110"/>
                    </a:lnTo>
                    <a:lnTo>
                      <a:pt x="0" y="110"/>
                    </a:lnTo>
                    <a:lnTo>
                      <a:pt x="2" y="72"/>
                    </a:lnTo>
                    <a:lnTo>
                      <a:pt x="34" y="72"/>
                    </a:lnTo>
                    <a:lnTo>
                      <a:pt x="34" y="72"/>
                    </a:lnTo>
                    <a:lnTo>
                      <a:pt x="36" y="76"/>
                    </a:lnTo>
                    <a:lnTo>
                      <a:pt x="36" y="80"/>
                    </a:lnTo>
                    <a:lnTo>
                      <a:pt x="42" y="84"/>
                    </a:lnTo>
                    <a:lnTo>
                      <a:pt x="50" y="86"/>
                    </a:lnTo>
                    <a:lnTo>
                      <a:pt x="56" y="86"/>
                    </a:lnTo>
                    <a:lnTo>
                      <a:pt x="56" y="86"/>
                    </a:lnTo>
                    <a:lnTo>
                      <a:pt x="66" y="86"/>
                    </a:lnTo>
                    <a:lnTo>
                      <a:pt x="70" y="82"/>
                    </a:lnTo>
                    <a:lnTo>
                      <a:pt x="72" y="80"/>
                    </a:lnTo>
                    <a:lnTo>
                      <a:pt x="72" y="80"/>
                    </a:lnTo>
                    <a:lnTo>
                      <a:pt x="70" y="78"/>
                    </a:lnTo>
                    <a:lnTo>
                      <a:pt x="68" y="76"/>
                    </a:lnTo>
                    <a:lnTo>
                      <a:pt x="60" y="72"/>
                    </a:lnTo>
                    <a:lnTo>
                      <a:pt x="38" y="66"/>
                    </a:lnTo>
                    <a:lnTo>
                      <a:pt x="26" y="62"/>
                    </a:lnTo>
                    <a:lnTo>
                      <a:pt x="16" y="56"/>
                    </a:lnTo>
                    <a:lnTo>
                      <a:pt x="12" y="52"/>
                    </a:lnTo>
                    <a:lnTo>
                      <a:pt x="8" y="48"/>
                    </a:lnTo>
                    <a:lnTo>
                      <a:pt x="6" y="44"/>
                    </a:lnTo>
                    <a:lnTo>
                      <a:pt x="6" y="36"/>
                    </a:lnTo>
                    <a:lnTo>
                      <a:pt x="6" y="36"/>
                    </a:lnTo>
                    <a:lnTo>
                      <a:pt x="8" y="30"/>
                    </a:lnTo>
                    <a:lnTo>
                      <a:pt x="10" y="24"/>
                    </a:lnTo>
                    <a:lnTo>
                      <a:pt x="16" y="20"/>
                    </a:lnTo>
                    <a:lnTo>
                      <a:pt x="20" y="16"/>
                    </a:lnTo>
                    <a:lnTo>
                      <a:pt x="32" y="12"/>
                    </a:lnTo>
                    <a:lnTo>
                      <a:pt x="46" y="10"/>
                    </a:lnTo>
                    <a:lnTo>
                      <a:pt x="46" y="10"/>
                    </a:lnTo>
                    <a:lnTo>
                      <a:pt x="52" y="10"/>
                    </a:lnTo>
                    <a:lnTo>
                      <a:pt x="52" y="0"/>
                    </a:lnTo>
                    <a:lnTo>
                      <a:pt x="62" y="0"/>
                    </a:lnTo>
                    <a:lnTo>
                      <a:pt x="62" y="12"/>
                    </a:lnTo>
                    <a:lnTo>
                      <a:pt x="62" y="12"/>
                    </a:lnTo>
                    <a:lnTo>
                      <a:pt x="72" y="16"/>
                    </a:lnTo>
                    <a:lnTo>
                      <a:pt x="80" y="22"/>
                    </a:lnTo>
                    <a:lnTo>
                      <a:pt x="80" y="12"/>
                    </a:lnTo>
                    <a:lnTo>
                      <a:pt x="108" y="12"/>
                    </a:lnTo>
                    <a:lnTo>
                      <a:pt x="110" y="44"/>
                    </a:lnTo>
                    <a:lnTo>
                      <a:pt x="80" y="4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69" name="Freeform 29"/>
              <p:cNvSpPr/>
              <p:nvPr/>
            </p:nvSpPr>
            <p:spPr bwMode="auto">
              <a:xfrm>
                <a:off x="7695494" y="3090432"/>
                <a:ext cx="797203" cy="222895"/>
              </a:xfrm>
              <a:custGeom>
                <a:avLst/>
                <a:gdLst>
                  <a:gd name="T0" fmla="*/ 436 w 480"/>
                  <a:gd name="T1" fmla="*/ 48 h 150"/>
                  <a:gd name="T2" fmla="*/ 392 w 480"/>
                  <a:gd name="T3" fmla="*/ 68 h 150"/>
                  <a:gd name="T4" fmla="*/ 372 w 480"/>
                  <a:gd name="T5" fmla="*/ 76 h 150"/>
                  <a:gd name="T6" fmla="*/ 348 w 480"/>
                  <a:gd name="T7" fmla="*/ 82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2 h 150"/>
                  <a:gd name="T20" fmla="*/ 86 w 480"/>
                  <a:gd name="T21" fmla="*/ 68 h 150"/>
                  <a:gd name="T22" fmla="*/ 64 w 480"/>
                  <a:gd name="T23" fmla="*/ 58 h 150"/>
                  <a:gd name="T24" fmla="*/ 42 w 480"/>
                  <a:gd name="T25" fmla="*/ 48 h 150"/>
                  <a:gd name="T26" fmla="*/ 16 w 480"/>
                  <a:gd name="T27" fmla="*/ 26 h 150"/>
                  <a:gd name="T28" fmla="*/ 0 w 480"/>
                  <a:gd name="T29" fmla="*/ 2 h 150"/>
                  <a:gd name="T30" fmla="*/ 0 w 480"/>
                  <a:gd name="T31" fmla="*/ 60 h 150"/>
                  <a:gd name="T32" fmla="*/ 6 w 480"/>
                  <a:gd name="T33" fmla="*/ 72 h 150"/>
                  <a:gd name="T34" fmla="*/ 28 w 480"/>
                  <a:gd name="T35" fmla="*/ 94 h 150"/>
                  <a:gd name="T36" fmla="*/ 42 w 480"/>
                  <a:gd name="T37" fmla="*/ 104 h 150"/>
                  <a:gd name="T38" fmla="*/ 86 w 480"/>
                  <a:gd name="T39" fmla="*/ 124 h 150"/>
                  <a:gd name="T40" fmla="*/ 108 w 480"/>
                  <a:gd name="T41" fmla="*/ 132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6 h 150"/>
                  <a:gd name="T58" fmla="*/ 416 w 480"/>
                  <a:gd name="T59" fmla="*/ 116 h 150"/>
                  <a:gd name="T60" fmla="*/ 436 w 480"/>
                  <a:gd name="T61" fmla="*/ 104 h 150"/>
                  <a:gd name="T62" fmla="*/ 464 w 480"/>
                  <a:gd name="T63" fmla="*/ 84 h 150"/>
                  <a:gd name="T64" fmla="*/ 480 w 480"/>
                  <a:gd name="T65" fmla="*/ 60 h 150"/>
                  <a:gd name="T66" fmla="*/ 480 w 480"/>
                  <a:gd name="T67" fmla="*/ 0 h 150"/>
                  <a:gd name="T68" fmla="*/ 474 w 480"/>
                  <a:gd name="T69" fmla="*/ 14 h 150"/>
                  <a:gd name="T70" fmla="*/ 452 w 480"/>
                  <a:gd name="T71"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6"/>
                    </a:lnTo>
                    <a:lnTo>
                      <a:pt x="348" y="82"/>
                    </a:lnTo>
                    <a:lnTo>
                      <a:pt x="348" y="82"/>
                    </a:lnTo>
                    <a:lnTo>
                      <a:pt x="306" y="88"/>
                    </a:lnTo>
                    <a:lnTo>
                      <a:pt x="306" y="88"/>
                    </a:lnTo>
                    <a:lnTo>
                      <a:pt x="262" y="92"/>
                    </a:lnTo>
                    <a:lnTo>
                      <a:pt x="262" y="92"/>
                    </a:lnTo>
                    <a:lnTo>
                      <a:pt x="240" y="92"/>
                    </a:lnTo>
                    <a:lnTo>
                      <a:pt x="240" y="92"/>
                    </a:lnTo>
                    <a:lnTo>
                      <a:pt x="218" y="92"/>
                    </a:lnTo>
                    <a:lnTo>
                      <a:pt x="218" y="92"/>
                    </a:lnTo>
                    <a:lnTo>
                      <a:pt x="174" y="88"/>
                    </a:lnTo>
                    <a:lnTo>
                      <a:pt x="174" y="88"/>
                    </a:lnTo>
                    <a:lnTo>
                      <a:pt x="130" y="82"/>
                    </a:lnTo>
                    <a:lnTo>
                      <a:pt x="130" y="82"/>
                    </a:lnTo>
                    <a:lnTo>
                      <a:pt x="108" y="76"/>
                    </a:lnTo>
                    <a:lnTo>
                      <a:pt x="86" y="68"/>
                    </a:lnTo>
                    <a:lnTo>
                      <a:pt x="86" y="68"/>
                    </a:lnTo>
                    <a:lnTo>
                      <a:pt x="64" y="58"/>
                    </a:lnTo>
                    <a:lnTo>
                      <a:pt x="42" y="48"/>
                    </a:lnTo>
                    <a:lnTo>
                      <a:pt x="42" y="48"/>
                    </a:lnTo>
                    <a:lnTo>
                      <a:pt x="28" y="36"/>
                    </a:lnTo>
                    <a:lnTo>
                      <a:pt x="16" y="26"/>
                    </a:lnTo>
                    <a:lnTo>
                      <a:pt x="6" y="14"/>
                    </a:lnTo>
                    <a:lnTo>
                      <a:pt x="0" y="2"/>
                    </a:lnTo>
                    <a:lnTo>
                      <a:pt x="0" y="2"/>
                    </a:lnTo>
                    <a:lnTo>
                      <a:pt x="0" y="60"/>
                    </a:lnTo>
                    <a:lnTo>
                      <a:pt x="0" y="60"/>
                    </a:lnTo>
                    <a:lnTo>
                      <a:pt x="6" y="72"/>
                    </a:lnTo>
                    <a:lnTo>
                      <a:pt x="16" y="82"/>
                    </a:lnTo>
                    <a:lnTo>
                      <a:pt x="28" y="94"/>
                    </a:lnTo>
                    <a:lnTo>
                      <a:pt x="42" y="104"/>
                    </a:lnTo>
                    <a:lnTo>
                      <a:pt x="42" y="104"/>
                    </a:lnTo>
                    <a:lnTo>
                      <a:pt x="64" y="114"/>
                    </a:lnTo>
                    <a:lnTo>
                      <a:pt x="86" y="124"/>
                    </a:lnTo>
                    <a:lnTo>
                      <a:pt x="86" y="124"/>
                    </a:lnTo>
                    <a:lnTo>
                      <a:pt x="108" y="132"/>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6"/>
                    </a:lnTo>
                    <a:lnTo>
                      <a:pt x="392" y="126"/>
                    </a:lnTo>
                    <a:lnTo>
                      <a:pt x="416" y="116"/>
                    </a:lnTo>
                    <a:lnTo>
                      <a:pt x="436" y="104"/>
                    </a:lnTo>
                    <a:lnTo>
                      <a:pt x="436" y="104"/>
                    </a:lnTo>
                    <a:lnTo>
                      <a:pt x="452" y="94"/>
                    </a:lnTo>
                    <a:lnTo>
                      <a:pt x="464" y="84"/>
                    </a:lnTo>
                    <a:lnTo>
                      <a:pt x="474" y="72"/>
                    </a:lnTo>
                    <a:lnTo>
                      <a:pt x="480" y="60"/>
                    </a:lnTo>
                    <a:lnTo>
                      <a:pt x="480" y="60"/>
                    </a:lnTo>
                    <a:lnTo>
                      <a:pt x="480" y="0"/>
                    </a:lnTo>
                    <a:lnTo>
                      <a:pt x="480" y="0"/>
                    </a:lnTo>
                    <a:lnTo>
                      <a:pt x="474" y="14"/>
                    </a:lnTo>
                    <a:lnTo>
                      <a:pt x="464" y="26"/>
                    </a:lnTo>
                    <a:lnTo>
                      <a:pt x="452" y="38"/>
                    </a:lnTo>
                    <a:lnTo>
                      <a:pt x="436" y="48"/>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0" name="Freeform 30"/>
              <p:cNvSpPr/>
              <p:nvPr/>
            </p:nvSpPr>
            <p:spPr bwMode="auto">
              <a:xfrm>
                <a:off x="7695494" y="3090432"/>
                <a:ext cx="797203" cy="222895"/>
              </a:xfrm>
              <a:custGeom>
                <a:avLst/>
                <a:gdLst>
                  <a:gd name="T0" fmla="*/ 436 w 480"/>
                  <a:gd name="T1" fmla="*/ 48 h 150"/>
                  <a:gd name="T2" fmla="*/ 392 w 480"/>
                  <a:gd name="T3" fmla="*/ 68 h 150"/>
                  <a:gd name="T4" fmla="*/ 372 w 480"/>
                  <a:gd name="T5" fmla="*/ 76 h 150"/>
                  <a:gd name="T6" fmla="*/ 348 w 480"/>
                  <a:gd name="T7" fmla="*/ 82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2 h 150"/>
                  <a:gd name="T20" fmla="*/ 86 w 480"/>
                  <a:gd name="T21" fmla="*/ 68 h 150"/>
                  <a:gd name="T22" fmla="*/ 64 w 480"/>
                  <a:gd name="T23" fmla="*/ 58 h 150"/>
                  <a:gd name="T24" fmla="*/ 42 w 480"/>
                  <a:gd name="T25" fmla="*/ 48 h 150"/>
                  <a:gd name="T26" fmla="*/ 16 w 480"/>
                  <a:gd name="T27" fmla="*/ 26 h 150"/>
                  <a:gd name="T28" fmla="*/ 0 w 480"/>
                  <a:gd name="T29" fmla="*/ 2 h 150"/>
                  <a:gd name="T30" fmla="*/ 0 w 480"/>
                  <a:gd name="T31" fmla="*/ 60 h 150"/>
                  <a:gd name="T32" fmla="*/ 6 w 480"/>
                  <a:gd name="T33" fmla="*/ 72 h 150"/>
                  <a:gd name="T34" fmla="*/ 28 w 480"/>
                  <a:gd name="T35" fmla="*/ 94 h 150"/>
                  <a:gd name="T36" fmla="*/ 42 w 480"/>
                  <a:gd name="T37" fmla="*/ 104 h 150"/>
                  <a:gd name="T38" fmla="*/ 86 w 480"/>
                  <a:gd name="T39" fmla="*/ 124 h 150"/>
                  <a:gd name="T40" fmla="*/ 108 w 480"/>
                  <a:gd name="T41" fmla="*/ 132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6 h 150"/>
                  <a:gd name="T58" fmla="*/ 416 w 480"/>
                  <a:gd name="T59" fmla="*/ 116 h 150"/>
                  <a:gd name="T60" fmla="*/ 436 w 480"/>
                  <a:gd name="T61" fmla="*/ 104 h 150"/>
                  <a:gd name="T62" fmla="*/ 464 w 480"/>
                  <a:gd name="T63" fmla="*/ 84 h 150"/>
                  <a:gd name="T64" fmla="*/ 480 w 480"/>
                  <a:gd name="T65" fmla="*/ 60 h 150"/>
                  <a:gd name="T66" fmla="*/ 480 w 480"/>
                  <a:gd name="T67" fmla="*/ 0 h 150"/>
                  <a:gd name="T68" fmla="*/ 474 w 480"/>
                  <a:gd name="T69" fmla="*/ 14 h 150"/>
                  <a:gd name="T70" fmla="*/ 452 w 480"/>
                  <a:gd name="T71" fmla="*/ 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6"/>
                    </a:lnTo>
                    <a:lnTo>
                      <a:pt x="348" y="82"/>
                    </a:lnTo>
                    <a:lnTo>
                      <a:pt x="348" y="82"/>
                    </a:lnTo>
                    <a:lnTo>
                      <a:pt x="306" y="88"/>
                    </a:lnTo>
                    <a:lnTo>
                      <a:pt x="306" y="88"/>
                    </a:lnTo>
                    <a:lnTo>
                      <a:pt x="262" y="92"/>
                    </a:lnTo>
                    <a:lnTo>
                      <a:pt x="262" y="92"/>
                    </a:lnTo>
                    <a:lnTo>
                      <a:pt x="240" y="92"/>
                    </a:lnTo>
                    <a:lnTo>
                      <a:pt x="240" y="92"/>
                    </a:lnTo>
                    <a:lnTo>
                      <a:pt x="218" y="92"/>
                    </a:lnTo>
                    <a:lnTo>
                      <a:pt x="218" y="92"/>
                    </a:lnTo>
                    <a:lnTo>
                      <a:pt x="174" y="88"/>
                    </a:lnTo>
                    <a:lnTo>
                      <a:pt x="174" y="88"/>
                    </a:lnTo>
                    <a:lnTo>
                      <a:pt x="130" y="82"/>
                    </a:lnTo>
                    <a:lnTo>
                      <a:pt x="130" y="82"/>
                    </a:lnTo>
                    <a:lnTo>
                      <a:pt x="108" y="76"/>
                    </a:lnTo>
                    <a:lnTo>
                      <a:pt x="86" y="68"/>
                    </a:lnTo>
                    <a:lnTo>
                      <a:pt x="86" y="68"/>
                    </a:lnTo>
                    <a:lnTo>
                      <a:pt x="64" y="58"/>
                    </a:lnTo>
                    <a:lnTo>
                      <a:pt x="42" y="48"/>
                    </a:lnTo>
                    <a:lnTo>
                      <a:pt x="42" y="48"/>
                    </a:lnTo>
                    <a:lnTo>
                      <a:pt x="28" y="36"/>
                    </a:lnTo>
                    <a:lnTo>
                      <a:pt x="16" y="26"/>
                    </a:lnTo>
                    <a:lnTo>
                      <a:pt x="6" y="14"/>
                    </a:lnTo>
                    <a:lnTo>
                      <a:pt x="0" y="2"/>
                    </a:lnTo>
                    <a:lnTo>
                      <a:pt x="0" y="2"/>
                    </a:lnTo>
                    <a:lnTo>
                      <a:pt x="0" y="60"/>
                    </a:lnTo>
                    <a:lnTo>
                      <a:pt x="0" y="60"/>
                    </a:lnTo>
                    <a:lnTo>
                      <a:pt x="6" y="72"/>
                    </a:lnTo>
                    <a:lnTo>
                      <a:pt x="16" y="82"/>
                    </a:lnTo>
                    <a:lnTo>
                      <a:pt x="28" y="94"/>
                    </a:lnTo>
                    <a:lnTo>
                      <a:pt x="42" y="104"/>
                    </a:lnTo>
                    <a:lnTo>
                      <a:pt x="42" y="104"/>
                    </a:lnTo>
                    <a:lnTo>
                      <a:pt x="64" y="114"/>
                    </a:lnTo>
                    <a:lnTo>
                      <a:pt x="86" y="124"/>
                    </a:lnTo>
                    <a:lnTo>
                      <a:pt x="86" y="124"/>
                    </a:lnTo>
                    <a:lnTo>
                      <a:pt x="108" y="132"/>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6"/>
                    </a:lnTo>
                    <a:lnTo>
                      <a:pt x="392" y="126"/>
                    </a:lnTo>
                    <a:lnTo>
                      <a:pt x="416" y="116"/>
                    </a:lnTo>
                    <a:lnTo>
                      <a:pt x="436" y="104"/>
                    </a:lnTo>
                    <a:lnTo>
                      <a:pt x="436" y="104"/>
                    </a:lnTo>
                    <a:lnTo>
                      <a:pt x="452" y="94"/>
                    </a:lnTo>
                    <a:lnTo>
                      <a:pt x="464" y="84"/>
                    </a:lnTo>
                    <a:lnTo>
                      <a:pt x="474" y="72"/>
                    </a:lnTo>
                    <a:lnTo>
                      <a:pt x="480" y="60"/>
                    </a:lnTo>
                    <a:lnTo>
                      <a:pt x="480" y="60"/>
                    </a:lnTo>
                    <a:lnTo>
                      <a:pt x="480" y="0"/>
                    </a:lnTo>
                    <a:lnTo>
                      <a:pt x="480" y="0"/>
                    </a:lnTo>
                    <a:lnTo>
                      <a:pt x="474" y="14"/>
                    </a:lnTo>
                    <a:lnTo>
                      <a:pt x="464" y="26"/>
                    </a:lnTo>
                    <a:lnTo>
                      <a:pt x="452" y="38"/>
                    </a:lnTo>
                    <a:lnTo>
                      <a:pt x="436"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1" name="Freeform 31"/>
              <p:cNvSpPr/>
              <p:nvPr/>
            </p:nvSpPr>
            <p:spPr bwMode="auto">
              <a:xfrm>
                <a:off x="7695494" y="2822959"/>
                <a:ext cx="797203" cy="326913"/>
              </a:xfrm>
              <a:custGeom>
                <a:avLst/>
                <a:gdLst>
                  <a:gd name="T0" fmla="*/ 240 w 480"/>
                  <a:gd name="T1" fmla="*/ 0 h 220"/>
                  <a:gd name="T2" fmla="*/ 240 w 480"/>
                  <a:gd name="T3" fmla="*/ 0 h 220"/>
                  <a:gd name="T4" fmla="*/ 192 w 480"/>
                  <a:gd name="T5" fmla="*/ 2 h 220"/>
                  <a:gd name="T6" fmla="*/ 146 w 480"/>
                  <a:gd name="T7" fmla="*/ 10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0 h 220"/>
                  <a:gd name="T52" fmla="*/ 146 w 480"/>
                  <a:gd name="T53" fmla="*/ 210 h 220"/>
                  <a:gd name="T54" fmla="*/ 192 w 480"/>
                  <a:gd name="T55" fmla="*/ 218 h 220"/>
                  <a:gd name="T56" fmla="*/ 240 w 480"/>
                  <a:gd name="T57" fmla="*/ 220 h 220"/>
                  <a:gd name="T58" fmla="*/ 240 w 480"/>
                  <a:gd name="T59" fmla="*/ 220 h 220"/>
                  <a:gd name="T60" fmla="*/ 288 w 480"/>
                  <a:gd name="T61" fmla="*/ 218 h 220"/>
                  <a:gd name="T62" fmla="*/ 334 w 480"/>
                  <a:gd name="T63" fmla="*/ 210 h 220"/>
                  <a:gd name="T64" fmla="*/ 374 w 480"/>
                  <a:gd name="T65" fmla="*/ 200 h 220"/>
                  <a:gd name="T66" fmla="*/ 392 w 480"/>
                  <a:gd name="T67" fmla="*/ 194 h 220"/>
                  <a:gd name="T68" fmla="*/ 410 w 480"/>
                  <a:gd name="T69" fmla="*/ 188 h 220"/>
                  <a:gd name="T70" fmla="*/ 426 w 480"/>
                  <a:gd name="T71" fmla="*/ 180 h 220"/>
                  <a:gd name="T72" fmla="*/ 440 w 480"/>
                  <a:gd name="T73" fmla="*/ 172 h 220"/>
                  <a:gd name="T74" fmla="*/ 452 w 480"/>
                  <a:gd name="T75" fmla="*/ 162 h 220"/>
                  <a:gd name="T76" fmla="*/ 462 w 480"/>
                  <a:gd name="T77" fmla="*/ 152 h 220"/>
                  <a:gd name="T78" fmla="*/ 470 w 480"/>
                  <a:gd name="T79" fmla="*/ 142 h 220"/>
                  <a:gd name="T80" fmla="*/ 476 w 480"/>
                  <a:gd name="T81" fmla="*/ 132 h 220"/>
                  <a:gd name="T82" fmla="*/ 478 w 480"/>
                  <a:gd name="T83" fmla="*/ 122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10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10"/>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0"/>
                    </a:lnTo>
                    <a:lnTo>
                      <a:pt x="146" y="210"/>
                    </a:lnTo>
                    <a:lnTo>
                      <a:pt x="192" y="218"/>
                    </a:lnTo>
                    <a:lnTo>
                      <a:pt x="240" y="220"/>
                    </a:lnTo>
                    <a:lnTo>
                      <a:pt x="240" y="220"/>
                    </a:lnTo>
                    <a:lnTo>
                      <a:pt x="288" y="218"/>
                    </a:lnTo>
                    <a:lnTo>
                      <a:pt x="334" y="210"/>
                    </a:lnTo>
                    <a:lnTo>
                      <a:pt x="374" y="200"/>
                    </a:lnTo>
                    <a:lnTo>
                      <a:pt x="392" y="194"/>
                    </a:lnTo>
                    <a:lnTo>
                      <a:pt x="410" y="188"/>
                    </a:lnTo>
                    <a:lnTo>
                      <a:pt x="426" y="180"/>
                    </a:lnTo>
                    <a:lnTo>
                      <a:pt x="440" y="172"/>
                    </a:lnTo>
                    <a:lnTo>
                      <a:pt x="452" y="162"/>
                    </a:lnTo>
                    <a:lnTo>
                      <a:pt x="462" y="152"/>
                    </a:lnTo>
                    <a:lnTo>
                      <a:pt x="470" y="142"/>
                    </a:lnTo>
                    <a:lnTo>
                      <a:pt x="476" y="132"/>
                    </a:lnTo>
                    <a:lnTo>
                      <a:pt x="478" y="122"/>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10"/>
                    </a:lnTo>
                    <a:lnTo>
                      <a:pt x="288" y="2"/>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2" name="Freeform 32"/>
              <p:cNvSpPr/>
              <p:nvPr/>
            </p:nvSpPr>
            <p:spPr bwMode="auto">
              <a:xfrm>
                <a:off x="7695494" y="2822959"/>
                <a:ext cx="797203" cy="326913"/>
              </a:xfrm>
              <a:custGeom>
                <a:avLst/>
                <a:gdLst>
                  <a:gd name="T0" fmla="*/ 240 w 480"/>
                  <a:gd name="T1" fmla="*/ 0 h 220"/>
                  <a:gd name="T2" fmla="*/ 240 w 480"/>
                  <a:gd name="T3" fmla="*/ 0 h 220"/>
                  <a:gd name="T4" fmla="*/ 192 w 480"/>
                  <a:gd name="T5" fmla="*/ 2 h 220"/>
                  <a:gd name="T6" fmla="*/ 146 w 480"/>
                  <a:gd name="T7" fmla="*/ 10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0 h 220"/>
                  <a:gd name="T52" fmla="*/ 146 w 480"/>
                  <a:gd name="T53" fmla="*/ 210 h 220"/>
                  <a:gd name="T54" fmla="*/ 192 w 480"/>
                  <a:gd name="T55" fmla="*/ 218 h 220"/>
                  <a:gd name="T56" fmla="*/ 240 w 480"/>
                  <a:gd name="T57" fmla="*/ 220 h 220"/>
                  <a:gd name="T58" fmla="*/ 240 w 480"/>
                  <a:gd name="T59" fmla="*/ 220 h 220"/>
                  <a:gd name="T60" fmla="*/ 288 w 480"/>
                  <a:gd name="T61" fmla="*/ 218 h 220"/>
                  <a:gd name="T62" fmla="*/ 334 w 480"/>
                  <a:gd name="T63" fmla="*/ 210 h 220"/>
                  <a:gd name="T64" fmla="*/ 374 w 480"/>
                  <a:gd name="T65" fmla="*/ 200 h 220"/>
                  <a:gd name="T66" fmla="*/ 392 w 480"/>
                  <a:gd name="T67" fmla="*/ 194 h 220"/>
                  <a:gd name="T68" fmla="*/ 410 w 480"/>
                  <a:gd name="T69" fmla="*/ 188 h 220"/>
                  <a:gd name="T70" fmla="*/ 426 w 480"/>
                  <a:gd name="T71" fmla="*/ 180 h 220"/>
                  <a:gd name="T72" fmla="*/ 440 w 480"/>
                  <a:gd name="T73" fmla="*/ 172 h 220"/>
                  <a:gd name="T74" fmla="*/ 452 w 480"/>
                  <a:gd name="T75" fmla="*/ 162 h 220"/>
                  <a:gd name="T76" fmla="*/ 462 w 480"/>
                  <a:gd name="T77" fmla="*/ 152 h 220"/>
                  <a:gd name="T78" fmla="*/ 470 w 480"/>
                  <a:gd name="T79" fmla="*/ 142 h 220"/>
                  <a:gd name="T80" fmla="*/ 476 w 480"/>
                  <a:gd name="T81" fmla="*/ 132 h 220"/>
                  <a:gd name="T82" fmla="*/ 478 w 480"/>
                  <a:gd name="T83" fmla="*/ 122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10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10"/>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0"/>
                    </a:lnTo>
                    <a:lnTo>
                      <a:pt x="146" y="210"/>
                    </a:lnTo>
                    <a:lnTo>
                      <a:pt x="192" y="218"/>
                    </a:lnTo>
                    <a:lnTo>
                      <a:pt x="240" y="220"/>
                    </a:lnTo>
                    <a:lnTo>
                      <a:pt x="240" y="220"/>
                    </a:lnTo>
                    <a:lnTo>
                      <a:pt x="288" y="218"/>
                    </a:lnTo>
                    <a:lnTo>
                      <a:pt x="334" y="210"/>
                    </a:lnTo>
                    <a:lnTo>
                      <a:pt x="374" y="200"/>
                    </a:lnTo>
                    <a:lnTo>
                      <a:pt x="392" y="194"/>
                    </a:lnTo>
                    <a:lnTo>
                      <a:pt x="410" y="188"/>
                    </a:lnTo>
                    <a:lnTo>
                      <a:pt x="426" y="180"/>
                    </a:lnTo>
                    <a:lnTo>
                      <a:pt x="440" y="172"/>
                    </a:lnTo>
                    <a:lnTo>
                      <a:pt x="452" y="162"/>
                    </a:lnTo>
                    <a:lnTo>
                      <a:pt x="462" y="152"/>
                    </a:lnTo>
                    <a:lnTo>
                      <a:pt x="470" y="142"/>
                    </a:lnTo>
                    <a:lnTo>
                      <a:pt x="476" y="132"/>
                    </a:lnTo>
                    <a:lnTo>
                      <a:pt x="478" y="122"/>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10"/>
                    </a:lnTo>
                    <a:lnTo>
                      <a:pt x="288" y="2"/>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3" name="Freeform 33"/>
              <p:cNvSpPr/>
              <p:nvPr/>
            </p:nvSpPr>
            <p:spPr bwMode="auto">
              <a:xfrm>
                <a:off x="7761927" y="2849706"/>
                <a:ext cx="664336" cy="243698"/>
              </a:xfrm>
              <a:custGeom>
                <a:avLst/>
                <a:gdLst>
                  <a:gd name="T0" fmla="*/ 200 w 400"/>
                  <a:gd name="T1" fmla="*/ 0 h 164"/>
                  <a:gd name="T2" fmla="*/ 200 w 400"/>
                  <a:gd name="T3" fmla="*/ 0 h 164"/>
                  <a:gd name="T4" fmla="*/ 160 w 400"/>
                  <a:gd name="T5" fmla="*/ 2 h 164"/>
                  <a:gd name="T6" fmla="*/ 122 w 400"/>
                  <a:gd name="T7" fmla="*/ 8 h 164"/>
                  <a:gd name="T8" fmla="*/ 88 w 400"/>
                  <a:gd name="T9" fmla="*/ 14 h 164"/>
                  <a:gd name="T10" fmla="*/ 58 w 400"/>
                  <a:gd name="T11" fmla="*/ 24 h 164"/>
                  <a:gd name="T12" fmla="*/ 34 w 400"/>
                  <a:gd name="T13" fmla="*/ 36 h 164"/>
                  <a:gd name="T14" fmla="*/ 24 w 400"/>
                  <a:gd name="T15" fmla="*/ 44 h 164"/>
                  <a:gd name="T16" fmla="*/ 16 w 400"/>
                  <a:gd name="T17" fmla="*/ 50 h 164"/>
                  <a:gd name="T18" fmla="*/ 10 w 400"/>
                  <a:gd name="T19" fmla="*/ 58 h 164"/>
                  <a:gd name="T20" fmla="*/ 4 w 400"/>
                  <a:gd name="T21" fmla="*/ 66 h 164"/>
                  <a:gd name="T22" fmla="*/ 2 w 400"/>
                  <a:gd name="T23" fmla="*/ 74 h 164"/>
                  <a:gd name="T24" fmla="*/ 0 w 400"/>
                  <a:gd name="T25" fmla="*/ 82 h 164"/>
                  <a:gd name="T26" fmla="*/ 0 w 400"/>
                  <a:gd name="T27" fmla="*/ 82 h 164"/>
                  <a:gd name="T28" fmla="*/ 2 w 400"/>
                  <a:gd name="T29" fmla="*/ 90 h 164"/>
                  <a:gd name="T30" fmla="*/ 4 w 400"/>
                  <a:gd name="T31" fmla="*/ 98 h 164"/>
                  <a:gd name="T32" fmla="*/ 10 w 400"/>
                  <a:gd name="T33" fmla="*/ 106 h 164"/>
                  <a:gd name="T34" fmla="*/ 16 w 400"/>
                  <a:gd name="T35" fmla="*/ 114 h 164"/>
                  <a:gd name="T36" fmla="*/ 24 w 400"/>
                  <a:gd name="T37" fmla="*/ 122 h 164"/>
                  <a:gd name="T38" fmla="*/ 34 w 400"/>
                  <a:gd name="T39" fmla="*/ 128 h 164"/>
                  <a:gd name="T40" fmla="*/ 58 w 400"/>
                  <a:gd name="T41" fmla="*/ 140 h 164"/>
                  <a:gd name="T42" fmla="*/ 88 w 400"/>
                  <a:gd name="T43" fmla="*/ 150 h 164"/>
                  <a:gd name="T44" fmla="*/ 122 w 400"/>
                  <a:gd name="T45" fmla="*/ 158 h 164"/>
                  <a:gd name="T46" fmla="*/ 160 w 400"/>
                  <a:gd name="T47" fmla="*/ 162 h 164"/>
                  <a:gd name="T48" fmla="*/ 200 w 400"/>
                  <a:gd name="T49" fmla="*/ 164 h 164"/>
                  <a:gd name="T50" fmla="*/ 200 w 400"/>
                  <a:gd name="T51" fmla="*/ 164 h 164"/>
                  <a:gd name="T52" fmla="*/ 240 w 400"/>
                  <a:gd name="T53" fmla="*/ 162 h 164"/>
                  <a:gd name="T54" fmla="*/ 278 w 400"/>
                  <a:gd name="T55" fmla="*/ 158 h 164"/>
                  <a:gd name="T56" fmla="*/ 312 w 400"/>
                  <a:gd name="T57" fmla="*/ 150 h 164"/>
                  <a:gd name="T58" fmla="*/ 342 w 400"/>
                  <a:gd name="T59" fmla="*/ 140 h 164"/>
                  <a:gd name="T60" fmla="*/ 366 w 400"/>
                  <a:gd name="T61" fmla="*/ 128 h 164"/>
                  <a:gd name="T62" fmla="*/ 376 w 400"/>
                  <a:gd name="T63" fmla="*/ 122 h 164"/>
                  <a:gd name="T64" fmla="*/ 384 w 400"/>
                  <a:gd name="T65" fmla="*/ 114 h 164"/>
                  <a:gd name="T66" fmla="*/ 392 w 400"/>
                  <a:gd name="T67" fmla="*/ 106 h 164"/>
                  <a:gd name="T68" fmla="*/ 396 w 400"/>
                  <a:gd name="T69" fmla="*/ 98 h 164"/>
                  <a:gd name="T70" fmla="*/ 400 w 400"/>
                  <a:gd name="T71" fmla="*/ 90 h 164"/>
                  <a:gd name="T72" fmla="*/ 400 w 400"/>
                  <a:gd name="T73" fmla="*/ 82 h 164"/>
                  <a:gd name="T74" fmla="*/ 400 w 400"/>
                  <a:gd name="T75" fmla="*/ 82 h 164"/>
                  <a:gd name="T76" fmla="*/ 400 w 400"/>
                  <a:gd name="T77" fmla="*/ 74 h 164"/>
                  <a:gd name="T78" fmla="*/ 396 w 400"/>
                  <a:gd name="T79" fmla="*/ 66 h 164"/>
                  <a:gd name="T80" fmla="*/ 392 w 400"/>
                  <a:gd name="T81" fmla="*/ 58 h 164"/>
                  <a:gd name="T82" fmla="*/ 384 w 400"/>
                  <a:gd name="T83" fmla="*/ 50 h 164"/>
                  <a:gd name="T84" fmla="*/ 376 w 400"/>
                  <a:gd name="T85" fmla="*/ 44 h 164"/>
                  <a:gd name="T86" fmla="*/ 366 w 400"/>
                  <a:gd name="T87" fmla="*/ 36 h 164"/>
                  <a:gd name="T88" fmla="*/ 342 w 400"/>
                  <a:gd name="T89" fmla="*/ 24 h 164"/>
                  <a:gd name="T90" fmla="*/ 312 w 400"/>
                  <a:gd name="T91" fmla="*/ 14 h 164"/>
                  <a:gd name="T92" fmla="*/ 278 w 400"/>
                  <a:gd name="T93" fmla="*/ 8 h 164"/>
                  <a:gd name="T94" fmla="*/ 240 w 400"/>
                  <a:gd name="T95" fmla="*/ 2 h 164"/>
                  <a:gd name="T96" fmla="*/ 200 w 400"/>
                  <a:gd name="T97" fmla="*/ 0 h 164"/>
                  <a:gd name="T98" fmla="*/ 200 w 400"/>
                  <a:gd name="T9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164">
                    <a:moveTo>
                      <a:pt x="200" y="0"/>
                    </a:moveTo>
                    <a:lnTo>
                      <a:pt x="200" y="0"/>
                    </a:lnTo>
                    <a:lnTo>
                      <a:pt x="160" y="2"/>
                    </a:lnTo>
                    <a:lnTo>
                      <a:pt x="122" y="8"/>
                    </a:lnTo>
                    <a:lnTo>
                      <a:pt x="88" y="14"/>
                    </a:lnTo>
                    <a:lnTo>
                      <a:pt x="58" y="24"/>
                    </a:lnTo>
                    <a:lnTo>
                      <a:pt x="34" y="36"/>
                    </a:lnTo>
                    <a:lnTo>
                      <a:pt x="24" y="44"/>
                    </a:lnTo>
                    <a:lnTo>
                      <a:pt x="16" y="50"/>
                    </a:lnTo>
                    <a:lnTo>
                      <a:pt x="10" y="58"/>
                    </a:lnTo>
                    <a:lnTo>
                      <a:pt x="4" y="66"/>
                    </a:lnTo>
                    <a:lnTo>
                      <a:pt x="2" y="74"/>
                    </a:lnTo>
                    <a:lnTo>
                      <a:pt x="0" y="82"/>
                    </a:lnTo>
                    <a:lnTo>
                      <a:pt x="0" y="82"/>
                    </a:lnTo>
                    <a:lnTo>
                      <a:pt x="2" y="90"/>
                    </a:lnTo>
                    <a:lnTo>
                      <a:pt x="4" y="98"/>
                    </a:lnTo>
                    <a:lnTo>
                      <a:pt x="10" y="106"/>
                    </a:lnTo>
                    <a:lnTo>
                      <a:pt x="16" y="114"/>
                    </a:lnTo>
                    <a:lnTo>
                      <a:pt x="24" y="122"/>
                    </a:lnTo>
                    <a:lnTo>
                      <a:pt x="34" y="128"/>
                    </a:lnTo>
                    <a:lnTo>
                      <a:pt x="58" y="140"/>
                    </a:lnTo>
                    <a:lnTo>
                      <a:pt x="88" y="150"/>
                    </a:lnTo>
                    <a:lnTo>
                      <a:pt x="122" y="158"/>
                    </a:lnTo>
                    <a:lnTo>
                      <a:pt x="160" y="162"/>
                    </a:lnTo>
                    <a:lnTo>
                      <a:pt x="200" y="164"/>
                    </a:lnTo>
                    <a:lnTo>
                      <a:pt x="200" y="164"/>
                    </a:lnTo>
                    <a:lnTo>
                      <a:pt x="240" y="162"/>
                    </a:lnTo>
                    <a:lnTo>
                      <a:pt x="278" y="158"/>
                    </a:lnTo>
                    <a:lnTo>
                      <a:pt x="312" y="150"/>
                    </a:lnTo>
                    <a:lnTo>
                      <a:pt x="342" y="140"/>
                    </a:lnTo>
                    <a:lnTo>
                      <a:pt x="366" y="128"/>
                    </a:lnTo>
                    <a:lnTo>
                      <a:pt x="376" y="122"/>
                    </a:lnTo>
                    <a:lnTo>
                      <a:pt x="384" y="114"/>
                    </a:lnTo>
                    <a:lnTo>
                      <a:pt x="392" y="106"/>
                    </a:lnTo>
                    <a:lnTo>
                      <a:pt x="396" y="98"/>
                    </a:lnTo>
                    <a:lnTo>
                      <a:pt x="400" y="90"/>
                    </a:lnTo>
                    <a:lnTo>
                      <a:pt x="400" y="82"/>
                    </a:lnTo>
                    <a:lnTo>
                      <a:pt x="400" y="82"/>
                    </a:lnTo>
                    <a:lnTo>
                      <a:pt x="400" y="74"/>
                    </a:lnTo>
                    <a:lnTo>
                      <a:pt x="396" y="66"/>
                    </a:lnTo>
                    <a:lnTo>
                      <a:pt x="392" y="58"/>
                    </a:lnTo>
                    <a:lnTo>
                      <a:pt x="384" y="50"/>
                    </a:lnTo>
                    <a:lnTo>
                      <a:pt x="376" y="44"/>
                    </a:lnTo>
                    <a:lnTo>
                      <a:pt x="366" y="36"/>
                    </a:lnTo>
                    <a:lnTo>
                      <a:pt x="342" y="24"/>
                    </a:lnTo>
                    <a:lnTo>
                      <a:pt x="312" y="14"/>
                    </a:lnTo>
                    <a:lnTo>
                      <a:pt x="278" y="8"/>
                    </a:lnTo>
                    <a:lnTo>
                      <a:pt x="240" y="2"/>
                    </a:lnTo>
                    <a:lnTo>
                      <a:pt x="20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4" name="Freeform 34"/>
              <p:cNvSpPr>
                <a:spLocks noEditPoints="1"/>
              </p:cNvSpPr>
              <p:nvPr/>
            </p:nvSpPr>
            <p:spPr bwMode="auto">
              <a:xfrm>
                <a:off x="7758606" y="2849706"/>
                <a:ext cx="670979" cy="246670"/>
              </a:xfrm>
              <a:custGeom>
                <a:avLst/>
                <a:gdLst>
                  <a:gd name="T0" fmla="*/ 212 w 404"/>
                  <a:gd name="T1" fmla="*/ 162 h 166"/>
                  <a:gd name="T2" fmla="*/ 192 w 404"/>
                  <a:gd name="T3" fmla="*/ 166 h 166"/>
                  <a:gd name="T4" fmla="*/ 222 w 404"/>
                  <a:gd name="T5" fmla="*/ 164 h 166"/>
                  <a:gd name="T6" fmla="*/ 222 w 404"/>
                  <a:gd name="T7" fmla="*/ 164 h 166"/>
                  <a:gd name="T8" fmla="*/ 164 w 404"/>
                  <a:gd name="T9" fmla="*/ 160 h 166"/>
                  <a:gd name="T10" fmla="*/ 250 w 404"/>
                  <a:gd name="T11" fmla="*/ 160 h 166"/>
                  <a:gd name="T12" fmla="*/ 154 w 404"/>
                  <a:gd name="T13" fmla="*/ 162 h 166"/>
                  <a:gd name="T14" fmla="*/ 260 w 404"/>
                  <a:gd name="T15" fmla="*/ 162 h 166"/>
                  <a:gd name="T16" fmla="*/ 260 w 404"/>
                  <a:gd name="T17" fmla="*/ 162 h 166"/>
                  <a:gd name="T18" fmla="*/ 126 w 404"/>
                  <a:gd name="T19" fmla="*/ 156 h 166"/>
                  <a:gd name="T20" fmla="*/ 288 w 404"/>
                  <a:gd name="T21" fmla="*/ 154 h 166"/>
                  <a:gd name="T22" fmla="*/ 116 w 404"/>
                  <a:gd name="T23" fmla="*/ 158 h 166"/>
                  <a:gd name="T24" fmla="*/ 298 w 404"/>
                  <a:gd name="T25" fmla="*/ 156 h 166"/>
                  <a:gd name="T26" fmla="*/ 298 w 404"/>
                  <a:gd name="T27" fmla="*/ 156 h 166"/>
                  <a:gd name="T28" fmla="*/ 88 w 404"/>
                  <a:gd name="T29" fmla="*/ 148 h 166"/>
                  <a:gd name="T30" fmla="*/ 324 w 404"/>
                  <a:gd name="T31" fmla="*/ 144 h 166"/>
                  <a:gd name="T32" fmla="*/ 78 w 404"/>
                  <a:gd name="T33" fmla="*/ 148 h 166"/>
                  <a:gd name="T34" fmla="*/ 334 w 404"/>
                  <a:gd name="T35" fmla="*/ 144 h 166"/>
                  <a:gd name="T36" fmla="*/ 334 w 404"/>
                  <a:gd name="T37" fmla="*/ 144 h 166"/>
                  <a:gd name="T38" fmla="*/ 52 w 404"/>
                  <a:gd name="T39" fmla="*/ 134 h 166"/>
                  <a:gd name="T40" fmla="*/ 360 w 404"/>
                  <a:gd name="T41" fmla="*/ 130 h 166"/>
                  <a:gd name="T42" fmla="*/ 42 w 404"/>
                  <a:gd name="T43" fmla="*/ 132 h 166"/>
                  <a:gd name="T44" fmla="*/ 370 w 404"/>
                  <a:gd name="T45" fmla="*/ 128 h 166"/>
                  <a:gd name="T46" fmla="*/ 370 w 404"/>
                  <a:gd name="T47" fmla="*/ 128 h 166"/>
                  <a:gd name="T48" fmla="*/ 20 w 404"/>
                  <a:gd name="T49" fmla="*/ 114 h 166"/>
                  <a:gd name="T50" fmla="*/ 390 w 404"/>
                  <a:gd name="T51" fmla="*/ 108 h 166"/>
                  <a:gd name="T52" fmla="*/ 12 w 404"/>
                  <a:gd name="T53" fmla="*/ 110 h 166"/>
                  <a:gd name="T54" fmla="*/ 398 w 404"/>
                  <a:gd name="T55" fmla="*/ 102 h 166"/>
                  <a:gd name="T56" fmla="*/ 398 w 404"/>
                  <a:gd name="T57" fmla="*/ 102 h 166"/>
                  <a:gd name="T58" fmla="*/ 4 w 404"/>
                  <a:gd name="T59" fmla="*/ 82 h 166"/>
                  <a:gd name="T60" fmla="*/ 402 w 404"/>
                  <a:gd name="T61" fmla="*/ 82 h 166"/>
                  <a:gd name="T62" fmla="*/ 404 w 404"/>
                  <a:gd name="T63" fmla="*/ 82 h 166"/>
                  <a:gd name="T64" fmla="*/ 8 w 404"/>
                  <a:gd name="T65" fmla="*/ 64 h 166"/>
                  <a:gd name="T66" fmla="*/ 390 w 404"/>
                  <a:gd name="T67" fmla="*/ 58 h 166"/>
                  <a:gd name="T68" fmla="*/ 12 w 404"/>
                  <a:gd name="T69" fmla="*/ 56 h 166"/>
                  <a:gd name="T70" fmla="*/ 14 w 404"/>
                  <a:gd name="T71" fmla="*/ 58 h 166"/>
                  <a:gd name="T72" fmla="*/ 386 w 404"/>
                  <a:gd name="T73" fmla="*/ 48 h 166"/>
                  <a:gd name="T74" fmla="*/ 36 w 404"/>
                  <a:gd name="T75" fmla="*/ 40 h 166"/>
                  <a:gd name="T76" fmla="*/ 360 w 404"/>
                  <a:gd name="T77" fmla="*/ 34 h 166"/>
                  <a:gd name="T78" fmla="*/ 42 w 404"/>
                  <a:gd name="T79" fmla="*/ 32 h 166"/>
                  <a:gd name="T80" fmla="*/ 44 w 404"/>
                  <a:gd name="T81" fmla="*/ 34 h 166"/>
                  <a:gd name="T82" fmla="*/ 354 w 404"/>
                  <a:gd name="T83" fmla="*/ 28 h 166"/>
                  <a:gd name="T84" fmla="*/ 70 w 404"/>
                  <a:gd name="T85" fmla="*/ 22 h 166"/>
                  <a:gd name="T86" fmla="*/ 326 w 404"/>
                  <a:gd name="T87" fmla="*/ 20 h 166"/>
                  <a:gd name="T88" fmla="*/ 78 w 404"/>
                  <a:gd name="T89" fmla="*/ 16 h 166"/>
                  <a:gd name="T90" fmla="*/ 80 w 404"/>
                  <a:gd name="T91" fmla="*/ 20 h 166"/>
                  <a:gd name="T92" fmla="*/ 318 w 404"/>
                  <a:gd name="T93" fmla="*/ 14 h 166"/>
                  <a:gd name="T94" fmla="*/ 106 w 404"/>
                  <a:gd name="T95" fmla="*/ 12 h 166"/>
                  <a:gd name="T96" fmla="*/ 288 w 404"/>
                  <a:gd name="T97" fmla="*/ 10 h 166"/>
                  <a:gd name="T98" fmla="*/ 116 w 404"/>
                  <a:gd name="T99" fmla="*/ 8 h 166"/>
                  <a:gd name="T100" fmla="*/ 116 w 404"/>
                  <a:gd name="T101" fmla="*/ 10 h 166"/>
                  <a:gd name="T102" fmla="*/ 280 w 404"/>
                  <a:gd name="T103" fmla="*/ 6 h 166"/>
                  <a:gd name="T104" fmla="*/ 144 w 404"/>
                  <a:gd name="T105" fmla="*/ 6 h 166"/>
                  <a:gd name="T106" fmla="*/ 250 w 404"/>
                  <a:gd name="T107" fmla="*/ 4 h 166"/>
                  <a:gd name="T108" fmla="*/ 154 w 404"/>
                  <a:gd name="T109" fmla="*/ 2 h 166"/>
                  <a:gd name="T110" fmla="*/ 154 w 404"/>
                  <a:gd name="T111" fmla="*/ 4 h 166"/>
                  <a:gd name="T112" fmla="*/ 242 w 404"/>
                  <a:gd name="T113" fmla="*/ 0 h 166"/>
                  <a:gd name="T114" fmla="*/ 182 w 404"/>
                  <a:gd name="T115" fmla="*/ 2 h 166"/>
                  <a:gd name="T116" fmla="*/ 212 w 404"/>
                  <a:gd name="T117" fmla="*/ 2 h 166"/>
                  <a:gd name="T118" fmla="*/ 192 w 404"/>
                  <a:gd name="T119" fmla="*/ 0 h 166"/>
                  <a:gd name="T120" fmla="*/ 202 w 404"/>
                  <a:gd name="T121"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4" h="166">
                    <a:moveTo>
                      <a:pt x="202" y="166"/>
                    </a:moveTo>
                    <a:lnTo>
                      <a:pt x="202" y="164"/>
                    </a:lnTo>
                    <a:lnTo>
                      <a:pt x="202" y="162"/>
                    </a:lnTo>
                    <a:lnTo>
                      <a:pt x="202" y="162"/>
                    </a:lnTo>
                    <a:lnTo>
                      <a:pt x="202" y="162"/>
                    </a:lnTo>
                    <a:lnTo>
                      <a:pt x="212" y="162"/>
                    </a:lnTo>
                    <a:lnTo>
                      <a:pt x="212" y="166"/>
                    </a:lnTo>
                    <a:lnTo>
                      <a:pt x="212" y="166"/>
                    </a:lnTo>
                    <a:lnTo>
                      <a:pt x="202" y="166"/>
                    </a:lnTo>
                    <a:lnTo>
                      <a:pt x="202" y="166"/>
                    </a:lnTo>
                    <a:close/>
                    <a:moveTo>
                      <a:pt x="192" y="166"/>
                    </a:moveTo>
                    <a:lnTo>
                      <a:pt x="192" y="166"/>
                    </a:lnTo>
                    <a:lnTo>
                      <a:pt x="182" y="164"/>
                    </a:lnTo>
                    <a:lnTo>
                      <a:pt x="182" y="162"/>
                    </a:lnTo>
                    <a:lnTo>
                      <a:pt x="182" y="162"/>
                    </a:lnTo>
                    <a:lnTo>
                      <a:pt x="192" y="162"/>
                    </a:lnTo>
                    <a:lnTo>
                      <a:pt x="192" y="166"/>
                    </a:lnTo>
                    <a:close/>
                    <a:moveTo>
                      <a:pt x="222" y="164"/>
                    </a:moveTo>
                    <a:lnTo>
                      <a:pt x="222" y="162"/>
                    </a:lnTo>
                    <a:lnTo>
                      <a:pt x="222" y="162"/>
                    </a:lnTo>
                    <a:lnTo>
                      <a:pt x="230" y="162"/>
                    </a:lnTo>
                    <a:lnTo>
                      <a:pt x="230" y="164"/>
                    </a:lnTo>
                    <a:lnTo>
                      <a:pt x="230" y="164"/>
                    </a:lnTo>
                    <a:lnTo>
                      <a:pt x="222" y="164"/>
                    </a:lnTo>
                    <a:lnTo>
                      <a:pt x="222" y="164"/>
                    </a:lnTo>
                    <a:close/>
                    <a:moveTo>
                      <a:pt x="172" y="164"/>
                    </a:moveTo>
                    <a:lnTo>
                      <a:pt x="172" y="164"/>
                    </a:lnTo>
                    <a:lnTo>
                      <a:pt x="164" y="164"/>
                    </a:lnTo>
                    <a:lnTo>
                      <a:pt x="164" y="160"/>
                    </a:lnTo>
                    <a:lnTo>
                      <a:pt x="164" y="160"/>
                    </a:lnTo>
                    <a:lnTo>
                      <a:pt x="174" y="162"/>
                    </a:lnTo>
                    <a:lnTo>
                      <a:pt x="172" y="164"/>
                    </a:lnTo>
                    <a:close/>
                    <a:moveTo>
                      <a:pt x="240" y="164"/>
                    </a:moveTo>
                    <a:lnTo>
                      <a:pt x="240" y="160"/>
                    </a:lnTo>
                    <a:lnTo>
                      <a:pt x="240" y="160"/>
                    </a:lnTo>
                    <a:lnTo>
                      <a:pt x="250" y="160"/>
                    </a:lnTo>
                    <a:lnTo>
                      <a:pt x="250" y="162"/>
                    </a:lnTo>
                    <a:lnTo>
                      <a:pt x="250" y="162"/>
                    </a:lnTo>
                    <a:lnTo>
                      <a:pt x="240" y="164"/>
                    </a:lnTo>
                    <a:lnTo>
                      <a:pt x="240" y="164"/>
                    </a:lnTo>
                    <a:close/>
                    <a:moveTo>
                      <a:pt x="154" y="162"/>
                    </a:moveTo>
                    <a:lnTo>
                      <a:pt x="154" y="162"/>
                    </a:lnTo>
                    <a:lnTo>
                      <a:pt x="144" y="162"/>
                    </a:lnTo>
                    <a:lnTo>
                      <a:pt x="144" y="158"/>
                    </a:lnTo>
                    <a:lnTo>
                      <a:pt x="144" y="158"/>
                    </a:lnTo>
                    <a:lnTo>
                      <a:pt x="154" y="160"/>
                    </a:lnTo>
                    <a:lnTo>
                      <a:pt x="154" y="162"/>
                    </a:lnTo>
                    <a:close/>
                    <a:moveTo>
                      <a:pt x="260" y="162"/>
                    </a:moveTo>
                    <a:lnTo>
                      <a:pt x="260" y="158"/>
                    </a:lnTo>
                    <a:lnTo>
                      <a:pt x="260" y="158"/>
                    </a:lnTo>
                    <a:lnTo>
                      <a:pt x="268" y="158"/>
                    </a:lnTo>
                    <a:lnTo>
                      <a:pt x="270" y="160"/>
                    </a:lnTo>
                    <a:lnTo>
                      <a:pt x="270" y="160"/>
                    </a:lnTo>
                    <a:lnTo>
                      <a:pt x="260" y="162"/>
                    </a:lnTo>
                    <a:lnTo>
                      <a:pt x="260" y="162"/>
                    </a:lnTo>
                    <a:close/>
                    <a:moveTo>
                      <a:pt x="134" y="160"/>
                    </a:moveTo>
                    <a:lnTo>
                      <a:pt x="134" y="160"/>
                    </a:lnTo>
                    <a:lnTo>
                      <a:pt x="126" y="158"/>
                    </a:lnTo>
                    <a:lnTo>
                      <a:pt x="126" y="156"/>
                    </a:lnTo>
                    <a:lnTo>
                      <a:pt x="126" y="156"/>
                    </a:lnTo>
                    <a:lnTo>
                      <a:pt x="136" y="158"/>
                    </a:lnTo>
                    <a:lnTo>
                      <a:pt x="134" y="160"/>
                    </a:lnTo>
                    <a:close/>
                    <a:moveTo>
                      <a:pt x="278" y="160"/>
                    </a:moveTo>
                    <a:lnTo>
                      <a:pt x="278" y="156"/>
                    </a:lnTo>
                    <a:lnTo>
                      <a:pt x="278" y="156"/>
                    </a:lnTo>
                    <a:lnTo>
                      <a:pt x="288" y="154"/>
                    </a:lnTo>
                    <a:lnTo>
                      <a:pt x="288" y="158"/>
                    </a:lnTo>
                    <a:lnTo>
                      <a:pt x="288" y="158"/>
                    </a:lnTo>
                    <a:lnTo>
                      <a:pt x="278" y="160"/>
                    </a:lnTo>
                    <a:lnTo>
                      <a:pt x="278" y="160"/>
                    </a:lnTo>
                    <a:close/>
                    <a:moveTo>
                      <a:pt x="116" y="158"/>
                    </a:moveTo>
                    <a:lnTo>
                      <a:pt x="116" y="158"/>
                    </a:lnTo>
                    <a:lnTo>
                      <a:pt x="106" y="156"/>
                    </a:lnTo>
                    <a:lnTo>
                      <a:pt x="106" y="152"/>
                    </a:lnTo>
                    <a:lnTo>
                      <a:pt x="106" y="152"/>
                    </a:lnTo>
                    <a:lnTo>
                      <a:pt x="116" y="154"/>
                    </a:lnTo>
                    <a:lnTo>
                      <a:pt x="116" y="158"/>
                    </a:lnTo>
                    <a:close/>
                    <a:moveTo>
                      <a:pt x="298" y="156"/>
                    </a:moveTo>
                    <a:lnTo>
                      <a:pt x="298" y="152"/>
                    </a:lnTo>
                    <a:lnTo>
                      <a:pt x="298" y="152"/>
                    </a:lnTo>
                    <a:lnTo>
                      <a:pt x="306" y="150"/>
                    </a:lnTo>
                    <a:lnTo>
                      <a:pt x="308" y="154"/>
                    </a:lnTo>
                    <a:lnTo>
                      <a:pt x="308" y="154"/>
                    </a:lnTo>
                    <a:lnTo>
                      <a:pt x="298" y="156"/>
                    </a:lnTo>
                    <a:lnTo>
                      <a:pt x="298" y="156"/>
                    </a:lnTo>
                    <a:close/>
                    <a:moveTo>
                      <a:pt x="96" y="154"/>
                    </a:moveTo>
                    <a:lnTo>
                      <a:pt x="96" y="154"/>
                    </a:lnTo>
                    <a:lnTo>
                      <a:pt x="88" y="150"/>
                    </a:lnTo>
                    <a:lnTo>
                      <a:pt x="88" y="148"/>
                    </a:lnTo>
                    <a:lnTo>
                      <a:pt x="88" y="148"/>
                    </a:lnTo>
                    <a:lnTo>
                      <a:pt x="98" y="150"/>
                    </a:lnTo>
                    <a:lnTo>
                      <a:pt x="96" y="154"/>
                    </a:lnTo>
                    <a:close/>
                    <a:moveTo>
                      <a:pt x="316" y="150"/>
                    </a:moveTo>
                    <a:lnTo>
                      <a:pt x="316" y="148"/>
                    </a:lnTo>
                    <a:lnTo>
                      <a:pt x="316" y="148"/>
                    </a:lnTo>
                    <a:lnTo>
                      <a:pt x="324" y="144"/>
                    </a:lnTo>
                    <a:lnTo>
                      <a:pt x="326" y="148"/>
                    </a:lnTo>
                    <a:lnTo>
                      <a:pt x="326" y="148"/>
                    </a:lnTo>
                    <a:lnTo>
                      <a:pt x="316" y="150"/>
                    </a:lnTo>
                    <a:lnTo>
                      <a:pt x="316" y="150"/>
                    </a:lnTo>
                    <a:close/>
                    <a:moveTo>
                      <a:pt x="78" y="148"/>
                    </a:moveTo>
                    <a:lnTo>
                      <a:pt x="78" y="148"/>
                    </a:lnTo>
                    <a:lnTo>
                      <a:pt x="68" y="144"/>
                    </a:lnTo>
                    <a:lnTo>
                      <a:pt x="70" y="142"/>
                    </a:lnTo>
                    <a:lnTo>
                      <a:pt x="70" y="142"/>
                    </a:lnTo>
                    <a:lnTo>
                      <a:pt x="80" y="144"/>
                    </a:lnTo>
                    <a:lnTo>
                      <a:pt x="78" y="148"/>
                    </a:lnTo>
                    <a:close/>
                    <a:moveTo>
                      <a:pt x="334" y="144"/>
                    </a:moveTo>
                    <a:lnTo>
                      <a:pt x="334" y="142"/>
                    </a:lnTo>
                    <a:lnTo>
                      <a:pt x="334" y="142"/>
                    </a:lnTo>
                    <a:lnTo>
                      <a:pt x="342" y="138"/>
                    </a:lnTo>
                    <a:lnTo>
                      <a:pt x="344" y="142"/>
                    </a:lnTo>
                    <a:lnTo>
                      <a:pt x="344" y="142"/>
                    </a:lnTo>
                    <a:lnTo>
                      <a:pt x="334" y="144"/>
                    </a:lnTo>
                    <a:lnTo>
                      <a:pt x="334" y="144"/>
                    </a:lnTo>
                    <a:close/>
                    <a:moveTo>
                      <a:pt x="60" y="142"/>
                    </a:moveTo>
                    <a:lnTo>
                      <a:pt x="60" y="142"/>
                    </a:lnTo>
                    <a:lnTo>
                      <a:pt x="50" y="138"/>
                    </a:lnTo>
                    <a:lnTo>
                      <a:pt x="52" y="134"/>
                    </a:lnTo>
                    <a:lnTo>
                      <a:pt x="52" y="134"/>
                    </a:lnTo>
                    <a:lnTo>
                      <a:pt x="62" y="138"/>
                    </a:lnTo>
                    <a:lnTo>
                      <a:pt x="60" y="142"/>
                    </a:lnTo>
                    <a:close/>
                    <a:moveTo>
                      <a:pt x="352" y="138"/>
                    </a:moveTo>
                    <a:lnTo>
                      <a:pt x="352" y="134"/>
                    </a:lnTo>
                    <a:lnTo>
                      <a:pt x="352" y="134"/>
                    </a:lnTo>
                    <a:lnTo>
                      <a:pt x="360" y="130"/>
                    </a:lnTo>
                    <a:lnTo>
                      <a:pt x="362" y="134"/>
                    </a:lnTo>
                    <a:lnTo>
                      <a:pt x="362" y="134"/>
                    </a:lnTo>
                    <a:lnTo>
                      <a:pt x="352" y="138"/>
                    </a:lnTo>
                    <a:lnTo>
                      <a:pt x="352" y="138"/>
                    </a:lnTo>
                    <a:close/>
                    <a:moveTo>
                      <a:pt x="42" y="132"/>
                    </a:moveTo>
                    <a:lnTo>
                      <a:pt x="42" y="132"/>
                    </a:lnTo>
                    <a:lnTo>
                      <a:pt x="34" y="128"/>
                    </a:lnTo>
                    <a:lnTo>
                      <a:pt x="36" y="126"/>
                    </a:lnTo>
                    <a:lnTo>
                      <a:pt x="36" y="126"/>
                    </a:lnTo>
                    <a:lnTo>
                      <a:pt x="44" y="130"/>
                    </a:lnTo>
                    <a:lnTo>
                      <a:pt x="42" y="132"/>
                    </a:lnTo>
                    <a:close/>
                    <a:moveTo>
                      <a:pt x="370" y="128"/>
                    </a:moveTo>
                    <a:lnTo>
                      <a:pt x="368" y="126"/>
                    </a:lnTo>
                    <a:lnTo>
                      <a:pt x="368" y="126"/>
                    </a:lnTo>
                    <a:lnTo>
                      <a:pt x="376" y="120"/>
                    </a:lnTo>
                    <a:lnTo>
                      <a:pt x="378" y="122"/>
                    </a:lnTo>
                    <a:lnTo>
                      <a:pt x="378" y="122"/>
                    </a:lnTo>
                    <a:lnTo>
                      <a:pt x="370" y="128"/>
                    </a:lnTo>
                    <a:lnTo>
                      <a:pt x="370" y="128"/>
                    </a:lnTo>
                    <a:close/>
                    <a:moveTo>
                      <a:pt x="26" y="122"/>
                    </a:moveTo>
                    <a:lnTo>
                      <a:pt x="26" y="122"/>
                    </a:lnTo>
                    <a:lnTo>
                      <a:pt x="18" y="116"/>
                    </a:lnTo>
                    <a:lnTo>
                      <a:pt x="20" y="114"/>
                    </a:lnTo>
                    <a:lnTo>
                      <a:pt x="20" y="114"/>
                    </a:lnTo>
                    <a:lnTo>
                      <a:pt x="28" y="120"/>
                    </a:lnTo>
                    <a:lnTo>
                      <a:pt x="26" y="122"/>
                    </a:lnTo>
                    <a:close/>
                    <a:moveTo>
                      <a:pt x="386" y="116"/>
                    </a:moveTo>
                    <a:lnTo>
                      <a:pt x="384" y="114"/>
                    </a:lnTo>
                    <a:lnTo>
                      <a:pt x="384" y="114"/>
                    </a:lnTo>
                    <a:lnTo>
                      <a:pt x="390" y="108"/>
                    </a:lnTo>
                    <a:lnTo>
                      <a:pt x="392" y="110"/>
                    </a:lnTo>
                    <a:lnTo>
                      <a:pt x="392" y="110"/>
                    </a:lnTo>
                    <a:lnTo>
                      <a:pt x="386" y="116"/>
                    </a:lnTo>
                    <a:lnTo>
                      <a:pt x="386" y="116"/>
                    </a:lnTo>
                    <a:close/>
                    <a:moveTo>
                      <a:pt x="12" y="110"/>
                    </a:moveTo>
                    <a:lnTo>
                      <a:pt x="12" y="110"/>
                    </a:lnTo>
                    <a:lnTo>
                      <a:pt x="6" y="102"/>
                    </a:lnTo>
                    <a:lnTo>
                      <a:pt x="8" y="100"/>
                    </a:lnTo>
                    <a:lnTo>
                      <a:pt x="8" y="100"/>
                    </a:lnTo>
                    <a:lnTo>
                      <a:pt x="14" y="108"/>
                    </a:lnTo>
                    <a:lnTo>
                      <a:pt x="12" y="110"/>
                    </a:lnTo>
                    <a:close/>
                    <a:moveTo>
                      <a:pt x="398" y="102"/>
                    </a:moveTo>
                    <a:lnTo>
                      <a:pt x="396" y="100"/>
                    </a:lnTo>
                    <a:lnTo>
                      <a:pt x="396" y="100"/>
                    </a:lnTo>
                    <a:lnTo>
                      <a:pt x="400" y="92"/>
                    </a:lnTo>
                    <a:lnTo>
                      <a:pt x="402" y="92"/>
                    </a:lnTo>
                    <a:lnTo>
                      <a:pt x="402" y="92"/>
                    </a:lnTo>
                    <a:lnTo>
                      <a:pt x="398" y="102"/>
                    </a:lnTo>
                    <a:lnTo>
                      <a:pt x="398" y="102"/>
                    </a:lnTo>
                    <a:close/>
                    <a:moveTo>
                      <a:pt x="2" y="92"/>
                    </a:moveTo>
                    <a:lnTo>
                      <a:pt x="2" y="92"/>
                    </a:lnTo>
                    <a:lnTo>
                      <a:pt x="0" y="82"/>
                    </a:lnTo>
                    <a:lnTo>
                      <a:pt x="4" y="82"/>
                    </a:lnTo>
                    <a:lnTo>
                      <a:pt x="4" y="82"/>
                    </a:lnTo>
                    <a:lnTo>
                      <a:pt x="4" y="82"/>
                    </a:lnTo>
                    <a:lnTo>
                      <a:pt x="6" y="92"/>
                    </a:lnTo>
                    <a:lnTo>
                      <a:pt x="2" y="92"/>
                    </a:lnTo>
                    <a:close/>
                    <a:moveTo>
                      <a:pt x="404" y="82"/>
                    </a:moveTo>
                    <a:lnTo>
                      <a:pt x="400" y="82"/>
                    </a:lnTo>
                    <a:lnTo>
                      <a:pt x="402" y="82"/>
                    </a:lnTo>
                    <a:lnTo>
                      <a:pt x="400" y="82"/>
                    </a:lnTo>
                    <a:lnTo>
                      <a:pt x="400" y="82"/>
                    </a:lnTo>
                    <a:lnTo>
                      <a:pt x="400" y="74"/>
                    </a:lnTo>
                    <a:lnTo>
                      <a:pt x="402" y="72"/>
                    </a:lnTo>
                    <a:lnTo>
                      <a:pt x="402" y="72"/>
                    </a:lnTo>
                    <a:lnTo>
                      <a:pt x="404" y="82"/>
                    </a:lnTo>
                    <a:lnTo>
                      <a:pt x="404" y="82"/>
                    </a:lnTo>
                    <a:close/>
                    <a:moveTo>
                      <a:pt x="6" y="74"/>
                    </a:moveTo>
                    <a:lnTo>
                      <a:pt x="2" y="72"/>
                    </a:lnTo>
                    <a:lnTo>
                      <a:pt x="2" y="72"/>
                    </a:lnTo>
                    <a:lnTo>
                      <a:pt x="6" y="64"/>
                    </a:lnTo>
                    <a:lnTo>
                      <a:pt x="8" y="64"/>
                    </a:lnTo>
                    <a:lnTo>
                      <a:pt x="8" y="64"/>
                    </a:lnTo>
                    <a:lnTo>
                      <a:pt x="6" y="74"/>
                    </a:lnTo>
                    <a:lnTo>
                      <a:pt x="6" y="74"/>
                    </a:lnTo>
                    <a:close/>
                    <a:moveTo>
                      <a:pt x="396" y="66"/>
                    </a:moveTo>
                    <a:lnTo>
                      <a:pt x="396" y="66"/>
                    </a:lnTo>
                    <a:lnTo>
                      <a:pt x="390" y="58"/>
                    </a:lnTo>
                    <a:lnTo>
                      <a:pt x="392" y="56"/>
                    </a:lnTo>
                    <a:lnTo>
                      <a:pt x="392" y="56"/>
                    </a:lnTo>
                    <a:lnTo>
                      <a:pt x="398" y="64"/>
                    </a:lnTo>
                    <a:lnTo>
                      <a:pt x="396" y="66"/>
                    </a:lnTo>
                    <a:close/>
                    <a:moveTo>
                      <a:pt x="14" y="58"/>
                    </a:moveTo>
                    <a:lnTo>
                      <a:pt x="12" y="56"/>
                    </a:lnTo>
                    <a:lnTo>
                      <a:pt x="12" y="56"/>
                    </a:lnTo>
                    <a:lnTo>
                      <a:pt x="18" y="48"/>
                    </a:lnTo>
                    <a:lnTo>
                      <a:pt x="20" y="50"/>
                    </a:lnTo>
                    <a:lnTo>
                      <a:pt x="20" y="50"/>
                    </a:lnTo>
                    <a:lnTo>
                      <a:pt x="14" y="58"/>
                    </a:lnTo>
                    <a:lnTo>
                      <a:pt x="14" y="58"/>
                    </a:lnTo>
                    <a:close/>
                    <a:moveTo>
                      <a:pt x="384" y="50"/>
                    </a:moveTo>
                    <a:lnTo>
                      <a:pt x="384" y="50"/>
                    </a:lnTo>
                    <a:lnTo>
                      <a:pt x="376" y="44"/>
                    </a:lnTo>
                    <a:lnTo>
                      <a:pt x="378" y="42"/>
                    </a:lnTo>
                    <a:lnTo>
                      <a:pt x="378" y="42"/>
                    </a:lnTo>
                    <a:lnTo>
                      <a:pt x="386" y="48"/>
                    </a:lnTo>
                    <a:lnTo>
                      <a:pt x="384" y="50"/>
                    </a:lnTo>
                    <a:close/>
                    <a:moveTo>
                      <a:pt x="28" y="44"/>
                    </a:moveTo>
                    <a:lnTo>
                      <a:pt x="26" y="42"/>
                    </a:lnTo>
                    <a:lnTo>
                      <a:pt x="26" y="42"/>
                    </a:lnTo>
                    <a:lnTo>
                      <a:pt x="34" y="36"/>
                    </a:lnTo>
                    <a:lnTo>
                      <a:pt x="36" y="40"/>
                    </a:lnTo>
                    <a:lnTo>
                      <a:pt x="36" y="40"/>
                    </a:lnTo>
                    <a:lnTo>
                      <a:pt x="28" y="44"/>
                    </a:lnTo>
                    <a:lnTo>
                      <a:pt x="28" y="44"/>
                    </a:lnTo>
                    <a:close/>
                    <a:moveTo>
                      <a:pt x="368" y="40"/>
                    </a:moveTo>
                    <a:lnTo>
                      <a:pt x="368" y="40"/>
                    </a:lnTo>
                    <a:lnTo>
                      <a:pt x="360" y="34"/>
                    </a:lnTo>
                    <a:lnTo>
                      <a:pt x="362" y="32"/>
                    </a:lnTo>
                    <a:lnTo>
                      <a:pt x="362" y="32"/>
                    </a:lnTo>
                    <a:lnTo>
                      <a:pt x="370" y="36"/>
                    </a:lnTo>
                    <a:lnTo>
                      <a:pt x="368" y="40"/>
                    </a:lnTo>
                    <a:close/>
                    <a:moveTo>
                      <a:pt x="44" y="34"/>
                    </a:moveTo>
                    <a:lnTo>
                      <a:pt x="42" y="32"/>
                    </a:lnTo>
                    <a:lnTo>
                      <a:pt x="42" y="32"/>
                    </a:lnTo>
                    <a:lnTo>
                      <a:pt x="52" y="28"/>
                    </a:lnTo>
                    <a:lnTo>
                      <a:pt x="52" y="30"/>
                    </a:lnTo>
                    <a:lnTo>
                      <a:pt x="52" y="30"/>
                    </a:lnTo>
                    <a:lnTo>
                      <a:pt x="44" y="34"/>
                    </a:lnTo>
                    <a:lnTo>
                      <a:pt x="44" y="34"/>
                    </a:lnTo>
                    <a:close/>
                    <a:moveTo>
                      <a:pt x="352" y="30"/>
                    </a:moveTo>
                    <a:lnTo>
                      <a:pt x="352" y="30"/>
                    </a:lnTo>
                    <a:lnTo>
                      <a:pt x="344" y="26"/>
                    </a:lnTo>
                    <a:lnTo>
                      <a:pt x="344" y="24"/>
                    </a:lnTo>
                    <a:lnTo>
                      <a:pt x="344" y="24"/>
                    </a:lnTo>
                    <a:lnTo>
                      <a:pt x="354" y="28"/>
                    </a:lnTo>
                    <a:lnTo>
                      <a:pt x="352" y="30"/>
                    </a:lnTo>
                    <a:close/>
                    <a:moveTo>
                      <a:pt x="62" y="26"/>
                    </a:moveTo>
                    <a:lnTo>
                      <a:pt x="60" y="24"/>
                    </a:lnTo>
                    <a:lnTo>
                      <a:pt x="60" y="24"/>
                    </a:lnTo>
                    <a:lnTo>
                      <a:pt x="70" y="20"/>
                    </a:lnTo>
                    <a:lnTo>
                      <a:pt x="70" y="22"/>
                    </a:lnTo>
                    <a:lnTo>
                      <a:pt x="70" y="22"/>
                    </a:lnTo>
                    <a:lnTo>
                      <a:pt x="62" y="26"/>
                    </a:lnTo>
                    <a:lnTo>
                      <a:pt x="62" y="26"/>
                    </a:lnTo>
                    <a:close/>
                    <a:moveTo>
                      <a:pt x="334" y="22"/>
                    </a:moveTo>
                    <a:lnTo>
                      <a:pt x="334" y="22"/>
                    </a:lnTo>
                    <a:lnTo>
                      <a:pt x="326" y="20"/>
                    </a:lnTo>
                    <a:lnTo>
                      <a:pt x="326" y="16"/>
                    </a:lnTo>
                    <a:lnTo>
                      <a:pt x="326" y="16"/>
                    </a:lnTo>
                    <a:lnTo>
                      <a:pt x="336" y="20"/>
                    </a:lnTo>
                    <a:lnTo>
                      <a:pt x="334" y="22"/>
                    </a:lnTo>
                    <a:close/>
                    <a:moveTo>
                      <a:pt x="80" y="20"/>
                    </a:moveTo>
                    <a:lnTo>
                      <a:pt x="78" y="16"/>
                    </a:lnTo>
                    <a:lnTo>
                      <a:pt x="78" y="16"/>
                    </a:lnTo>
                    <a:lnTo>
                      <a:pt x="88" y="14"/>
                    </a:lnTo>
                    <a:lnTo>
                      <a:pt x="88" y="18"/>
                    </a:lnTo>
                    <a:lnTo>
                      <a:pt x="88" y="18"/>
                    </a:lnTo>
                    <a:lnTo>
                      <a:pt x="80" y="20"/>
                    </a:lnTo>
                    <a:lnTo>
                      <a:pt x="80" y="20"/>
                    </a:lnTo>
                    <a:close/>
                    <a:moveTo>
                      <a:pt x="316" y="18"/>
                    </a:moveTo>
                    <a:lnTo>
                      <a:pt x="316" y="18"/>
                    </a:lnTo>
                    <a:lnTo>
                      <a:pt x="306" y="14"/>
                    </a:lnTo>
                    <a:lnTo>
                      <a:pt x="308" y="12"/>
                    </a:lnTo>
                    <a:lnTo>
                      <a:pt x="308" y="12"/>
                    </a:lnTo>
                    <a:lnTo>
                      <a:pt x="318" y="14"/>
                    </a:lnTo>
                    <a:lnTo>
                      <a:pt x="316" y="18"/>
                    </a:lnTo>
                    <a:close/>
                    <a:moveTo>
                      <a:pt x="98" y="14"/>
                    </a:moveTo>
                    <a:lnTo>
                      <a:pt x="96" y="12"/>
                    </a:lnTo>
                    <a:lnTo>
                      <a:pt x="96" y="12"/>
                    </a:lnTo>
                    <a:lnTo>
                      <a:pt x="106" y="10"/>
                    </a:lnTo>
                    <a:lnTo>
                      <a:pt x="106" y="12"/>
                    </a:lnTo>
                    <a:lnTo>
                      <a:pt x="106" y="12"/>
                    </a:lnTo>
                    <a:lnTo>
                      <a:pt x="98" y="14"/>
                    </a:lnTo>
                    <a:lnTo>
                      <a:pt x="98" y="14"/>
                    </a:lnTo>
                    <a:close/>
                    <a:moveTo>
                      <a:pt x="298" y="12"/>
                    </a:moveTo>
                    <a:lnTo>
                      <a:pt x="298" y="12"/>
                    </a:lnTo>
                    <a:lnTo>
                      <a:pt x="288" y="10"/>
                    </a:lnTo>
                    <a:lnTo>
                      <a:pt x="288" y="8"/>
                    </a:lnTo>
                    <a:lnTo>
                      <a:pt x="288" y="8"/>
                    </a:lnTo>
                    <a:lnTo>
                      <a:pt x="298" y="10"/>
                    </a:lnTo>
                    <a:lnTo>
                      <a:pt x="298" y="12"/>
                    </a:lnTo>
                    <a:close/>
                    <a:moveTo>
                      <a:pt x="116" y="10"/>
                    </a:moveTo>
                    <a:lnTo>
                      <a:pt x="116" y="8"/>
                    </a:lnTo>
                    <a:lnTo>
                      <a:pt x="116" y="8"/>
                    </a:lnTo>
                    <a:lnTo>
                      <a:pt x="126" y="6"/>
                    </a:lnTo>
                    <a:lnTo>
                      <a:pt x="126" y="8"/>
                    </a:lnTo>
                    <a:lnTo>
                      <a:pt x="126" y="8"/>
                    </a:lnTo>
                    <a:lnTo>
                      <a:pt x="116" y="10"/>
                    </a:lnTo>
                    <a:lnTo>
                      <a:pt x="116" y="10"/>
                    </a:lnTo>
                    <a:close/>
                    <a:moveTo>
                      <a:pt x="278" y="8"/>
                    </a:moveTo>
                    <a:lnTo>
                      <a:pt x="278" y="8"/>
                    </a:lnTo>
                    <a:lnTo>
                      <a:pt x="270" y="8"/>
                    </a:lnTo>
                    <a:lnTo>
                      <a:pt x="270" y="4"/>
                    </a:lnTo>
                    <a:lnTo>
                      <a:pt x="270" y="4"/>
                    </a:lnTo>
                    <a:lnTo>
                      <a:pt x="280" y="6"/>
                    </a:lnTo>
                    <a:lnTo>
                      <a:pt x="278" y="8"/>
                    </a:lnTo>
                    <a:close/>
                    <a:moveTo>
                      <a:pt x="136" y="8"/>
                    </a:moveTo>
                    <a:lnTo>
                      <a:pt x="134" y="4"/>
                    </a:lnTo>
                    <a:lnTo>
                      <a:pt x="134" y="4"/>
                    </a:lnTo>
                    <a:lnTo>
                      <a:pt x="144" y="2"/>
                    </a:lnTo>
                    <a:lnTo>
                      <a:pt x="144" y="6"/>
                    </a:lnTo>
                    <a:lnTo>
                      <a:pt x="144" y="6"/>
                    </a:lnTo>
                    <a:lnTo>
                      <a:pt x="136" y="8"/>
                    </a:lnTo>
                    <a:lnTo>
                      <a:pt x="136" y="8"/>
                    </a:lnTo>
                    <a:close/>
                    <a:moveTo>
                      <a:pt x="260" y="6"/>
                    </a:moveTo>
                    <a:lnTo>
                      <a:pt x="260" y="6"/>
                    </a:lnTo>
                    <a:lnTo>
                      <a:pt x="250" y="4"/>
                    </a:lnTo>
                    <a:lnTo>
                      <a:pt x="250" y="2"/>
                    </a:lnTo>
                    <a:lnTo>
                      <a:pt x="250" y="2"/>
                    </a:lnTo>
                    <a:lnTo>
                      <a:pt x="260" y="2"/>
                    </a:lnTo>
                    <a:lnTo>
                      <a:pt x="260" y="6"/>
                    </a:lnTo>
                    <a:close/>
                    <a:moveTo>
                      <a:pt x="154" y="4"/>
                    </a:moveTo>
                    <a:lnTo>
                      <a:pt x="154" y="2"/>
                    </a:lnTo>
                    <a:lnTo>
                      <a:pt x="154" y="2"/>
                    </a:lnTo>
                    <a:lnTo>
                      <a:pt x="164" y="0"/>
                    </a:lnTo>
                    <a:lnTo>
                      <a:pt x="164" y="4"/>
                    </a:lnTo>
                    <a:lnTo>
                      <a:pt x="164" y="4"/>
                    </a:lnTo>
                    <a:lnTo>
                      <a:pt x="154" y="4"/>
                    </a:lnTo>
                    <a:lnTo>
                      <a:pt x="154" y="4"/>
                    </a:lnTo>
                    <a:close/>
                    <a:moveTo>
                      <a:pt x="240" y="4"/>
                    </a:moveTo>
                    <a:lnTo>
                      <a:pt x="240" y="4"/>
                    </a:lnTo>
                    <a:lnTo>
                      <a:pt x="232" y="4"/>
                    </a:lnTo>
                    <a:lnTo>
                      <a:pt x="232" y="0"/>
                    </a:lnTo>
                    <a:lnTo>
                      <a:pt x="232" y="0"/>
                    </a:lnTo>
                    <a:lnTo>
                      <a:pt x="242" y="0"/>
                    </a:lnTo>
                    <a:lnTo>
                      <a:pt x="240" y="4"/>
                    </a:lnTo>
                    <a:close/>
                    <a:moveTo>
                      <a:pt x="174" y="4"/>
                    </a:moveTo>
                    <a:lnTo>
                      <a:pt x="174" y="0"/>
                    </a:lnTo>
                    <a:lnTo>
                      <a:pt x="174" y="0"/>
                    </a:lnTo>
                    <a:lnTo>
                      <a:pt x="182" y="0"/>
                    </a:lnTo>
                    <a:lnTo>
                      <a:pt x="182" y="2"/>
                    </a:lnTo>
                    <a:lnTo>
                      <a:pt x="182" y="2"/>
                    </a:lnTo>
                    <a:lnTo>
                      <a:pt x="174" y="4"/>
                    </a:lnTo>
                    <a:lnTo>
                      <a:pt x="174" y="4"/>
                    </a:lnTo>
                    <a:close/>
                    <a:moveTo>
                      <a:pt x="222" y="2"/>
                    </a:moveTo>
                    <a:lnTo>
                      <a:pt x="222" y="2"/>
                    </a:lnTo>
                    <a:lnTo>
                      <a:pt x="212" y="2"/>
                    </a:lnTo>
                    <a:lnTo>
                      <a:pt x="212" y="0"/>
                    </a:lnTo>
                    <a:lnTo>
                      <a:pt x="212" y="0"/>
                    </a:lnTo>
                    <a:lnTo>
                      <a:pt x="222" y="0"/>
                    </a:lnTo>
                    <a:lnTo>
                      <a:pt x="222" y="2"/>
                    </a:lnTo>
                    <a:close/>
                    <a:moveTo>
                      <a:pt x="192" y="2"/>
                    </a:moveTo>
                    <a:lnTo>
                      <a:pt x="192" y="0"/>
                    </a:lnTo>
                    <a:lnTo>
                      <a:pt x="192" y="0"/>
                    </a:lnTo>
                    <a:lnTo>
                      <a:pt x="202" y="0"/>
                    </a:lnTo>
                    <a:lnTo>
                      <a:pt x="202" y="0"/>
                    </a:lnTo>
                    <a:lnTo>
                      <a:pt x="202" y="2"/>
                    </a:lnTo>
                    <a:lnTo>
                      <a:pt x="202" y="2"/>
                    </a:lnTo>
                    <a:lnTo>
                      <a:pt x="202" y="2"/>
                    </a:lnTo>
                    <a:lnTo>
                      <a:pt x="192" y="2"/>
                    </a:lnTo>
                    <a:lnTo>
                      <a:pt x="192" y="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5" name="Freeform 35"/>
              <p:cNvSpPr/>
              <p:nvPr/>
            </p:nvSpPr>
            <p:spPr bwMode="auto">
              <a:xfrm>
                <a:off x="8007732" y="2876453"/>
                <a:ext cx="195979" cy="181288"/>
              </a:xfrm>
              <a:custGeom>
                <a:avLst/>
                <a:gdLst>
                  <a:gd name="T0" fmla="*/ 80 w 118"/>
                  <a:gd name="T1" fmla="*/ 42 h 122"/>
                  <a:gd name="T2" fmla="*/ 74 w 118"/>
                  <a:gd name="T3" fmla="*/ 32 h 122"/>
                  <a:gd name="T4" fmla="*/ 58 w 118"/>
                  <a:gd name="T5" fmla="*/ 28 h 122"/>
                  <a:gd name="T6" fmla="*/ 52 w 118"/>
                  <a:gd name="T7" fmla="*/ 30 h 122"/>
                  <a:gd name="T8" fmla="*/ 48 w 118"/>
                  <a:gd name="T9" fmla="*/ 34 h 122"/>
                  <a:gd name="T10" fmla="*/ 48 w 118"/>
                  <a:gd name="T11" fmla="*/ 36 h 122"/>
                  <a:gd name="T12" fmla="*/ 58 w 118"/>
                  <a:gd name="T13" fmla="*/ 42 h 122"/>
                  <a:gd name="T14" fmla="*/ 94 w 118"/>
                  <a:gd name="T15" fmla="*/ 54 h 122"/>
                  <a:gd name="T16" fmla="*/ 114 w 118"/>
                  <a:gd name="T17" fmla="*/ 68 h 122"/>
                  <a:gd name="T18" fmla="*/ 118 w 118"/>
                  <a:gd name="T19" fmla="*/ 78 h 122"/>
                  <a:gd name="T20" fmla="*/ 118 w 118"/>
                  <a:gd name="T21" fmla="*/ 88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10 h 122"/>
                  <a:gd name="T34" fmla="*/ 34 w 118"/>
                  <a:gd name="T35" fmla="*/ 98 h 122"/>
                  <a:gd name="T36" fmla="*/ 0 w 118"/>
                  <a:gd name="T37" fmla="*/ 110 h 122"/>
                  <a:gd name="T38" fmla="*/ 34 w 118"/>
                  <a:gd name="T39" fmla="*/ 70 h 122"/>
                  <a:gd name="T40" fmla="*/ 36 w 118"/>
                  <a:gd name="T41" fmla="*/ 74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4 h 122"/>
                  <a:gd name="T66" fmla="*/ 46 w 118"/>
                  <a:gd name="T67" fmla="*/ 8 h 122"/>
                  <a:gd name="T68" fmla="*/ 52 w 118"/>
                  <a:gd name="T69" fmla="*/ 8 h 122"/>
                  <a:gd name="T70" fmla="*/ 62 w 118"/>
                  <a:gd name="T71" fmla="*/ 0 h 122"/>
                  <a:gd name="T72" fmla="*/ 62 w 118"/>
                  <a:gd name="T73" fmla="*/ 10 h 122"/>
                  <a:gd name="T74" fmla="*/ 80 w 118"/>
                  <a:gd name="T75" fmla="*/ 22 h 122"/>
                  <a:gd name="T76" fmla="*/ 108 w 118"/>
                  <a:gd name="T77" fmla="*/ 10 h 122"/>
                  <a:gd name="T78" fmla="*/ 80 w 118"/>
                  <a:gd name="T79" fmla="*/ 4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2"/>
                    </a:moveTo>
                    <a:lnTo>
                      <a:pt x="80" y="42"/>
                    </a:lnTo>
                    <a:lnTo>
                      <a:pt x="78" y="36"/>
                    </a:lnTo>
                    <a:lnTo>
                      <a:pt x="74" y="32"/>
                    </a:lnTo>
                    <a:lnTo>
                      <a:pt x="68" y="28"/>
                    </a:lnTo>
                    <a:lnTo>
                      <a:pt x="58" y="28"/>
                    </a:lnTo>
                    <a:lnTo>
                      <a:pt x="58" y="28"/>
                    </a:lnTo>
                    <a:lnTo>
                      <a:pt x="52" y="30"/>
                    </a:lnTo>
                    <a:lnTo>
                      <a:pt x="48" y="32"/>
                    </a:lnTo>
                    <a:lnTo>
                      <a:pt x="48" y="34"/>
                    </a:lnTo>
                    <a:lnTo>
                      <a:pt x="48" y="34"/>
                    </a:lnTo>
                    <a:lnTo>
                      <a:pt x="48" y="36"/>
                    </a:lnTo>
                    <a:lnTo>
                      <a:pt x="50" y="40"/>
                    </a:lnTo>
                    <a:lnTo>
                      <a:pt x="58" y="42"/>
                    </a:lnTo>
                    <a:lnTo>
                      <a:pt x="82" y="50"/>
                    </a:lnTo>
                    <a:lnTo>
                      <a:pt x="94" y="54"/>
                    </a:lnTo>
                    <a:lnTo>
                      <a:pt x="106" y="60"/>
                    </a:lnTo>
                    <a:lnTo>
                      <a:pt x="114" y="68"/>
                    </a:lnTo>
                    <a:lnTo>
                      <a:pt x="116" y="72"/>
                    </a:lnTo>
                    <a:lnTo>
                      <a:pt x="118" y="78"/>
                    </a:lnTo>
                    <a:lnTo>
                      <a:pt x="118" y="78"/>
                    </a:lnTo>
                    <a:lnTo>
                      <a:pt x="118" y="88"/>
                    </a:lnTo>
                    <a:lnTo>
                      <a:pt x="114" y="94"/>
                    </a:lnTo>
                    <a:lnTo>
                      <a:pt x="110" y="100"/>
                    </a:lnTo>
                    <a:lnTo>
                      <a:pt x="104" y="104"/>
                    </a:lnTo>
                    <a:lnTo>
                      <a:pt x="98" y="108"/>
                    </a:lnTo>
                    <a:lnTo>
                      <a:pt x="90" y="110"/>
                    </a:lnTo>
                    <a:lnTo>
                      <a:pt x="72" y="112"/>
                    </a:lnTo>
                    <a:lnTo>
                      <a:pt x="72" y="112"/>
                    </a:lnTo>
                    <a:lnTo>
                      <a:pt x="66" y="112"/>
                    </a:lnTo>
                    <a:lnTo>
                      <a:pt x="66" y="122"/>
                    </a:lnTo>
                    <a:lnTo>
                      <a:pt x="54" y="122"/>
                    </a:lnTo>
                    <a:lnTo>
                      <a:pt x="54" y="110"/>
                    </a:lnTo>
                    <a:lnTo>
                      <a:pt x="54" y="110"/>
                    </a:lnTo>
                    <a:lnTo>
                      <a:pt x="42" y="104"/>
                    </a:lnTo>
                    <a:lnTo>
                      <a:pt x="34" y="98"/>
                    </a:lnTo>
                    <a:lnTo>
                      <a:pt x="32" y="110"/>
                    </a:lnTo>
                    <a:lnTo>
                      <a:pt x="0" y="110"/>
                    </a:lnTo>
                    <a:lnTo>
                      <a:pt x="2" y="70"/>
                    </a:lnTo>
                    <a:lnTo>
                      <a:pt x="34" y="70"/>
                    </a:lnTo>
                    <a:lnTo>
                      <a:pt x="34" y="70"/>
                    </a:lnTo>
                    <a:lnTo>
                      <a:pt x="36" y="74"/>
                    </a:lnTo>
                    <a:lnTo>
                      <a:pt x="36" y="78"/>
                    </a:lnTo>
                    <a:lnTo>
                      <a:pt x="42" y="82"/>
                    </a:lnTo>
                    <a:lnTo>
                      <a:pt x="50" y="84"/>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8"/>
                    </a:lnTo>
                    <a:lnTo>
                      <a:pt x="6" y="42"/>
                    </a:lnTo>
                    <a:lnTo>
                      <a:pt x="6" y="36"/>
                    </a:lnTo>
                    <a:lnTo>
                      <a:pt x="6" y="36"/>
                    </a:lnTo>
                    <a:lnTo>
                      <a:pt x="8" y="30"/>
                    </a:lnTo>
                    <a:lnTo>
                      <a:pt x="10" y="24"/>
                    </a:lnTo>
                    <a:lnTo>
                      <a:pt x="16" y="18"/>
                    </a:lnTo>
                    <a:lnTo>
                      <a:pt x="20" y="14"/>
                    </a:lnTo>
                    <a:lnTo>
                      <a:pt x="32" y="10"/>
                    </a:lnTo>
                    <a:lnTo>
                      <a:pt x="46" y="8"/>
                    </a:lnTo>
                    <a:lnTo>
                      <a:pt x="46" y="8"/>
                    </a:lnTo>
                    <a:lnTo>
                      <a:pt x="52" y="8"/>
                    </a:lnTo>
                    <a:lnTo>
                      <a:pt x="52" y="0"/>
                    </a:lnTo>
                    <a:lnTo>
                      <a:pt x="62" y="0"/>
                    </a:lnTo>
                    <a:lnTo>
                      <a:pt x="62" y="10"/>
                    </a:lnTo>
                    <a:lnTo>
                      <a:pt x="62" y="10"/>
                    </a:lnTo>
                    <a:lnTo>
                      <a:pt x="72" y="14"/>
                    </a:lnTo>
                    <a:lnTo>
                      <a:pt x="80" y="22"/>
                    </a:lnTo>
                    <a:lnTo>
                      <a:pt x="80" y="10"/>
                    </a:lnTo>
                    <a:lnTo>
                      <a:pt x="108" y="10"/>
                    </a:lnTo>
                    <a:lnTo>
                      <a:pt x="110" y="42"/>
                    </a:lnTo>
                    <a:lnTo>
                      <a:pt x="80" y="4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6" name="Freeform 36"/>
              <p:cNvSpPr/>
              <p:nvPr/>
            </p:nvSpPr>
            <p:spPr bwMode="auto">
              <a:xfrm>
                <a:off x="7695494" y="2992359"/>
                <a:ext cx="797203" cy="222895"/>
              </a:xfrm>
              <a:custGeom>
                <a:avLst/>
                <a:gdLst>
                  <a:gd name="T0" fmla="*/ 436 w 480"/>
                  <a:gd name="T1" fmla="*/ 48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6 h 150"/>
                  <a:gd name="T28" fmla="*/ 0 w 480"/>
                  <a:gd name="T29" fmla="*/ 0 h 150"/>
                  <a:gd name="T30" fmla="*/ 0 w 480"/>
                  <a:gd name="T31" fmla="*/ 60 h 150"/>
                  <a:gd name="T32" fmla="*/ 6 w 480"/>
                  <a:gd name="T33" fmla="*/ 70 h 150"/>
                  <a:gd name="T34" fmla="*/ 28 w 480"/>
                  <a:gd name="T35" fmla="*/ 92 h 150"/>
                  <a:gd name="T36" fmla="*/ 42 w 480"/>
                  <a:gd name="T37" fmla="*/ 104 h 150"/>
                  <a:gd name="T38" fmla="*/ 86 w 480"/>
                  <a:gd name="T39" fmla="*/ 124 h 150"/>
                  <a:gd name="T40" fmla="*/ 108 w 480"/>
                  <a:gd name="T41" fmla="*/ 132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60 h 150"/>
                  <a:gd name="T66" fmla="*/ 480 w 480"/>
                  <a:gd name="T67" fmla="*/ 0 h 150"/>
                  <a:gd name="T68" fmla="*/ 474 w 480"/>
                  <a:gd name="T69" fmla="*/ 14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6"/>
                    </a:lnTo>
                    <a:lnTo>
                      <a:pt x="6" y="14"/>
                    </a:lnTo>
                    <a:lnTo>
                      <a:pt x="0" y="0"/>
                    </a:lnTo>
                    <a:lnTo>
                      <a:pt x="0" y="0"/>
                    </a:lnTo>
                    <a:lnTo>
                      <a:pt x="0" y="60"/>
                    </a:lnTo>
                    <a:lnTo>
                      <a:pt x="0" y="60"/>
                    </a:lnTo>
                    <a:lnTo>
                      <a:pt x="6" y="70"/>
                    </a:lnTo>
                    <a:lnTo>
                      <a:pt x="16" y="82"/>
                    </a:lnTo>
                    <a:lnTo>
                      <a:pt x="28" y="92"/>
                    </a:lnTo>
                    <a:lnTo>
                      <a:pt x="42" y="104"/>
                    </a:lnTo>
                    <a:lnTo>
                      <a:pt x="42" y="104"/>
                    </a:lnTo>
                    <a:lnTo>
                      <a:pt x="64" y="114"/>
                    </a:lnTo>
                    <a:lnTo>
                      <a:pt x="86" y="124"/>
                    </a:lnTo>
                    <a:lnTo>
                      <a:pt x="86" y="124"/>
                    </a:lnTo>
                    <a:lnTo>
                      <a:pt x="108" y="132"/>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4"/>
                    </a:lnTo>
                    <a:lnTo>
                      <a:pt x="464" y="82"/>
                    </a:lnTo>
                    <a:lnTo>
                      <a:pt x="474" y="72"/>
                    </a:lnTo>
                    <a:lnTo>
                      <a:pt x="480" y="60"/>
                    </a:lnTo>
                    <a:lnTo>
                      <a:pt x="480" y="60"/>
                    </a:lnTo>
                    <a:lnTo>
                      <a:pt x="480" y="0"/>
                    </a:lnTo>
                    <a:lnTo>
                      <a:pt x="480" y="0"/>
                    </a:lnTo>
                    <a:lnTo>
                      <a:pt x="474" y="14"/>
                    </a:lnTo>
                    <a:lnTo>
                      <a:pt x="464" y="26"/>
                    </a:lnTo>
                    <a:lnTo>
                      <a:pt x="452" y="36"/>
                    </a:lnTo>
                    <a:lnTo>
                      <a:pt x="436" y="48"/>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7" name="Freeform 37"/>
              <p:cNvSpPr/>
              <p:nvPr/>
            </p:nvSpPr>
            <p:spPr bwMode="auto">
              <a:xfrm>
                <a:off x="7695494" y="2992359"/>
                <a:ext cx="797203" cy="222895"/>
              </a:xfrm>
              <a:custGeom>
                <a:avLst/>
                <a:gdLst>
                  <a:gd name="T0" fmla="*/ 436 w 480"/>
                  <a:gd name="T1" fmla="*/ 48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6 h 150"/>
                  <a:gd name="T28" fmla="*/ 0 w 480"/>
                  <a:gd name="T29" fmla="*/ 0 h 150"/>
                  <a:gd name="T30" fmla="*/ 0 w 480"/>
                  <a:gd name="T31" fmla="*/ 60 h 150"/>
                  <a:gd name="T32" fmla="*/ 6 w 480"/>
                  <a:gd name="T33" fmla="*/ 70 h 150"/>
                  <a:gd name="T34" fmla="*/ 28 w 480"/>
                  <a:gd name="T35" fmla="*/ 92 h 150"/>
                  <a:gd name="T36" fmla="*/ 42 w 480"/>
                  <a:gd name="T37" fmla="*/ 104 h 150"/>
                  <a:gd name="T38" fmla="*/ 86 w 480"/>
                  <a:gd name="T39" fmla="*/ 124 h 150"/>
                  <a:gd name="T40" fmla="*/ 108 w 480"/>
                  <a:gd name="T41" fmla="*/ 132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60 h 150"/>
                  <a:gd name="T66" fmla="*/ 480 w 480"/>
                  <a:gd name="T67" fmla="*/ 0 h 150"/>
                  <a:gd name="T68" fmla="*/ 474 w 480"/>
                  <a:gd name="T69" fmla="*/ 14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6"/>
                    </a:lnTo>
                    <a:lnTo>
                      <a:pt x="6" y="14"/>
                    </a:lnTo>
                    <a:lnTo>
                      <a:pt x="0" y="0"/>
                    </a:lnTo>
                    <a:lnTo>
                      <a:pt x="0" y="0"/>
                    </a:lnTo>
                    <a:lnTo>
                      <a:pt x="0" y="60"/>
                    </a:lnTo>
                    <a:lnTo>
                      <a:pt x="0" y="60"/>
                    </a:lnTo>
                    <a:lnTo>
                      <a:pt x="6" y="70"/>
                    </a:lnTo>
                    <a:lnTo>
                      <a:pt x="16" y="82"/>
                    </a:lnTo>
                    <a:lnTo>
                      <a:pt x="28" y="92"/>
                    </a:lnTo>
                    <a:lnTo>
                      <a:pt x="42" y="104"/>
                    </a:lnTo>
                    <a:lnTo>
                      <a:pt x="42" y="104"/>
                    </a:lnTo>
                    <a:lnTo>
                      <a:pt x="64" y="114"/>
                    </a:lnTo>
                    <a:lnTo>
                      <a:pt x="86" y="124"/>
                    </a:lnTo>
                    <a:lnTo>
                      <a:pt x="86" y="124"/>
                    </a:lnTo>
                    <a:lnTo>
                      <a:pt x="108" y="132"/>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4"/>
                    </a:lnTo>
                    <a:lnTo>
                      <a:pt x="464" y="82"/>
                    </a:lnTo>
                    <a:lnTo>
                      <a:pt x="474" y="72"/>
                    </a:lnTo>
                    <a:lnTo>
                      <a:pt x="480" y="60"/>
                    </a:lnTo>
                    <a:lnTo>
                      <a:pt x="480" y="60"/>
                    </a:lnTo>
                    <a:lnTo>
                      <a:pt x="480" y="0"/>
                    </a:lnTo>
                    <a:lnTo>
                      <a:pt x="480" y="0"/>
                    </a:lnTo>
                    <a:lnTo>
                      <a:pt x="474" y="14"/>
                    </a:lnTo>
                    <a:lnTo>
                      <a:pt x="464" y="26"/>
                    </a:lnTo>
                    <a:lnTo>
                      <a:pt x="452" y="36"/>
                    </a:lnTo>
                    <a:lnTo>
                      <a:pt x="436"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8" name="Freeform 38"/>
              <p:cNvSpPr/>
              <p:nvPr/>
            </p:nvSpPr>
            <p:spPr bwMode="auto">
              <a:xfrm>
                <a:off x="7695494" y="2739744"/>
                <a:ext cx="797203" cy="326913"/>
              </a:xfrm>
              <a:custGeom>
                <a:avLst/>
                <a:gdLst>
                  <a:gd name="T0" fmla="*/ 240 w 480"/>
                  <a:gd name="T1" fmla="*/ 0 h 220"/>
                  <a:gd name="T2" fmla="*/ 240 w 480"/>
                  <a:gd name="T3" fmla="*/ 0 h 220"/>
                  <a:gd name="T4" fmla="*/ 192 w 480"/>
                  <a:gd name="T5" fmla="*/ 4 h 220"/>
                  <a:gd name="T6" fmla="*/ 146 w 480"/>
                  <a:gd name="T7" fmla="*/ 10 h 220"/>
                  <a:gd name="T8" fmla="*/ 106 w 480"/>
                  <a:gd name="T9" fmla="*/ 20 h 220"/>
                  <a:gd name="T10" fmla="*/ 88 w 480"/>
                  <a:gd name="T11" fmla="*/ 26 h 220"/>
                  <a:gd name="T12" fmla="*/ 70 w 480"/>
                  <a:gd name="T13" fmla="*/ 34 h 220"/>
                  <a:gd name="T14" fmla="*/ 54 w 480"/>
                  <a:gd name="T15" fmla="*/ 40 h 220"/>
                  <a:gd name="T16" fmla="*/ 42 w 480"/>
                  <a:gd name="T17" fmla="*/ 50 h 220"/>
                  <a:gd name="T18" fmla="*/ 30 w 480"/>
                  <a:gd name="T19" fmla="*/ 58 h 220"/>
                  <a:gd name="T20" fmla="*/ 20 w 480"/>
                  <a:gd name="T21" fmla="*/ 68 h 220"/>
                  <a:gd name="T22" fmla="*/ 10 w 480"/>
                  <a:gd name="T23" fmla="*/ 78 h 220"/>
                  <a:gd name="T24" fmla="*/ 6 w 480"/>
                  <a:gd name="T25" fmla="*/ 88 h 220"/>
                  <a:gd name="T26" fmla="*/ 2 w 480"/>
                  <a:gd name="T27" fmla="*/ 100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0 h 220"/>
                  <a:gd name="T52" fmla="*/ 146 w 480"/>
                  <a:gd name="T53" fmla="*/ 212 h 220"/>
                  <a:gd name="T54" fmla="*/ 192 w 480"/>
                  <a:gd name="T55" fmla="*/ 218 h 220"/>
                  <a:gd name="T56" fmla="*/ 240 w 480"/>
                  <a:gd name="T57" fmla="*/ 220 h 220"/>
                  <a:gd name="T58" fmla="*/ 240 w 480"/>
                  <a:gd name="T59" fmla="*/ 220 h 220"/>
                  <a:gd name="T60" fmla="*/ 288 w 480"/>
                  <a:gd name="T61" fmla="*/ 218 h 220"/>
                  <a:gd name="T62" fmla="*/ 334 w 480"/>
                  <a:gd name="T63" fmla="*/ 212 h 220"/>
                  <a:gd name="T64" fmla="*/ 374 w 480"/>
                  <a:gd name="T65" fmla="*/ 200 h 220"/>
                  <a:gd name="T66" fmla="*/ 392 w 480"/>
                  <a:gd name="T67" fmla="*/ 194 h 220"/>
                  <a:gd name="T68" fmla="*/ 410 w 480"/>
                  <a:gd name="T69" fmla="*/ 188 h 220"/>
                  <a:gd name="T70" fmla="*/ 426 w 480"/>
                  <a:gd name="T71" fmla="*/ 180 h 220"/>
                  <a:gd name="T72" fmla="*/ 440 w 480"/>
                  <a:gd name="T73" fmla="*/ 172 h 220"/>
                  <a:gd name="T74" fmla="*/ 452 w 480"/>
                  <a:gd name="T75" fmla="*/ 162 h 220"/>
                  <a:gd name="T76" fmla="*/ 462 w 480"/>
                  <a:gd name="T77" fmla="*/ 152 h 220"/>
                  <a:gd name="T78" fmla="*/ 470 w 480"/>
                  <a:gd name="T79" fmla="*/ 142 h 220"/>
                  <a:gd name="T80" fmla="*/ 476 w 480"/>
                  <a:gd name="T81" fmla="*/ 132 h 220"/>
                  <a:gd name="T82" fmla="*/ 478 w 480"/>
                  <a:gd name="T83" fmla="*/ 122 h 220"/>
                  <a:gd name="T84" fmla="*/ 480 w 480"/>
                  <a:gd name="T85" fmla="*/ 110 h 220"/>
                  <a:gd name="T86" fmla="*/ 480 w 480"/>
                  <a:gd name="T87" fmla="*/ 110 h 220"/>
                  <a:gd name="T88" fmla="*/ 478 w 480"/>
                  <a:gd name="T89" fmla="*/ 100 h 220"/>
                  <a:gd name="T90" fmla="*/ 476 w 480"/>
                  <a:gd name="T91" fmla="*/ 88 h 220"/>
                  <a:gd name="T92" fmla="*/ 470 w 480"/>
                  <a:gd name="T93" fmla="*/ 78 h 220"/>
                  <a:gd name="T94" fmla="*/ 462 w 480"/>
                  <a:gd name="T95" fmla="*/ 68 h 220"/>
                  <a:gd name="T96" fmla="*/ 452 w 480"/>
                  <a:gd name="T97" fmla="*/ 58 h 220"/>
                  <a:gd name="T98" fmla="*/ 440 w 480"/>
                  <a:gd name="T99" fmla="*/ 50 h 220"/>
                  <a:gd name="T100" fmla="*/ 426 w 480"/>
                  <a:gd name="T101" fmla="*/ 40 h 220"/>
                  <a:gd name="T102" fmla="*/ 410 w 480"/>
                  <a:gd name="T103" fmla="*/ 34 h 220"/>
                  <a:gd name="T104" fmla="*/ 392 w 480"/>
                  <a:gd name="T105" fmla="*/ 26 h 220"/>
                  <a:gd name="T106" fmla="*/ 374 w 480"/>
                  <a:gd name="T107" fmla="*/ 20 h 220"/>
                  <a:gd name="T108" fmla="*/ 334 w 480"/>
                  <a:gd name="T109" fmla="*/ 10 h 220"/>
                  <a:gd name="T110" fmla="*/ 288 w 480"/>
                  <a:gd name="T111" fmla="*/ 4 h 220"/>
                  <a:gd name="T112" fmla="*/ 240 w 480"/>
                  <a:gd name="T113" fmla="*/ 0 h 220"/>
                  <a:gd name="T114" fmla="*/ 240 w 480"/>
                  <a:gd name="T115"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0" h="220">
                    <a:moveTo>
                      <a:pt x="240" y="0"/>
                    </a:moveTo>
                    <a:lnTo>
                      <a:pt x="240" y="0"/>
                    </a:lnTo>
                    <a:lnTo>
                      <a:pt x="192" y="4"/>
                    </a:lnTo>
                    <a:lnTo>
                      <a:pt x="146" y="10"/>
                    </a:lnTo>
                    <a:lnTo>
                      <a:pt x="106" y="20"/>
                    </a:lnTo>
                    <a:lnTo>
                      <a:pt x="88" y="26"/>
                    </a:lnTo>
                    <a:lnTo>
                      <a:pt x="70" y="34"/>
                    </a:lnTo>
                    <a:lnTo>
                      <a:pt x="54" y="40"/>
                    </a:lnTo>
                    <a:lnTo>
                      <a:pt x="42" y="50"/>
                    </a:lnTo>
                    <a:lnTo>
                      <a:pt x="30" y="58"/>
                    </a:lnTo>
                    <a:lnTo>
                      <a:pt x="20" y="68"/>
                    </a:lnTo>
                    <a:lnTo>
                      <a:pt x="10" y="78"/>
                    </a:lnTo>
                    <a:lnTo>
                      <a:pt x="6" y="88"/>
                    </a:lnTo>
                    <a:lnTo>
                      <a:pt x="2" y="100"/>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0"/>
                    </a:lnTo>
                    <a:lnTo>
                      <a:pt x="146" y="212"/>
                    </a:lnTo>
                    <a:lnTo>
                      <a:pt x="192" y="218"/>
                    </a:lnTo>
                    <a:lnTo>
                      <a:pt x="240" y="220"/>
                    </a:lnTo>
                    <a:lnTo>
                      <a:pt x="240" y="220"/>
                    </a:lnTo>
                    <a:lnTo>
                      <a:pt x="288" y="218"/>
                    </a:lnTo>
                    <a:lnTo>
                      <a:pt x="334" y="212"/>
                    </a:lnTo>
                    <a:lnTo>
                      <a:pt x="374" y="200"/>
                    </a:lnTo>
                    <a:lnTo>
                      <a:pt x="392" y="194"/>
                    </a:lnTo>
                    <a:lnTo>
                      <a:pt x="410" y="188"/>
                    </a:lnTo>
                    <a:lnTo>
                      <a:pt x="426" y="180"/>
                    </a:lnTo>
                    <a:lnTo>
                      <a:pt x="440" y="172"/>
                    </a:lnTo>
                    <a:lnTo>
                      <a:pt x="452" y="162"/>
                    </a:lnTo>
                    <a:lnTo>
                      <a:pt x="462" y="152"/>
                    </a:lnTo>
                    <a:lnTo>
                      <a:pt x="470" y="142"/>
                    </a:lnTo>
                    <a:lnTo>
                      <a:pt x="476" y="132"/>
                    </a:lnTo>
                    <a:lnTo>
                      <a:pt x="478" y="122"/>
                    </a:lnTo>
                    <a:lnTo>
                      <a:pt x="480" y="110"/>
                    </a:lnTo>
                    <a:lnTo>
                      <a:pt x="480" y="110"/>
                    </a:lnTo>
                    <a:lnTo>
                      <a:pt x="478" y="100"/>
                    </a:lnTo>
                    <a:lnTo>
                      <a:pt x="476" y="88"/>
                    </a:lnTo>
                    <a:lnTo>
                      <a:pt x="470" y="78"/>
                    </a:lnTo>
                    <a:lnTo>
                      <a:pt x="462" y="68"/>
                    </a:lnTo>
                    <a:lnTo>
                      <a:pt x="452" y="58"/>
                    </a:lnTo>
                    <a:lnTo>
                      <a:pt x="440" y="50"/>
                    </a:lnTo>
                    <a:lnTo>
                      <a:pt x="426" y="40"/>
                    </a:lnTo>
                    <a:lnTo>
                      <a:pt x="410" y="34"/>
                    </a:lnTo>
                    <a:lnTo>
                      <a:pt x="392" y="26"/>
                    </a:lnTo>
                    <a:lnTo>
                      <a:pt x="374" y="20"/>
                    </a:lnTo>
                    <a:lnTo>
                      <a:pt x="334" y="10"/>
                    </a:lnTo>
                    <a:lnTo>
                      <a:pt x="288" y="4"/>
                    </a:lnTo>
                    <a:lnTo>
                      <a:pt x="240" y="0"/>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79" name="Freeform 39"/>
              <p:cNvSpPr/>
              <p:nvPr/>
            </p:nvSpPr>
            <p:spPr bwMode="auto">
              <a:xfrm>
                <a:off x="7761927" y="2769464"/>
                <a:ext cx="664336" cy="240727"/>
              </a:xfrm>
              <a:custGeom>
                <a:avLst/>
                <a:gdLst>
                  <a:gd name="T0" fmla="*/ 200 w 400"/>
                  <a:gd name="T1" fmla="*/ 0 h 162"/>
                  <a:gd name="T2" fmla="*/ 200 w 400"/>
                  <a:gd name="T3" fmla="*/ 0 h 162"/>
                  <a:gd name="T4" fmla="*/ 160 w 400"/>
                  <a:gd name="T5" fmla="*/ 0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48 h 162"/>
                  <a:gd name="T18" fmla="*/ 10 w 400"/>
                  <a:gd name="T19" fmla="*/ 56 h 162"/>
                  <a:gd name="T20" fmla="*/ 4 w 400"/>
                  <a:gd name="T21" fmla="*/ 64 h 162"/>
                  <a:gd name="T22" fmla="*/ 2 w 400"/>
                  <a:gd name="T23" fmla="*/ 72 h 162"/>
                  <a:gd name="T24" fmla="*/ 0 w 400"/>
                  <a:gd name="T25" fmla="*/ 80 h 162"/>
                  <a:gd name="T26" fmla="*/ 0 w 400"/>
                  <a:gd name="T27" fmla="*/ 80 h 162"/>
                  <a:gd name="T28" fmla="*/ 2 w 400"/>
                  <a:gd name="T29" fmla="*/ 88 h 162"/>
                  <a:gd name="T30" fmla="*/ 4 w 400"/>
                  <a:gd name="T31" fmla="*/ 96 h 162"/>
                  <a:gd name="T32" fmla="*/ 10 w 400"/>
                  <a:gd name="T33" fmla="*/ 104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0 h 162"/>
                  <a:gd name="T48" fmla="*/ 200 w 400"/>
                  <a:gd name="T49" fmla="*/ 162 h 162"/>
                  <a:gd name="T50" fmla="*/ 200 w 400"/>
                  <a:gd name="T51" fmla="*/ 162 h 162"/>
                  <a:gd name="T52" fmla="*/ 240 w 400"/>
                  <a:gd name="T53" fmla="*/ 160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4 h 162"/>
                  <a:gd name="T68" fmla="*/ 396 w 400"/>
                  <a:gd name="T69" fmla="*/ 96 h 162"/>
                  <a:gd name="T70" fmla="*/ 400 w 400"/>
                  <a:gd name="T71" fmla="*/ 88 h 162"/>
                  <a:gd name="T72" fmla="*/ 400 w 400"/>
                  <a:gd name="T73" fmla="*/ 80 h 162"/>
                  <a:gd name="T74" fmla="*/ 400 w 400"/>
                  <a:gd name="T75" fmla="*/ 80 h 162"/>
                  <a:gd name="T76" fmla="*/ 400 w 400"/>
                  <a:gd name="T77" fmla="*/ 72 h 162"/>
                  <a:gd name="T78" fmla="*/ 396 w 400"/>
                  <a:gd name="T79" fmla="*/ 64 h 162"/>
                  <a:gd name="T80" fmla="*/ 392 w 400"/>
                  <a:gd name="T81" fmla="*/ 56 h 162"/>
                  <a:gd name="T82" fmla="*/ 384 w 400"/>
                  <a:gd name="T83" fmla="*/ 48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0 h 162"/>
                  <a:gd name="T96" fmla="*/ 200 w 400"/>
                  <a:gd name="T97" fmla="*/ 0 h 162"/>
                  <a:gd name="T98" fmla="*/ 200 w 400"/>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162">
                    <a:moveTo>
                      <a:pt x="200" y="0"/>
                    </a:moveTo>
                    <a:lnTo>
                      <a:pt x="200" y="0"/>
                    </a:lnTo>
                    <a:lnTo>
                      <a:pt x="160" y="0"/>
                    </a:lnTo>
                    <a:lnTo>
                      <a:pt x="122" y="6"/>
                    </a:lnTo>
                    <a:lnTo>
                      <a:pt x="88" y="14"/>
                    </a:lnTo>
                    <a:lnTo>
                      <a:pt x="58" y="24"/>
                    </a:lnTo>
                    <a:lnTo>
                      <a:pt x="34" y="36"/>
                    </a:lnTo>
                    <a:lnTo>
                      <a:pt x="24" y="42"/>
                    </a:lnTo>
                    <a:lnTo>
                      <a:pt x="16" y="48"/>
                    </a:lnTo>
                    <a:lnTo>
                      <a:pt x="10" y="56"/>
                    </a:lnTo>
                    <a:lnTo>
                      <a:pt x="4" y="64"/>
                    </a:lnTo>
                    <a:lnTo>
                      <a:pt x="2" y="72"/>
                    </a:lnTo>
                    <a:lnTo>
                      <a:pt x="0" y="80"/>
                    </a:lnTo>
                    <a:lnTo>
                      <a:pt x="0" y="80"/>
                    </a:lnTo>
                    <a:lnTo>
                      <a:pt x="2" y="88"/>
                    </a:lnTo>
                    <a:lnTo>
                      <a:pt x="4" y="96"/>
                    </a:lnTo>
                    <a:lnTo>
                      <a:pt x="10" y="104"/>
                    </a:lnTo>
                    <a:lnTo>
                      <a:pt x="16" y="112"/>
                    </a:lnTo>
                    <a:lnTo>
                      <a:pt x="24" y="120"/>
                    </a:lnTo>
                    <a:lnTo>
                      <a:pt x="34" y="126"/>
                    </a:lnTo>
                    <a:lnTo>
                      <a:pt x="58" y="138"/>
                    </a:lnTo>
                    <a:lnTo>
                      <a:pt x="88" y="148"/>
                    </a:lnTo>
                    <a:lnTo>
                      <a:pt x="122" y="156"/>
                    </a:lnTo>
                    <a:lnTo>
                      <a:pt x="160" y="160"/>
                    </a:lnTo>
                    <a:lnTo>
                      <a:pt x="200" y="162"/>
                    </a:lnTo>
                    <a:lnTo>
                      <a:pt x="200" y="162"/>
                    </a:lnTo>
                    <a:lnTo>
                      <a:pt x="240" y="160"/>
                    </a:lnTo>
                    <a:lnTo>
                      <a:pt x="278" y="156"/>
                    </a:lnTo>
                    <a:lnTo>
                      <a:pt x="312" y="148"/>
                    </a:lnTo>
                    <a:lnTo>
                      <a:pt x="342" y="138"/>
                    </a:lnTo>
                    <a:lnTo>
                      <a:pt x="366" y="126"/>
                    </a:lnTo>
                    <a:lnTo>
                      <a:pt x="376" y="120"/>
                    </a:lnTo>
                    <a:lnTo>
                      <a:pt x="384" y="112"/>
                    </a:lnTo>
                    <a:lnTo>
                      <a:pt x="392" y="104"/>
                    </a:lnTo>
                    <a:lnTo>
                      <a:pt x="396" y="96"/>
                    </a:lnTo>
                    <a:lnTo>
                      <a:pt x="400" y="88"/>
                    </a:lnTo>
                    <a:lnTo>
                      <a:pt x="400" y="80"/>
                    </a:lnTo>
                    <a:lnTo>
                      <a:pt x="400" y="80"/>
                    </a:lnTo>
                    <a:lnTo>
                      <a:pt x="400" y="72"/>
                    </a:lnTo>
                    <a:lnTo>
                      <a:pt x="396" y="64"/>
                    </a:lnTo>
                    <a:lnTo>
                      <a:pt x="392" y="56"/>
                    </a:lnTo>
                    <a:lnTo>
                      <a:pt x="384" y="48"/>
                    </a:lnTo>
                    <a:lnTo>
                      <a:pt x="376" y="42"/>
                    </a:lnTo>
                    <a:lnTo>
                      <a:pt x="366" y="36"/>
                    </a:lnTo>
                    <a:lnTo>
                      <a:pt x="342" y="24"/>
                    </a:lnTo>
                    <a:lnTo>
                      <a:pt x="312" y="14"/>
                    </a:lnTo>
                    <a:lnTo>
                      <a:pt x="278" y="6"/>
                    </a:lnTo>
                    <a:lnTo>
                      <a:pt x="240" y="0"/>
                    </a:lnTo>
                    <a:lnTo>
                      <a:pt x="20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0" name="Freeform 40"/>
              <p:cNvSpPr>
                <a:spLocks noEditPoints="1"/>
              </p:cNvSpPr>
              <p:nvPr/>
            </p:nvSpPr>
            <p:spPr bwMode="auto">
              <a:xfrm>
                <a:off x="7758606" y="2766492"/>
                <a:ext cx="670979" cy="246670"/>
              </a:xfrm>
              <a:custGeom>
                <a:avLst/>
                <a:gdLst>
                  <a:gd name="T0" fmla="*/ 212 w 404"/>
                  <a:gd name="T1" fmla="*/ 162 h 166"/>
                  <a:gd name="T2" fmla="*/ 192 w 404"/>
                  <a:gd name="T3" fmla="*/ 166 h 166"/>
                  <a:gd name="T4" fmla="*/ 222 w 404"/>
                  <a:gd name="T5" fmla="*/ 166 h 166"/>
                  <a:gd name="T6" fmla="*/ 222 w 404"/>
                  <a:gd name="T7" fmla="*/ 166 h 166"/>
                  <a:gd name="T8" fmla="*/ 164 w 404"/>
                  <a:gd name="T9" fmla="*/ 160 h 166"/>
                  <a:gd name="T10" fmla="*/ 250 w 404"/>
                  <a:gd name="T11" fmla="*/ 160 h 166"/>
                  <a:gd name="T12" fmla="*/ 154 w 404"/>
                  <a:gd name="T13" fmla="*/ 164 h 166"/>
                  <a:gd name="T14" fmla="*/ 260 w 404"/>
                  <a:gd name="T15" fmla="*/ 162 h 166"/>
                  <a:gd name="T16" fmla="*/ 260 w 404"/>
                  <a:gd name="T17" fmla="*/ 162 h 166"/>
                  <a:gd name="T18" fmla="*/ 126 w 404"/>
                  <a:gd name="T19" fmla="*/ 156 h 166"/>
                  <a:gd name="T20" fmla="*/ 288 w 404"/>
                  <a:gd name="T21" fmla="*/ 154 h 166"/>
                  <a:gd name="T22" fmla="*/ 116 w 404"/>
                  <a:gd name="T23" fmla="*/ 158 h 166"/>
                  <a:gd name="T24" fmla="*/ 298 w 404"/>
                  <a:gd name="T25" fmla="*/ 156 h 166"/>
                  <a:gd name="T26" fmla="*/ 298 w 404"/>
                  <a:gd name="T27" fmla="*/ 156 h 166"/>
                  <a:gd name="T28" fmla="*/ 88 w 404"/>
                  <a:gd name="T29" fmla="*/ 148 h 166"/>
                  <a:gd name="T30" fmla="*/ 324 w 404"/>
                  <a:gd name="T31" fmla="*/ 146 h 166"/>
                  <a:gd name="T32" fmla="*/ 78 w 404"/>
                  <a:gd name="T33" fmla="*/ 148 h 166"/>
                  <a:gd name="T34" fmla="*/ 334 w 404"/>
                  <a:gd name="T35" fmla="*/ 146 h 166"/>
                  <a:gd name="T36" fmla="*/ 334 w 404"/>
                  <a:gd name="T37" fmla="*/ 146 h 166"/>
                  <a:gd name="T38" fmla="*/ 52 w 404"/>
                  <a:gd name="T39" fmla="*/ 134 h 166"/>
                  <a:gd name="T40" fmla="*/ 360 w 404"/>
                  <a:gd name="T41" fmla="*/ 130 h 166"/>
                  <a:gd name="T42" fmla="*/ 42 w 404"/>
                  <a:gd name="T43" fmla="*/ 134 h 166"/>
                  <a:gd name="T44" fmla="*/ 370 w 404"/>
                  <a:gd name="T45" fmla="*/ 128 h 166"/>
                  <a:gd name="T46" fmla="*/ 370 w 404"/>
                  <a:gd name="T47" fmla="*/ 128 h 166"/>
                  <a:gd name="T48" fmla="*/ 20 w 404"/>
                  <a:gd name="T49" fmla="*/ 114 h 166"/>
                  <a:gd name="T50" fmla="*/ 390 w 404"/>
                  <a:gd name="T51" fmla="*/ 108 h 166"/>
                  <a:gd name="T52" fmla="*/ 12 w 404"/>
                  <a:gd name="T53" fmla="*/ 110 h 166"/>
                  <a:gd name="T54" fmla="*/ 398 w 404"/>
                  <a:gd name="T55" fmla="*/ 102 h 166"/>
                  <a:gd name="T56" fmla="*/ 398 w 404"/>
                  <a:gd name="T57" fmla="*/ 102 h 166"/>
                  <a:gd name="T58" fmla="*/ 4 w 404"/>
                  <a:gd name="T59" fmla="*/ 82 h 166"/>
                  <a:gd name="T60" fmla="*/ 402 w 404"/>
                  <a:gd name="T61" fmla="*/ 82 h 166"/>
                  <a:gd name="T62" fmla="*/ 404 w 404"/>
                  <a:gd name="T63" fmla="*/ 82 h 166"/>
                  <a:gd name="T64" fmla="*/ 8 w 404"/>
                  <a:gd name="T65" fmla="*/ 64 h 166"/>
                  <a:gd name="T66" fmla="*/ 390 w 404"/>
                  <a:gd name="T67" fmla="*/ 58 h 166"/>
                  <a:gd name="T68" fmla="*/ 12 w 404"/>
                  <a:gd name="T69" fmla="*/ 56 h 166"/>
                  <a:gd name="T70" fmla="*/ 14 w 404"/>
                  <a:gd name="T71" fmla="*/ 58 h 166"/>
                  <a:gd name="T72" fmla="*/ 386 w 404"/>
                  <a:gd name="T73" fmla="*/ 48 h 166"/>
                  <a:gd name="T74" fmla="*/ 36 w 404"/>
                  <a:gd name="T75" fmla="*/ 40 h 166"/>
                  <a:gd name="T76" fmla="*/ 360 w 404"/>
                  <a:gd name="T77" fmla="*/ 34 h 166"/>
                  <a:gd name="T78" fmla="*/ 42 w 404"/>
                  <a:gd name="T79" fmla="*/ 32 h 166"/>
                  <a:gd name="T80" fmla="*/ 44 w 404"/>
                  <a:gd name="T81" fmla="*/ 34 h 166"/>
                  <a:gd name="T82" fmla="*/ 354 w 404"/>
                  <a:gd name="T83" fmla="*/ 28 h 166"/>
                  <a:gd name="T84" fmla="*/ 70 w 404"/>
                  <a:gd name="T85" fmla="*/ 24 h 166"/>
                  <a:gd name="T86" fmla="*/ 326 w 404"/>
                  <a:gd name="T87" fmla="*/ 20 h 166"/>
                  <a:gd name="T88" fmla="*/ 78 w 404"/>
                  <a:gd name="T89" fmla="*/ 16 h 166"/>
                  <a:gd name="T90" fmla="*/ 80 w 404"/>
                  <a:gd name="T91" fmla="*/ 20 h 166"/>
                  <a:gd name="T92" fmla="*/ 318 w 404"/>
                  <a:gd name="T93" fmla="*/ 14 h 166"/>
                  <a:gd name="T94" fmla="*/ 106 w 404"/>
                  <a:gd name="T95" fmla="*/ 12 h 166"/>
                  <a:gd name="T96" fmla="*/ 288 w 404"/>
                  <a:gd name="T97" fmla="*/ 10 h 166"/>
                  <a:gd name="T98" fmla="*/ 116 w 404"/>
                  <a:gd name="T99" fmla="*/ 8 h 166"/>
                  <a:gd name="T100" fmla="*/ 116 w 404"/>
                  <a:gd name="T101" fmla="*/ 10 h 166"/>
                  <a:gd name="T102" fmla="*/ 280 w 404"/>
                  <a:gd name="T103" fmla="*/ 6 h 166"/>
                  <a:gd name="T104" fmla="*/ 144 w 404"/>
                  <a:gd name="T105" fmla="*/ 6 h 166"/>
                  <a:gd name="T106" fmla="*/ 250 w 404"/>
                  <a:gd name="T107" fmla="*/ 6 h 166"/>
                  <a:gd name="T108" fmla="*/ 154 w 404"/>
                  <a:gd name="T109" fmla="*/ 2 h 166"/>
                  <a:gd name="T110" fmla="*/ 154 w 404"/>
                  <a:gd name="T111" fmla="*/ 6 h 166"/>
                  <a:gd name="T112" fmla="*/ 242 w 404"/>
                  <a:gd name="T113" fmla="*/ 2 h 166"/>
                  <a:gd name="T114" fmla="*/ 182 w 404"/>
                  <a:gd name="T115" fmla="*/ 4 h 166"/>
                  <a:gd name="T116" fmla="*/ 212 w 404"/>
                  <a:gd name="T117" fmla="*/ 2 h 166"/>
                  <a:gd name="T118" fmla="*/ 192 w 404"/>
                  <a:gd name="T119" fmla="*/ 0 h 166"/>
                  <a:gd name="T120" fmla="*/ 202 w 404"/>
                  <a:gd name="T121"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4" h="166">
                    <a:moveTo>
                      <a:pt x="202" y="166"/>
                    </a:moveTo>
                    <a:lnTo>
                      <a:pt x="202" y="164"/>
                    </a:lnTo>
                    <a:lnTo>
                      <a:pt x="202" y="162"/>
                    </a:lnTo>
                    <a:lnTo>
                      <a:pt x="202" y="162"/>
                    </a:lnTo>
                    <a:lnTo>
                      <a:pt x="202" y="162"/>
                    </a:lnTo>
                    <a:lnTo>
                      <a:pt x="212" y="162"/>
                    </a:lnTo>
                    <a:lnTo>
                      <a:pt x="212" y="166"/>
                    </a:lnTo>
                    <a:lnTo>
                      <a:pt x="212" y="166"/>
                    </a:lnTo>
                    <a:lnTo>
                      <a:pt x="202" y="166"/>
                    </a:lnTo>
                    <a:lnTo>
                      <a:pt x="202" y="166"/>
                    </a:lnTo>
                    <a:close/>
                    <a:moveTo>
                      <a:pt x="192" y="166"/>
                    </a:moveTo>
                    <a:lnTo>
                      <a:pt x="192" y="166"/>
                    </a:lnTo>
                    <a:lnTo>
                      <a:pt x="182" y="166"/>
                    </a:lnTo>
                    <a:lnTo>
                      <a:pt x="182" y="162"/>
                    </a:lnTo>
                    <a:lnTo>
                      <a:pt x="182" y="162"/>
                    </a:lnTo>
                    <a:lnTo>
                      <a:pt x="192" y="162"/>
                    </a:lnTo>
                    <a:lnTo>
                      <a:pt x="192" y="166"/>
                    </a:lnTo>
                    <a:close/>
                    <a:moveTo>
                      <a:pt x="222" y="166"/>
                    </a:moveTo>
                    <a:lnTo>
                      <a:pt x="222" y="162"/>
                    </a:lnTo>
                    <a:lnTo>
                      <a:pt x="222" y="162"/>
                    </a:lnTo>
                    <a:lnTo>
                      <a:pt x="230" y="162"/>
                    </a:lnTo>
                    <a:lnTo>
                      <a:pt x="230" y="164"/>
                    </a:lnTo>
                    <a:lnTo>
                      <a:pt x="230" y="164"/>
                    </a:lnTo>
                    <a:lnTo>
                      <a:pt x="222" y="166"/>
                    </a:lnTo>
                    <a:lnTo>
                      <a:pt x="222" y="166"/>
                    </a:lnTo>
                    <a:close/>
                    <a:moveTo>
                      <a:pt x="172" y="164"/>
                    </a:moveTo>
                    <a:lnTo>
                      <a:pt x="172" y="164"/>
                    </a:lnTo>
                    <a:lnTo>
                      <a:pt x="164" y="164"/>
                    </a:lnTo>
                    <a:lnTo>
                      <a:pt x="164" y="160"/>
                    </a:lnTo>
                    <a:lnTo>
                      <a:pt x="164" y="160"/>
                    </a:lnTo>
                    <a:lnTo>
                      <a:pt x="174" y="162"/>
                    </a:lnTo>
                    <a:lnTo>
                      <a:pt x="172" y="164"/>
                    </a:lnTo>
                    <a:close/>
                    <a:moveTo>
                      <a:pt x="240" y="164"/>
                    </a:moveTo>
                    <a:lnTo>
                      <a:pt x="240" y="160"/>
                    </a:lnTo>
                    <a:lnTo>
                      <a:pt x="240" y="160"/>
                    </a:lnTo>
                    <a:lnTo>
                      <a:pt x="250" y="160"/>
                    </a:lnTo>
                    <a:lnTo>
                      <a:pt x="250" y="164"/>
                    </a:lnTo>
                    <a:lnTo>
                      <a:pt x="250" y="164"/>
                    </a:lnTo>
                    <a:lnTo>
                      <a:pt x="240" y="164"/>
                    </a:lnTo>
                    <a:lnTo>
                      <a:pt x="240" y="164"/>
                    </a:lnTo>
                    <a:close/>
                    <a:moveTo>
                      <a:pt x="154" y="164"/>
                    </a:moveTo>
                    <a:lnTo>
                      <a:pt x="154" y="164"/>
                    </a:lnTo>
                    <a:lnTo>
                      <a:pt x="144" y="162"/>
                    </a:lnTo>
                    <a:lnTo>
                      <a:pt x="144" y="158"/>
                    </a:lnTo>
                    <a:lnTo>
                      <a:pt x="144" y="158"/>
                    </a:lnTo>
                    <a:lnTo>
                      <a:pt x="154" y="160"/>
                    </a:lnTo>
                    <a:lnTo>
                      <a:pt x="154" y="164"/>
                    </a:lnTo>
                    <a:close/>
                    <a:moveTo>
                      <a:pt x="260" y="162"/>
                    </a:moveTo>
                    <a:lnTo>
                      <a:pt x="260" y="158"/>
                    </a:lnTo>
                    <a:lnTo>
                      <a:pt x="260" y="158"/>
                    </a:lnTo>
                    <a:lnTo>
                      <a:pt x="268" y="158"/>
                    </a:lnTo>
                    <a:lnTo>
                      <a:pt x="270" y="160"/>
                    </a:lnTo>
                    <a:lnTo>
                      <a:pt x="270" y="160"/>
                    </a:lnTo>
                    <a:lnTo>
                      <a:pt x="260" y="162"/>
                    </a:lnTo>
                    <a:lnTo>
                      <a:pt x="260" y="162"/>
                    </a:lnTo>
                    <a:close/>
                    <a:moveTo>
                      <a:pt x="134" y="160"/>
                    </a:moveTo>
                    <a:lnTo>
                      <a:pt x="134" y="160"/>
                    </a:lnTo>
                    <a:lnTo>
                      <a:pt x="126" y="160"/>
                    </a:lnTo>
                    <a:lnTo>
                      <a:pt x="126" y="156"/>
                    </a:lnTo>
                    <a:lnTo>
                      <a:pt x="126" y="156"/>
                    </a:lnTo>
                    <a:lnTo>
                      <a:pt x="136" y="158"/>
                    </a:lnTo>
                    <a:lnTo>
                      <a:pt x="134" y="160"/>
                    </a:lnTo>
                    <a:close/>
                    <a:moveTo>
                      <a:pt x="278" y="160"/>
                    </a:moveTo>
                    <a:lnTo>
                      <a:pt x="278" y="156"/>
                    </a:lnTo>
                    <a:lnTo>
                      <a:pt x="278" y="156"/>
                    </a:lnTo>
                    <a:lnTo>
                      <a:pt x="288" y="154"/>
                    </a:lnTo>
                    <a:lnTo>
                      <a:pt x="288" y="158"/>
                    </a:lnTo>
                    <a:lnTo>
                      <a:pt x="288" y="158"/>
                    </a:lnTo>
                    <a:lnTo>
                      <a:pt x="278" y="160"/>
                    </a:lnTo>
                    <a:lnTo>
                      <a:pt x="278" y="160"/>
                    </a:lnTo>
                    <a:close/>
                    <a:moveTo>
                      <a:pt x="116" y="158"/>
                    </a:moveTo>
                    <a:lnTo>
                      <a:pt x="116" y="158"/>
                    </a:lnTo>
                    <a:lnTo>
                      <a:pt x="106" y="156"/>
                    </a:lnTo>
                    <a:lnTo>
                      <a:pt x="106" y="152"/>
                    </a:lnTo>
                    <a:lnTo>
                      <a:pt x="106" y="152"/>
                    </a:lnTo>
                    <a:lnTo>
                      <a:pt x="116" y="154"/>
                    </a:lnTo>
                    <a:lnTo>
                      <a:pt x="116" y="158"/>
                    </a:lnTo>
                    <a:close/>
                    <a:moveTo>
                      <a:pt x="298" y="156"/>
                    </a:moveTo>
                    <a:lnTo>
                      <a:pt x="298" y="152"/>
                    </a:lnTo>
                    <a:lnTo>
                      <a:pt x="298" y="152"/>
                    </a:lnTo>
                    <a:lnTo>
                      <a:pt x="306" y="150"/>
                    </a:lnTo>
                    <a:lnTo>
                      <a:pt x="308" y="154"/>
                    </a:lnTo>
                    <a:lnTo>
                      <a:pt x="308" y="154"/>
                    </a:lnTo>
                    <a:lnTo>
                      <a:pt x="298" y="156"/>
                    </a:lnTo>
                    <a:lnTo>
                      <a:pt x="298" y="156"/>
                    </a:lnTo>
                    <a:close/>
                    <a:moveTo>
                      <a:pt x="96" y="154"/>
                    </a:moveTo>
                    <a:lnTo>
                      <a:pt x="96" y="154"/>
                    </a:lnTo>
                    <a:lnTo>
                      <a:pt x="88" y="150"/>
                    </a:lnTo>
                    <a:lnTo>
                      <a:pt x="88" y="148"/>
                    </a:lnTo>
                    <a:lnTo>
                      <a:pt x="88" y="148"/>
                    </a:lnTo>
                    <a:lnTo>
                      <a:pt x="98" y="150"/>
                    </a:lnTo>
                    <a:lnTo>
                      <a:pt x="96" y="154"/>
                    </a:lnTo>
                    <a:close/>
                    <a:moveTo>
                      <a:pt x="316" y="150"/>
                    </a:moveTo>
                    <a:lnTo>
                      <a:pt x="316" y="148"/>
                    </a:lnTo>
                    <a:lnTo>
                      <a:pt x="316" y="148"/>
                    </a:lnTo>
                    <a:lnTo>
                      <a:pt x="324" y="146"/>
                    </a:lnTo>
                    <a:lnTo>
                      <a:pt x="326" y="148"/>
                    </a:lnTo>
                    <a:lnTo>
                      <a:pt x="326" y="148"/>
                    </a:lnTo>
                    <a:lnTo>
                      <a:pt x="316" y="150"/>
                    </a:lnTo>
                    <a:lnTo>
                      <a:pt x="316" y="150"/>
                    </a:lnTo>
                    <a:close/>
                    <a:moveTo>
                      <a:pt x="78" y="148"/>
                    </a:moveTo>
                    <a:lnTo>
                      <a:pt x="78" y="148"/>
                    </a:lnTo>
                    <a:lnTo>
                      <a:pt x="68" y="144"/>
                    </a:lnTo>
                    <a:lnTo>
                      <a:pt x="70" y="142"/>
                    </a:lnTo>
                    <a:lnTo>
                      <a:pt x="70" y="142"/>
                    </a:lnTo>
                    <a:lnTo>
                      <a:pt x="80" y="144"/>
                    </a:lnTo>
                    <a:lnTo>
                      <a:pt x="78" y="148"/>
                    </a:lnTo>
                    <a:close/>
                    <a:moveTo>
                      <a:pt x="334" y="146"/>
                    </a:moveTo>
                    <a:lnTo>
                      <a:pt x="334" y="142"/>
                    </a:lnTo>
                    <a:lnTo>
                      <a:pt x="334" y="142"/>
                    </a:lnTo>
                    <a:lnTo>
                      <a:pt x="342" y="138"/>
                    </a:lnTo>
                    <a:lnTo>
                      <a:pt x="344" y="142"/>
                    </a:lnTo>
                    <a:lnTo>
                      <a:pt x="344" y="142"/>
                    </a:lnTo>
                    <a:lnTo>
                      <a:pt x="334" y="146"/>
                    </a:lnTo>
                    <a:lnTo>
                      <a:pt x="334" y="146"/>
                    </a:lnTo>
                    <a:close/>
                    <a:moveTo>
                      <a:pt x="60" y="142"/>
                    </a:moveTo>
                    <a:lnTo>
                      <a:pt x="60" y="142"/>
                    </a:lnTo>
                    <a:lnTo>
                      <a:pt x="50" y="138"/>
                    </a:lnTo>
                    <a:lnTo>
                      <a:pt x="52" y="134"/>
                    </a:lnTo>
                    <a:lnTo>
                      <a:pt x="52" y="134"/>
                    </a:lnTo>
                    <a:lnTo>
                      <a:pt x="62" y="138"/>
                    </a:lnTo>
                    <a:lnTo>
                      <a:pt x="60" y="142"/>
                    </a:lnTo>
                    <a:close/>
                    <a:moveTo>
                      <a:pt x="352" y="138"/>
                    </a:moveTo>
                    <a:lnTo>
                      <a:pt x="352" y="134"/>
                    </a:lnTo>
                    <a:lnTo>
                      <a:pt x="352" y="134"/>
                    </a:lnTo>
                    <a:lnTo>
                      <a:pt x="360" y="130"/>
                    </a:lnTo>
                    <a:lnTo>
                      <a:pt x="362" y="134"/>
                    </a:lnTo>
                    <a:lnTo>
                      <a:pt x="362" y="134"/>
                    </a:lnTo>
                    <a:lnTo>
                      <a:pt x="352" y="138"/>
                    </a:lnTo>
                    <a:lnTo>
                      <a:pt x="352" y="138"/>
                    </a:lnTo>
                    <a:close/>
                    <a:moveTo>
                      <a:pt x="42" y="134"/>
                    </a:moveTo>
                    <a:lnTo>
                      <a:pt x="42" y="134"/>
                    </a:lnTo>
                    <a:lnTo>
                      <a:pt x="34" y="128"/>
                    </a:lnTo>
                    <a:lnTo>
                      <a:pt x="36" y="126"/>
                    </a:lnTo>
                    <a:lnTo>
                      <a:pt x="36" y="126"/>
                    </a:lnTo>
                    <a:lnTo>
                      <a:pt x="44" y="130"/>
                    </a:lnTo>
                    <a:lnTo>
                      <a:pt x="42" y="134"/>
                    </a:lnTo>
                    <a:close/>
                    <a:moveTo>
                      <a:pt x="370" y="128"/>
                    </a:moveTo>
                    <a:lnTo>
                      <a:pt x="368" y="126"/>
                    </a:lnTo>
                    <a:lnTo>
                      <a:pt x="368" y="126"/>
                    </a:lnTo>
                    <a:lnTo>
                      <a:pt x="376" y="120"/>
                    </a:lnTo>
                    <a:lnTo>
                      <a:pt x="378" y="124"/>
                    </a:lnTo>
                    <a:lnTo>
                      <a:pt x="378" y="124"/>
                    </a:lnTo>
                    <a:lnTo>
                      <a:pt x="370" y="128"/>
                    </a:lnTo>
                    <a:lnTo>
                      <a:pt x="370" y="128"/>
                    </a:lnTo>
                    <a:close/>
                    <a:moveTo>
                      <a:pt x="26" y="122"/>
                    </a:moveTo>
                    <a:lnTo>
                      <a:pt x="26" y="122"/>
                    </a:lnTo>
                    <a:lnTo>
                      <a:pt x="18" y="116"/>
                    </a:lnTo>
                    <a:lnTo>
                      <a:pt x="20" y="114"/>
                    </a:lnTo>
                    <a:lnTo>
                      <a:pt x="20" y="114"/>
                    </a:lnTo>
                    <a:lnTo>
                      <a:pt x="28" y="120"/>
                    </a:lnTo>
                    <a:lnTo>
                      <a:pt x="26" y="122"/>
                    </a:lnTo>
                    <a:close/>
                    <a:moveTo>
                      <a:pt x="386" y="116"/>
                    </a:moveTo>
                    <a:lnTo>
                      <a:pt x="384" y="114"/>
                    </a:lnTo>
                    <a:lnTo>
                      <a:pt x="384" y="114"/>
                    </a:lnTo>
                    <a:lnTo>
                      <a:pt x="390" y="108"/>
                    </a:lnTo>
                    <a:lnTo>
                      <a:pt x="392" y="110"/>
                    </a:lnTo>
                    <a:lnTo>
                      <a:pt x="392" y="110"/>
                    </a:lnTo>
                    <a:lnTo>
                      <a:pt x="386" y="116"/>
                    </a:lnTo>
                    <a:lnTo>
                      <a:pt x="386" y="116"/>
                    </a:lnTo>
                    <a:close/>
                    <a:moveTo>
                      <a:pt x="12" y="110"/>
                    </a:moveTo>
                    <a:lnTo>
                      <a:pt x="12" y="110"/>
                    </a:lnTo>
                    <a:lnTo>
                      <a:pt x="6" y="102"/>
                    </a:lnTo>
                    <a:lnTo>
                      <a:pt x="8" y="100"/>
                    </a:lnTo>
                    <a:lnTo>
                      <a:pt x="8" y="100"/>
                    </a:lnTo>
                    <a:lnTo>
                      <a:pt x="14" y="108"/>
                    </a:lnTo>
                    <a:lnTo>
                      <a:pt x="12" y="110"/>
                    </a:lnTo>
                    <a:close/>
                    <a:moveTo>
                      <a:pt x="398" y="102"/>
                    </a:moveTo>
                    <a:lnTo>
                      <a:pt x="396" y="100"/>
                    </a:lnTo>
                    <a:lnTo>
                      <a:pt x="396" y="100"/>
                    </a:lnTo>
                    <a:lnTo>
                      <a:pt x="400" y="92"/>
                    </a:lnTo>
                    <a:lnTo>
                      <a:pt x="402" y="92"/>
                    </a:lnTo>
                    <a:lnTo>
                      <a:pt x="402" y="92"/>
                    </a:lnTo>
                    <a:lnTo>
                      <a:pt x="398" y="102"/>
                    </a:lnTo>
                    <a:lnTo>
                      <a:pt x="398" y="102"/>
                    </a:lnTo>
                    <a:close/>
                    <a:moveTo>
                      <a:pt x="2" y="92"/>
                    </a:moveTo>
                    <a:lnTo>
                      <a:pt x="2" y="92"/>
                    </a:lnTo>
                    <a:lnTo>
                      <a:pt x="0" y="82"/>
                    </a:lnTo>
                    <a:lnTo>
                      <a:pt x="4" y="82"/>
                    </a:lnTo>
                    <a:lnTo>
                      <a:pt x="4" y="82"/>
                    </a:lnTo>
                    <a:lnTo>
                      <a:pt x="4" y="82"/>
                    </a:lnTo>
                    <a:lnTo>
                      <a:pt x="6" y="92"/>
                    </a:lnTo>
                    <a:lnTo>
                      <a:pt x="2" y="92"/>
                    </a:lnTo>
                    <a:close/>
                    <a:moveTo>
                      <a:pt x="404" y="82"/>
                    </a:moveTo>
                    <a:lnTo>
                      <a:pt x="400" y="82"/>
                    </a:lnTo>
                    <a:lnTo>
                      <a:pt x="402" y="82"/>
                    </a:lnTo>
                    <a:lnTo>
                      <a:pt x="400" y="82"/>
                    </a:lnTo>
                    <a:lnTo>
                      <a:pt x="400" y="82"/>
                    </a:lnTo>
                    <a:lnTo>
                      <a:pt x="400" y="74"/>
                    </a:lnTo>
                    <a:lnTo>
                      <a:pt x="402" y="72"/>
                    </a:lnTo>
                    <a:lnTo>
                      <a:pt x="402" y="72"/>
                    </a:lnTo>
                    <a:lnTo>
                      <a:pt x="404" y="82"/>
                    </a:lnTo>
                    <a:lnTo>
                      <a:pt x="404" y="82"/>
                    </a:lnTo>
                    <a:close/>
                    <a:moveTo>
                      <a:pt x="6" y="74"/>
                    </a:moveTo>
                    <a:lnTo>
                      <a:pt x="2" y="72"/>
                    </a:lnTo>
                    <a:lnTo>
                      <a:pt x="2" y="72"/>
                    </a:lnTo>
                    <a:lnTo>
                      <a:pt x="6" y="64"/>
                    </a:lnTo>
                    <a:lnTo>
                      <a:pt x="8" y="64"/>
                    </a:lnTo>
                    <a:lnTo>
                      <a:pt x="8" y="64"/>
                    </a:lnTo>
                    <a:lnTo>
                      <a:pt x="6" y="74"/>
                    </a:lnTo>
                    <a:lnTo>
                      <a:pt x="6" y="74"/>
                    </a:lnTo>
                    <a:close/>
                    <a:moveTo>
                      <a:pt x="396" y="66"/>
                    </a:moveTo>
                    <a:lnTo>
                      <a:pt x="396" y="66"/>
                    </a:lnTo>
                    <a:lnTo>
                      <a:pt x="390" y="58"/>
                    </a:lnTo>
                    <a:lnTo>
                      <a:pt x="392" y="56"/>
                    </a:lnTo>
                    <a:lnTo>
                      <a:pt x="392" y="56"/>
                    </a:lnTo>
                    <a:lnTo>
                      <a:pt x="398" y="64"/>
                    </a:lnTo>
                    <a:lnTo>
                      <a:pt x="396" y="66"/>
                    </a:lnTo>
                    <a:close/>
                    <a:moveTo>
                      <a:pt x="14" y="58"/>
                    </a:moveTo>
                    <a:lnTo>
                      <a:pt x="12" y="56"/>
                    </a:lnTo>
                    <a:lnTo>
                      <a:pt x="12" y="56"/>
                    </a:lnTo>
                    <a:lnTo>
                      <a:pt x="18" y="48"/>
                    </a:lnTo>
                    <a:lnTo>
                      <a:pt x="20" y="50"/>
                    </a:lnTo>
                    <a:lnTo>
                      <a:pt x="20" y="50"/>
                    </a:lnTo>
                    <a:lnTo>
                      <a:pt x="14" y="58"/>
                    </a:lnTo>
                    <a:lnTo>
                      <a:pt x="14" y="58"/>
                    </a:lnTo>
                    <a:close/>
                    <a:moveTo>
                      <a:pt x="384" y="50"/>
                    </a:moveTo>
                    <a:lnTo>
                      <a:pt x="384" y="50"/>
                    </a:lnTo>
                    <a:lnTo>
                      <a:pt x="376" y="44"/>
                    </a:lnTo>
                    <a:lnTo>
                      <a:pt x="378" y="42"/>
                    </a:lnTo>
                    <a:lnTo>
                      <a:pt x="378" y="42"/>
                    </a:lnTo>
                    <a:lnTo>
                      <a:pt x="386" y="48"/>
                    </a:lnTo>
                    <a:lnTo>
                      <a:pt x="384" y="50"/>
                    </a:lnTo>
                    <a:close/>
                    <a:moveTo>
                      <a:pt x="28" y="44"/>
                    </a:moveTo>
                    <a:lnTo>
                      <a:pt x="26" y="42"/>
                    </a:lnTo>
                    <a:lnTo>
                      <a:pt x="26" y="42"/>
                    </a:lnTo>
                    <a:lnTo>
                      <a:pt x="34" y="36"/>
                    </a:lnTo>
                    <a:lnTo>
                      <a:pt x="36" y="40"/>
                    </a:lnTo>
                    <a:lnTo>
                      <a:pt x="36" y="40"/>
                    </a:lnTo>
                    <a:lnTo>
                      <a:pt x="28" y="44"/>
                    </a:lnTo>
                    <a:lnTo>
                      <a:pt x="28" y="44"/>
                    </a:lnTo>
                    <a:close/>
                    <a:moveTo>
                      <a:pt x="368" y="40"/>
                    </a:moveTo>
                    <a:lnTo>
                      <a:pt x="368" y="40"/>
                    </a:lnTo>
                    <a:lnTo>
                      <a:pt x="360" y="34"/>
                    </a:lnTo>
                    <a:lnTo>
                      <a:pt x="362" y="32"/>
                    </a:lnTo>
                    <a:lnTo>
                      <a:pt x="362" y="32"/>
                    </a:lnTo>
                    <a:lnTo>
                      <a:pt x="370" y="36"/>
                    </a:lnTo>
                    <a:lnTo>
                      <a:pt x="368" y="40"/>
                    </a:lnTo>
                    <a:close/>
                    <a:moveTo>
                      <a:pt x="44" y="34"/>
                    </a:moveTo>
                    <a:lnTo>
                      <a:pt x="42" y="32"/>
                    </a:lnTo>
                    <a:lnTo>
                      <a:pt x="42" y="32"/>
                    </a:lnTo>
                    <a:lnTo>
                      <a:pt x="52" y="28"/>
                    </a:lnTo>
                    <a:lnTo>
                      <a:pt x="52" y="30"/>
                    </a:lnTo>
                    <a:lnTo>
                      <a:pt x="52" y="30"/>
                    </a:lnTo>
                    <a:lnTo>
                      <a:pt x="44" y="34"/>
                    </a:lnTo>
                    <a:lnTo>
                      <a:pt x="44" y="34"/>
                    </a:lnTo>
                    <a:close/>
                    <a:moveTo>
                      <a:pt x="352" y="30"/>
                    </a:moveTo>
                    <a:lnTo>
                      <a:pt x="352" y="30"/>
                    </a:lnTo>
                    <a:lnTo>
                      <a:pt x="344" y="26"/>
                    </a:lnTo>
                    <a:lnTo>
                      <a:pt x="344" y="24"/>
                    </a:lnTo>
                    <a:lnTo>
                      <a:pt x="344" y="24"/>
                    </a:lnTo>
                    <a:lnTo>
                      <a:pt x="354" y="28"/>
                    </a:lnTo>
                    <a:lnTo>
                      <a:pt x="352" y="30"/>
                    </a:lnTo>
                    <a:close/>
                    <a:moveTo>
                      <a:pt x="62" y="26"/>
                    </a:moveTo>
                    <a:lnTo>
                      <a:pt x="60" y="24"/>
                    </a:lnTo>
                    <a:lnTo>
                      <a:pt x="60" y="24"/>
                    </a:lnTo>
                    <a:lnTo>
                      <a:pt x="70" y="20"/>
                    </a:lnTo>
                    <a:lnTo>
                      <a:pt x="70" y="24"/>
                    </a:lnTo>
                    <a:lnTo>
                      <a:pt x="70" y="24"/>
                    </a:lnTo>
                    <a:lnTo>
                      <a:pt x="62" y="26"/>
                    </a:lnTo>
                    <a:lnTo>
                      <a:pt x="62" y="26"/>
                    </a:lnTo>
                    <a:close/>
                    <a:moveTo>
                      <a:pt x="334" y="24"/>
                    </a:moveTo>
                    <a:lnTo>
                      <a:pt x="334" y="24"/>
                    </a:lnTo>
                    <a:lnTo>
                      <a:pt x="326" y="20"/>
                    </a:lnTo>
                    <a:lnTo>
                      <a:pt x="326" y="18"/>
                    </a:lnTo>
                    <a:lnTo>
                      <a:pt x="326" y="18"/>
                    </a:lnTo>
                    <a:lnTo>
                      <a:pt x="336" y="20"/>
                    </a:lnTo>
                    <a:lnTo>
                      <a:pt x="334" y="24"/>
                    </a:lnTo>
                    <a:close/>
                    <a:moveTo>
                      <a:pt x="80" y="20"/>
                    </a:moveTo>
                    <a:lnTo>
                      <a:pt x="78" y="16"/>
                    </a:lnTo>
                    <a:lnTo>
                      <a:pt x="78" y="16"/>
                    </a:lnTo>
                    <a:lnTo>
                      <a:pt x="88" y="14"/>
                    </a:lnTo>
                    <a:lnTo>
                      <a:pt x="88" y="18"/>
                    </a:lnTo>
                    <a:lnTo>
                      <a:pt x="88" y="18"/>
                    </a:lnTo>
                    <a:lnTo>
                      <a:pt x="80" y="20"/>
                    </a:lnTo>
                    <a:lnTo>
                      <a:pt x="80" y="20"/>
                    </a:lnTo>
                    <a:close/>
                    <a:moveTo>
                      <a:pt x="316" y="18"/>
                    </a:moveTo>
                    <a:lnTo>
                      <a:pt x="316" y="18"/>
                    </a:lnTo>
                    <a:lnTo>
                      <a:pt x="306" y="14"/>
                    </a:lnTo>
                    <a:lnTo>
                      <a:pt x="308" y="12"/>
                    </a:lnTo>
                    <a:lnTo>
                      <a:pt x="308" y="12"/>
                    </a:lnTo>
                    <a:lnTo>
                      <a:pt x="318" y="14"/>
                    </a:lnTo>
                    <a:lnTo>
                      <a:pt x="316" y="18"/>
                    </a:lnTo>
                    <a:close/>
                    <a:moveTo>
                      <a:pt x="98" y="14"/>
                    </a:moveTo>
                    <a:lnTo>
                      <a:pt x="96" y="12"/>
                    </a:lnTo>
                    <a:lnTo>
                      <a:pt x="96" y="12"/>
                    </a:lnTo>
                    <a:lnTo>
                      <a:pt x="106" y="10"/>
                    </a:lnTo>
                    <a:lnTo>
                      <a:pt x="106" y="12"/>
                    </a:lnTo>
                    <a:lnTo>
                      <a:pt x="106" y="12"/>
                    </a:lnTo>
                    <a:lnTo>
                      <a:pt x="98" y="14"/>
                    </a:lnTo>
                    <a:lnTo>
                      <a:pt x="98" y="14"/>
                    </a:lnTo>
                    <a:close/>
                    <a:moveTo>
                      <a:pt x="298" y="12"/>
                    </a:moveTo>
                    <a:lnTo>
                      <a:pt x="298" y="12"/>
                    </a:lnTo>
                    <a:lnTo>
                      <a:pt x="288" y="10"/>
                    </a:lnTo>
                    <a:lnTo>
                      <a:pt x="288" y="8"/>
                    </a:lnTo>
                    <a:lnTo>
                      <a:pt x="288" y="8"/>
                    </a:lnTo>
                    <a:lnTo>
                      <a:pt x="298" y="10"/>
                    </a:lnTo>
                    <a:lnTo>
                      <a:pt x="298" y="12"/>
                    </a:lnTo>
                    <a:close/>
                    <a:moveTo>
                      <a:pt x="116" y="10"/>
                    </a:moveTo>
                    <a:lnTo>
                      <a:pt x="116" y="8"/>
                    </a:lnTo>
                    <a:lnTo>
                      <a:pt x="116" y="8"/>
                    </a:lnTo>
                    <a:lnTo>
                      <a:pt x="126" y="6"/>
                    </a:lnTo>
                    <a:lnTo>
                      <a:pt x="126" y="8"/>
                    </a:lnTo>
                    <a:lnTo>
                      <a:pt x="126" y="8"/>
                    </a:lnTo>
                    <a:lnTo>
                      <a:pt x="116" y="10"/>
                    </a:lnTo>
                    <a:lnTo>
                      <a:pt x="116" y="10"/>
                    </a:lnTo>
                    <a:close/>
                    <a:moveTo>
                      <a:pt x="278" y="8"/>
                    </a:moveTo>
                    <a:lnTo>
                      <a:pt x="278" y="8"/>
                    </a:lnTo>
                    <a:lnTo>
                      <a:pt x="270" y="8"/>
                    </a:lnTo>
                    <a:lnTo>
                      <a:pt x="270" y="4"/>
                    </a:lnTo>
                    <a:lnTo>
                      <a:pt x="270" y="4"/>
                    </a:lnTo>
                    <a:lnTo>
                      <a:pt x="280" y="6"/>
                    </a:lnTo>
                    <a:lnTo>
                      <a:pt x="278" y="8"/>
                    </a:lnTo>
                    <a:close/>
                    <a:moveTo>
                      <a:pt x="136" y="8"/>
                    </a:moveTo>
                    <a:lnTo>
                      <a:pt x="134" y="4"/>
                    </a:lnTo>
                    <a:lnTo>
                      <a:pt x="134" y="4"/>
                    </a:lnTo>
                    <a:lnTo>
                      <a:pt x="144" y="4"/>
                    </a:lnTo>
                    <a:lnTo>
                      <a:pt x="144" y="6"/>
                    </a:lnTo>
                    <a:lnTo>
                      <a:pt x="144" y="6"/>
                    </a:lnTo>
                    <a:lnTo>
                      <a:pt x="136" y="8"/>
                    </a:lnTo>
                    <a:lnTo>
                      <a:pt x="136" y="8"/>
                    </a:lnTo>
                    <a:close/>
                    <a:moveTo>
                      <a:pt x="260" y="6"/>
                    </a:moveTo>
                    <a:lnTo>
                      <a:pt x="260" y="6"/>
                    </a:lnTo>
                    <a:lnTo>
                      <a:pt x="250" y="6"/>
                    </a:lnTo>
                    <a:lnTo>
                      <a:pt x="250" y="2"/>
                    </a:lnTo>
                    <a:lnTo>
                      <a:pt x="250" y="2"/>
                    </a:lnTo>
                    <a:lnTo>
                      <a:pt x="260" y="4"/>
                    </a:lnTo>
                    <a:lnTo>
                      <a:pt x="260" y="6"/>
                    </a:lnTo>
                    <a:close/>
                    <a:moveTo>
                      <a:pt x="154" y="6"/>
                    </a:moveTo>
                    <a:lnTo>
                      <a:pt x="154" y="2"/>
                    </a:lnTo>
                    <a:lnTo>
                      <a:pt x="154" y="2"/>
                    </a:lnTo>
                    <a:lnTo>
                      <a:pt x="164" y="2"/>
                    </a:lnTo>
                    <a:lnTo>
                      <a:pt x="164" y="4"/>
                    </a:lnTo>
                    <a:lnTo>
                      <a:pt x="164" y="4"/>
                    </a:lnTo>
                    <a:lnTo>
                      <a:pt x="154" y="6"/>
                    </a:lnTo>
                    <a:lnTo>
                      <a:pt x="154" y="6"/>
                    </a:lnTo>
                    <a:close/>
                    <a:moveTo>
                      <a:pt x="240" y="4"/>
                    </a:moveTo>
                    <a:lnTo>
                      <a:pt x="240" y="4"/>
                    </a:lnTo>
                    <a:lnTo>
                      <a:pt x="232" y="4"/>
                    </a:lnTo>
                    <a:lnTo>
                      <a:pt x="232" y="0"/>
                    </a:lnTo>
                    <a:lnTo>
                      <a:pt x="232" y="0"/>
                    </a:lnTo>
                    <a:lnTo>
                      <a:pt x="242" y="2"/>
                    </a:lnTo>
                    <a:lnTo>
                      <a:pt x="240" y="4"/>
                    </a:lnTo>
                    <a:close/>
                    <a:moveTo>
                      <a:pt x="174" y="4"/>
                    </a:moveTo>
                    <a:lnTo>
                      <a:pt x="174" y="0"/>
                    </a:lnTo>
                    <a:lnTo>
                      <a:pt x="174" y="0"/>
                    </a:lnTo>
                    <a:lnTo>
                      <a:pt x="182" y="0"/>
                    </a:lnTo>
                    <a:lnTo>
                      <a:pt x="182" y="4"/>
                    </a:lnTo>
                    <a:lnTo>
                      <a:pt x="182" y="4"/>
                    </a:lnTo>
                    <a:lnTo>
                      <a:pt x="174" y="4"/>
                    </a:lnTo>
                    <a:lnTo>
                      <a:pt x="174" y="4"/>
                    </a:lnTo>
                    <a:close/>
                    <a:moveTo>
                      <a:pt x="222" y="4"/>
                    </a:moveTo>
                    <a:lnTo>
                      <a:pt x="222" y="4"/>
                    </a:lnTo>
                    <a:lnTo>
                      <a:pt x="212" y="2"/>
                    </a:lnTo>
                    <a:lnTo>
                      <a:pt x="212" y="0"/>
                    </a:lnTo>
                    <a:lnTo>
                      <a:pt x="212" y="0"/>
                    </a:lnTo>
                    <a:lnTo>
                      <a:pt x="222" y="0"/>
                    </a:lnTo>
                    <a:lnTo>
                      <a:pt x="222" y="4"/>
                    </a:lnTo>
                    <a:close/>
                    <a:moveTo>
                      <a:pt x="192" y="2"/>
                    </a:moveTo>
                    <a:lnTo>
                      <a:pt x="192" y="0"/>
                    </a:lnTo>
                    <a:lnTo>
                      <a:pt x="192" y="0"/>
                    </a:lnTo>
                    <a:lnTo>
                      <a:pt x="202" y="0"/>
                    </a:lnTo>
                    <a:lnTo>
                      <a:pt x="202" y="0"/>
                    </a:lnTo>
                    <a:lnTo>
                      <a:pt x="202" y="2"/>
                    </a:lnTo>
                    <a:lnTo>
                      <a:pt x="202" y="2"/>
                    </a:lnTo>
                    <a:lnTo>
                      <a:pt x="202" y="2"/>
                    </a:lnTo>
                    <a:lnTo>
                      <a:pt x="192" y="2"/>
                    </a:lnTo>
                    <a:lnTo>
                      <a:pt x="192" y="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1" name="Freeform 41"/>
              <p:cNvSpPr/>
              <p:nvPr/>
            </p:nvSpPr>
            <p:spPr bwMode="auto">
              <a:xfrm>
                <a:off x="8007732" y="2793239"/>
                <a:ext cx="195979" cy="181288"/>
              </a:xfrm>
              <a:custGeom>
                <a:avLst/>
                <a:gdLst>
                  <a:gd name="T0" fmla="*/ 80 w 118"/>
                  <a:gd name="T1" fmla="*/ 44 h 122"/>
                  <a:gd name="T2" fmla="*/ 74 w 118"/>
                  <a:gd name="T3" fmla="*/ 32 h 122"/>
                  <a:gd name="T4" fmla="*/ 58 w 118"/>
                  <a:gd name="T5" fmla="*/ 28 h 122"/>
                  <a:gd name="T6" fmla="*/ 52 w 118"/>
                  <a:gd name="T7" fmla="*/ 30 h 122"/>
                  <a:gd name="T8" fmla="*/ 48 w 118"/>
                  <a:gd name="T9" fmla="*/ 34 h 122"/>
                  <a:gd name="T10" fmla="*/ 48 w 118"/>
                  <a:gd name="T11" fmla="*/ 38 h 122"/>
                  <a:gd name="T12" fmla="*/ 58 w 118"/>
                  <a:gd name="T13" fmla="*/ 42 h 122"/>
                  <a:gd name="T14" fmla="*/ 94 w 118"/>
                  <a:gd name="T15" fmla="*/ 54 h 122"/>
                  <a:gd name="T16" fmla="*/ 114 w 118"/>
                  <a:gd name="T17" fmla="*/ 68 h 122"/>
                  <a:gd name="T18" fmla="*/ 118 w 118"/>
                  <a:gd name="T19" fmla="*/ 78 h 122"/>
                  <a:gd name="T20" fmla="*/ 118 w 118"/>
                  <a:gd name="T21" fmla="*/ 88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10 h 122"/>
                  <a:gd name="T34" fmla="*/ 34 w 118"/>
                  <a:gd name="T35" fmla="*/ 98 h 122"/>
                  <a:gd name="T36" fmla="*/ 0 w 118"/>
                  <a:gd name="T37" fmla="*/ 110 h 122"/>
                  <a:gd name="T38" fmla="*/ 34 w 118"/>
                  <a:gd name="T39" fmla="*/ 70 h 122"/>
                  <a:gd name="T40" fmla="*/ 36 w 118"/>
                  <a:gd name="T41" fmla="*/ 76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6 h 122"/>
                  <a:gd name="T66" fmla="*/ 46 w 118"/>
                  <a:gd name="T67" fmla="*/ 8 h 122"/>
                  <a:gd name="T68" fmla="*/ 52 w 118"/>
                  <a:gd name="T69" fmla="*/ 8 h 122"/>
                  <a:gd name="T70" fmla="*/ 62 w 118"/>
                  <a:gd name="T71" fmla="*/ 0 h 122"/>
                  <a:gd name="T72" fmla="*/ 62 w 118"/>
                  <a:gd name="T73" fmla="*/ 10 h 122"/>
                  <a:gd name="T74" fmla="*/ 80 w 118"/>
                  <a:gd name="T75" fmla="*/ 22 h 122"/>
                  <a:gd name="T76" fmla="*/ 108 w 118"/>
                  <a:gd name="T77" fmla="*/ 10 h 122"/>
                  <a:gd name="T78" fmla="*/ 80 w 118"/>
                  <a:gd name="T79" fmla="*/ 4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4"/>
                    </a:moveTo>
                    <a:lnTo>
                      <a:pt x="80" y="44"/>
                    </a:lnTo>
                    <a:lnTo>
                      <a:pt x="78" y="36"/>
                    </a:lnTo>
                    <a:lnTo>
                      <a:pt x="74" y="32"/>
                    </a:lnTo>
                    <a:lnTo>
                      <a:pt x="68" y="28"/>
                    </a:lnTo>
                    <a:lnTo>
                      <a:pt x="58" y="28"/>
                    </a:lnTo>
                    <a:lnTo>
                      <a:pt x="58" y="28"/>
                    </a:lnTo>
                    <a:lnTo>
                      <a:pt x="52" y="30"/>
                    </a:lnTo>
                    <a:lnTo>
                      <a:pt x="48" y="32"/>
                    </a:lnTo>
                    <a:lnTo>
                      <a:pt x="48" y="34"/>
                    </a:lnTo>
                    <a:lnTo>
                      <a:pt x="48" y="34"/>
                    </a:lnTo>
                    <a:lnTo>
                      <a:pt x="48" y="38"/>
                    </a:lnTo>
                    <a:lnTo>
                      <a:pt x="50" y="40"/>
                    </a:lnTo>
                    <a:lnTo>
                      <a:pt x="58" y="42"/>
                    </a:lnTo>
                    <a:lnTo>
                      <a:pt x="82" y="50"/>
                    </a:lnTo>
                    <a:lnTo>
                      <a:pt x="94" y="54"/>
                    </a:lnTo>
                    <a:lnTo>
                      <a:pt x="106" y="60"/>
                    </a:lnTo>
                    <a:lnTo>
                      <a:pt x="114" y="68"/>
                    </a:lnTo>
                    <a:lnTo>
                      <a:pt x="116" y="74"/>
                    </a:lnTo>
                    <a:lnTo>
                      <a:pt x="118" y="78"/>
                    </a:lnTo>
                    <a:lnTo>
                      <a:pt x="118" y="78"/>
                    </a:lnTo>
                    <a:lnTo>
                      <a:pt x="118" y="88"/>
                    </a:lnTo>
                    <a:lnTo>
                      <a:pt x="114" y="94"/>
                    </a:lnTo>
                    <a:lnTo>
                      <a:pt x="110" y="100"/>
                    </a:lnTo>
                    <a:lnTo>
                      <a:pt x="104" y="104"/>
                    </a:lnTo>
                    <a:lnTo>
                      <a:pt x="98" y="108"/>
                    </a:lnTo>
                    <a:lnTo>
                      <a:pt x="90" y="110"/>
                    </a:lnTo>
                    <a:lnTo>
                      <a:pt x="72" y="112"/>
                    </a:lnTo>
                    <a:lnTo>
                      <a:pt x="72" y="112"/>
                    </a:lnTo>
                    <a:lnTo>
                      <a:pt x="66" y="112"/>
                    </a:lnTo>
                    <a:lnTo>
                      <a:pt x="66" y="122"/>
                    </a:lnTo>
                    <a:lnTo>
                      <a:pt x="54" y="122"/>
                    </a:lnTo>
                    <a:lnTo>
                      <a:pt x="54" y="110"/>
                    </a:lnTo>
                    <a:lnTo>
                      <a:pt x="54" y="110"/>
                    </a:lnTo>
                    <a:lnTo>
                      <a:pt x="42" y="104"/>
                    </a:lnTo>
                    <a:lnTo>
                      <a:pt x="34" y="98"/>
                    </a:lnTo>
                    <a:lnTo>
                      <a:pt x="32" y="110"/>
                    </a:lnTo>
                    <a:lnTo>
                      <a:pt x="0" y="110"/>
                    </a:lnTo>
                    <a:lnTo>
                      <a:pt x="2" y="70"/>
                    </a:lnTo>
                    <a:lnTo>
                      <a:pt x="34" y="70"/>
                    </a:lnTo>
                    <a:lnTo>
                      <a:pt x="34" y="70"/>
                    </a:lnTo>
                    <a:lnTo>
                      <a:pt x="36" y="76"/>
                    </a:lnTo>
                    <a:lnTo>
                      <a:pt x="36" y="78"/>
                    </a:lnTo>
                    <a:lnTo>
                      <a:pt x="42" y="82"/>
                    </a:lnTo>
                    <a:lnTo>
                      <a:pt x="50" y="86"/>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8"/>
                    </a:lnTo>
                    <a:lnTo>
                      <a:pt x="6" y="42"/>
                    </a:lnTo>
                    <a:lnTo>
                      <a:pt x="6" y="36"/>
                    </a:lnTo>
                    <a:lnTo>
                      <a:pt x="6" y="36"/>
                    </a:lnTo>
                    <a:lnTo>
                      <a:pt x="8" y="30"/>
                    </a:lnTo>
                    <a:lnTo>
                      <a:pt x="10" y="24"/>
                    </a:lnTo>
                    <a:lnTo>
                      <a:pt x="16" y="18"/>
                    </a:lnTo>
                    <a:lnTo>
                      <a:pt x="20" y="16"/>
                    </a:lnTo>
                    <a:lnTo>
                      <a:pt x="32" y="10"/>
                    </a:lnTo>
                    <a:lnTo>
                      <a:pt x="46" y="8"/>
                    </a:lnTo>
                    <a:lnTo>
                      <a:pt x="46" y="8"/>
                    </a:lnTo>
                    <a:lnTo>
                      <a:pt x="52" y="8"/>
                    </a:lnTo>
                    <a:lnTo>
                      <a:pt x="52" y="0"/>
                    </a:lnTo>
                    <a:lnTo>
                      <a:pt x="62" y="0"/>
                    </a:lnTo>
                    <a:lnTo>
                      <a:pt x="62" y="10"/>
                    </a:lnTo>
                    <a:lnTo>
                      <a:pt x="62" y="10"/>
                    </a:lnTo>
                    <a:lnTo>
                      <a:pt x="72" y="14"/>
                    </a:lnTo>
                    <a:lnTo>
                      <a:pt x="80" y="22"/>
                    </a:lnTo>
                    <a:lnTo>
                      <a:pt x="80" y="10"/>
                    </a:lnTo>
                    <a:lnTo>
                      <a:pt x="108" y="10"/>
                    </a:lnTo>
                    <a:lnTo>
                      <a:pt x="110" y="44"/>
                    </a:lnTo>
                    <a:lnTo>
                      <a:pt x="80" y="4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2" name="Freeform 42"/>
              <p:cNvSpPr/>
              <p:nvPr/>
            </p:nvSpPr>
            <p:spPr bwMode="auto">
              <a:xfrm>
                <a:off x="7695494" y="2894285"/>
                <a:ext cx="797203" cy="222895"/>
              </a:xfrm>
              <a:custGeom>
                <a:avLst/>
                <a:gdLst>
                  <a:gd name="T0" fmla="*/ 436 w 480"/>
                  <a:gd name="T1" fmla="*/ 46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6 h 150"/>
                  <a:gd name="T44" fmla="*/ 174 w 480"/>
                  <a:gd name="T45" fmla="*/ 144 h 150"/>
                  <a:gd name="T46" fmla="*/ 218 w 480"/>
                  <a:gd name="T47" fmla="*/ 148 h 150"/>
                  <a:gd name="T48" fmla="*/ 240 w 480"/>
                  <a:gd name="T49" fmla="*/ 150 h 150"/>
                  <a:gd name="T50" fmla="*/ 262 w 480"/>
                  <a:gd name="T51" fmla="*/ 148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6"/>
                    </a:moveTo>
                    <a:lnTo>
                      <a:pt x="436" y="46"/>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50"/>
                    </a:lnTo>
                    <a:lnTo>
                      <a:pt x="240" y="150"/>
                    </a:lnTo>
                    <a:lnTo>
                      <a:pt x="262" y="148"/>
                    </a:lnTo>
                    <a:lnTo>
                      <a:pt x="262" y="148"/>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3" name="Freeform 43"/>
              <p:cNvSpPr/>
              <p:nvPr/>
            </p:nvSpPr>
            <p:spPr bwMode="auto">
              <a:xfrm>
                <a:off x="7695494" y="2894285"/>
                <a:ext cx="797203" cy="222895"/>
              </a:xfrm>
              <a:custGeom>
                <a:avLst/>
                <a:gdLst>
                  <a:gd name="T0" fmla="*/ 436 w 480"/>
                  <a:gd name="T1" fmla="*/ 46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6 h 150"/>
                  <a:gd name="T44" fmla="*/ 174 w 480"/>
                  <a:gd name="T45" fmla="*/ 144 h 150"/>
                  <a:gd name="T46" fmla="*/ 218 w 480"/>
                  <a:gd name="T47" fmla="*/ 148 h 150"/>
                  <a:gd name="T48" fmla="*/ 240 w 480"/>
                  <a:gd name="T49" fmla="*/ 150 h 150"/>
                  <a:gd name="T50" fmla="*/ 262 w 480"/>
                  <a:gd name="T51" fmla="*/ 148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6"/>
                    </a:moveTo>
                    <a:lnTo>
                      <a:pt x="436" y="46"/>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50"/>
                    </a:lnTo>
                    <a:lnTo>
                      <a:pt x="240" y="150"/>
                    </a:lnTo>
                    <a:lnTo>
                      <a:pt x="262" y="148"/>
                    </a:lnTo>
                    <a:lnTo>
                      <a:pt x="262" y="148"/>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4" name="Freeform 44"/>
              <p:cNvSpPr/>
              <p:nvPr/>
            </p:nvSpPr>
            <p:spPr bwMode="auto">
              <a:xfrm>
                <a:off x="7695494" y="2623839"/>
                <a:ext cx="797203" cy="323941"/>
              </a:xfrm>
              <a:custGeom>
                <a:avLst/>
                <a:gdLst>
                  <a:gd name="T0" fmla="*/ 240 w 480"/>
                  <a:gd name="T1" fmla="*/ 0 h 218"/>
                  <a:gd name="T2" fmla="*/ 240 w 480"/>
                  <a:gd name="T3" fmla="*/ 0 h 218"/>
                  <a:gd name="T4" fmla="*/ 192 w 480"/>
                  <a:gd name="T5" fmla="*/ 2 h 218"/>
                  <a:gd name="T6" fmla="*/ 146 w 480"/>
                  <a:gd name="T7" fmla="*/ 8 h 218"/>
                  <a:gd name="T8" fmla="*/ 106 w 480"/>
                  <a:gd name="T9" fmla="*/ 18 h 218"/>
                  <a:gd name="T10" fmla="*/ 88 w 480"/>
                  <a:gd name="T11" fmla="*/ 24 h 218"/>
                  <a:gd name="T12" fmla="*/ 70 w 480"/>
                  <a:gd name="T13" fmla="*/ 32 h 218"/>
                  <a:gd name="T14" fmla="*/ 54 w 480"/>
                  <a:gd name="T15" fmla="*/ 40 h 218"/>
                  <a:gd name="T16" fmla="*/ 42 w 480"/>
                  <a:gd name="T17" fmla="*/ 48 h 218"/>
                  <a:gd name="T18" fmla="*/ 30 w 480"/>
                  <a:gd name="T19" fmla="*/ 56 h 218"/>
                  <a:gd name="T20" fmla="*/ 20 w 480"/>
                  <a:gd name="T21" fmla="*/ 66 h 218"/>
                  <a:gd name="T22" fmla="*/ 10 w 480"/>
                  <a:gd name="T23" fmla="*/ 76 h 218"/>
                  <a:gd name="T24" fmla="*/ 6 w 480"/>
                  <a:gd name="T25" fmla="*/ 86 h 218"/>
                  <a:gd name="T26" fmla="*/ 2 w 480"/>
                  <a:gd name="T27" fmla="*/ 98 h 218"/>
                  <a:gd name="T28" fmla="*/ 0 w 480"/>
                  <a:gd name="T29" fmla="*/ 108 h 218"/>
                  <a:gd name="T30" fmla="*/ 0 w 480"/>
                  <a:gd name="T31" fmla="*/ 108 h 218"/>
                  <a:gd name="T32" fmla="*/ 2 w 480"/>
                  <a:gd name="T33" fmla="*/ 120 h 218"/>
                  <a:gd name="T34" fmla="*/ 6 w 480"/>
                  <a:gd name="T35" fmla="*/ 130 h 218"/>
                  <a:gd name="T36" fmla="*/ 10 w 480"/>
                  <a:gd name="T37" fmla="*/ 142 h 218"/>
                  <a:gd name="T38" fmla="*/ 20 w 480"/>
                  <a:gd name="T39" fmla="*/ 152 h 218"/>
                  <a:gd name="T40" fmla="*/ 30 w 480"/>
                  <a:gd name="T41" fmla="*/ 160 h 218"/>
                  <a:gd name="T42" fmla="*/ 42 w 480"/>
                  <a:gd name="T43" fmla="*/ 170 h 218"/>
                  <a:gd name="T44" fmla="*/ 54 w 480"/>
                  <a:gd name="T45" fmla="*/ 178 h 218"/>
                  <a:gd name="T46" fmla="*/ 70 w 480"/>
                  <a:gd name="T47" fmla="*/ 186 h 218"/>
                  <a:gd name="T48" fmla="*/ 88 w 480"/>
                  <a:gd name="T49" fmla="*/ 194 h 218"/>
                  <a:gd name="T50" fmla="*/ 106 w 480"/>
                  <a:gd name="T51" fmla="*/ 200 h 218"/>
                  <a:gd name="T52" fmla="*/ 146 w 480"/>
                  <a:gd name="T53" fmla="*/ 210 h 218"/>
                  <a:gd name="T54" fmla="*/ 192 w 480"/>
                  <a:gd name="T55" fmla="*/ 216 h 218"/>
                  <a:gd name="T56" fmla="*/ 240 w 480"/>
                  <a:gd name="T57" fmla="*/ 218 h 218"/>
                  <a:gd name="T58" fmla="*/ 240 w 480"/>
                  <a:gd name="T59" fmla="*/ 218 h 218"/>
                  <a:gd name="T60" fmla="*/ 288 w 480"/>
                  <a:gd name="T61" fmla="*/ 216 h 218"/>
                  <a:gd name="T62" fmla="*/ 334 w 480"/>
                  <a:gd name="T63" fmla="*/ 210 h 218"/>
                  <a:gd name="T64" fmla="*/ 374 w 480"/>
                  <a:gd name="T65" fmla="*/ 200 h 218"/>
                  <a:gd name="T66" fmla="*/ 392 w 480"/>
                  <a:gd name="T67" fmla="*/ 194 h 218"/>
                  <a:gd name="T68" fmla="*/ 410 w 480"/>
                  <a:gd name="T69" fmla="*/ 186 h 218"/>
                  <a:gd name="T70" fmla="*/ 426 w 480"/>
                  <a:gd name="T71" fmla="*/ 178 h 218"/>
                  <a:gd name="T72" fmla="*/ 440 w 480"/>
                  <a:gd name="T73" fmla="*/ 170 h 218"/>
                  <a:gd name="T74" fmla="*/ 452 w 480"/>
                  <a:gd name="T75" fmla="*/ 160 h 218"/>
                  <a:gd name="T76" fmla="*/ 462 w 480"/>
                  <a:gd name="T77" fmla="*/ 152 h 218"/>
                  <a:gd name="T78" fmla="*/ 470 w 480"/>
                  <a:gd name="T79" fmla="*/ 142 h 218"/>
                  <a:gd name="T80" fmla="*/ 476 w 480"/>
                  <a:gd name="T81" fmla="*/ 130 h 218"/>
                  <a:gd name="T82" fmla="*/ 478 w 480"/>
                  <a:gd name="T83" fmla="*/ 120 h 218"/>
                  <a:gd name="T84" fmla="*/ 480 w 480"/>
                  <a:gd name="T85" fmla="*/ 108 h 218"/>
                  <a:gd name="T86" fmla="*/ 480 w 480"/>
                  <a:gd name="T87" fmla="*/ 108 h 218"/>
                  <a:gd name="T88" fmla="*/ 478 w 480"/>
                  <a:gd name="T89" fmla="*/ 98 h 218"/>
                  <a:gd name="T90" fmla="*/ 476 w 480"/>
                  <a:gd name="T91" fmla="*/ 86 h 218"/>
                  <a:gd name="T92" fmla="*/ 470 w 480"/>
                  <a:gd name="T93" fmla="*/ 76 h 218"/>
                  <a:gd name="T94" fmla="*/ 462 w 480"/>
                  <a:gd name="T95" fmla="*/ 66 h 218"/>
                  <a:gd name="T96" fmla="*/ 452 w 480"/>
                  <a:gd name="T97" fmla="*/ 56 h 218"/>
                  <a:gd name="T98" fmla="*/ 440 w 480"/>
                  <a:gd name="T99" fmla="*/ 48 h 218"/>
                  <a:gd name="T100" fmla="*/ 426 w 480"/>
                  <a:gd name="T101" fmla="*/ 40 h 218"/>
                  <a:gd name="T102" fmla="*/ 410 w 480"/>
                  <a:gd name="T103" fmla="*/ 32 h 218"/>
                  <a:gd name="T104" fmla="*/ 392 w 480"/>
                  <a:gd name="T105" fmla="*/ 24 h 218"/>
                  <a:gd name="T106" fmla="*/ 374 w 480"/>
                  <a:gd name="T107" fmla="*/ 18 h 218"/>
                  <a:gd name="T108" fmla="*/ 334 w 480"/>
                  <a:gd name="T109" fmla="*/ 8 h 218"/>
                  <a:gd name="T110" fmla="*/ 288 w 480"/>
                  <a:gd name="T111" fmla="*/ 2 h 218"/>
                  <a:gd name="T112" fmla="*/ 240 w 480"/>
                  <a:gd name="T113" fmla="*/ 0 h 218"/>
                  <a:gd name="T114" fmla="*/ 240 w 480"/>
                  <a:gd name="T115"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0" h="218">
                    <a:moveTo>
                      <a:pt x="240" y="0"/>
                    </a:moveTo>
                    <a:lnTo>
                      <a:pt x="240" y="0"/>
                    </a:lnTo>
                    <a:lnTo>
                      <a:pt x="192" y="2"/>
                    </a:lnTo>
                    <a:lnTo>
                      <a:pt x="146" y="8"/>
                    </a:lnTo>
                    <a:lnTo>
                      <a:pt x="106" y="18"/>
                    </a:lnTo>
                    <a:lnTo>
                      <a:pt x="88" y="24"/>
                    </a:lnTo>
                    <a:lnTo>
                      <a:pt x="70" y="32"/>
                    </a:lnTo>
                    <a:lnTo>
                      <a:pt x="54" y="40"/>
                    </a:lnTo>
                    <a:lnTo>
                      <a:pt x="42" y="48"/>
                    </a:lnTo>
                    <a:lnTo>
                      <a:pt x="30" y="56"/>
                    </a:lnTo>
                    <a:lnTo>
                      <a:pt x="20" y="66"/>
                    </a:lnTo>
                    <a:lnTo>
                      <a:pt x="10" y="76"/>
                    </a:lnTo>
                    <a:lnTo>
                      <a:pt x="6" y="86"/>
                    </a:lnTo>
                    <a:lnTo>
                      <a:pt x="2" y="98"/>
                    </a:lnTo>
                    <a:lnTo>
                      <a:pt x="0" y="108"/>
                    </a:lnTo>
                    <a:lnTo>
                      <a:pt x="0" y="108"/>
                    </a:lnTo>
                    <a:lnTo>
                      <a:pt x="2" y="120"/>
                    </a:lnTo>
                    <a:lnTo>
                      <a:pt x="6" y="130"/>
                    </a:lnTo>
                    <a:lnTo>
                      <a:pt x="10" y="142"/>
                    </a:lnTo>
                    <a:lnTo>
                      <a:pt x="20" y="152"/>
                    </a:lnTo>
                    <a:lnTo>
                      <a:pt x="30" y="160"/>
                    </a:lnTo>
                    <a:lnTo>
                      <a:pt x="42" y="170"/>
                    </a:lnTo>
                    <a:lnTo>
                      <a:pt x="54" y="178"/>
                    </a:lnTo>
                    <a:lnTo>
                      <a:pt x="70" y="186"/>
                    </a:lnTo>
                    <a:lnTo>
                      <a:pt x="88" y="194"/>
                    </a:lnTo>
                    <a:lnTo>
                      <a:pt x="106" y="200"/>
                    </a:lnTo>
                    <a:lnTo>
                      <a:pt x="146" y="210"/>
                    </a:lnTo>
                    <a:lnTo>
                      <a:pt x="192" y="216"/>
                    </a:lnTo>
                    <a:lnTo>
                      <a:pt x="240" y="218"/>
                    </a:lnTo>
                    <a:lnTo>
                      <a:pt x="240" y="218"/>
                    </a:lnTo>
                    <a:lnTo>
                      <a:pt x="288" y="216"/>
                    </a:lnTo>
                    <a:lnTo>
                      <a:pt x="334" y="210"/>
                    </a:lnTo>
                    <a:lnTo>
                      <a:pt x="374" y="200"/>
                    </a:lnTo>
                    <a:lnTo>
                      <a:pt x="392" y="194"/>
                    </a:lnTo>
                    <a:lnTo>
                      <a:pt x="410" y="186"/>
                    </a:lnTo>
                    <a:lnTo>
                      <a:pt x="426" y="178"/>
                    </a:lnTo>
                    <a:lnTo>
                      <a:pt x="440" y="170"/>
                    </a:lnTo>
                    <a:lnTo>
                      <a:pt x="452" y="160"/>
                    </a:lnTo>
                    <a:lnTo>
                      <a:pt x="462" y="152"/>
                    </a:lnTo>
                    <a:lnTo>
                      <a:pt x="470" y="142"/>
                    </a:lnTo>
                    <a:lnTo>
                      <a:pt x="476" y="130"/>
                    </a:lnTo>
                    <a:lnTo>
                      <a:pt x="478" y="120"/>
                    </a:lnTo>
                    <a:lnTo>
                      <a:pt x="480" y="108"/>
                    </a:lnTo>
                    <a:lnTo>
                      <a:pt x="480" y="108"/>
                    </a:lnTo>
                    <a:lnTo>
                      <a:pt x="478" y="98"/>
                    </a:lnTo>
                    <a:lnTo>
                      <a:pt x="476" y="86"/>
                    </a:lnTo>
                    <a:lnTo>
                      <a:pt x="470" y="76"/>
                    </a:lnTo>
                    <a:lnTo>
                      <a:pt x="462" y="66"/>
                    </a:lnTo>
                    <a:lnTo>
                      <a:pt x="452" y="56"/>
                    </a:lnTo>
                    <a:lnTo>
                      <a:pt x="440" y="48"/>
                    </a:lnTo>
                    <a:lnTo>
                      <a:pt x="426" y="40"/>
                    </a:lnTo>
                    <a:lnTo>
                      <a:pt x="410" y="32"/>
                    </a:lnTo>
                    <a:lnTo>
                      <a:pt x="392" y="24"/>
                    </a:lnTo>
                    <a:lnTo>
                      <a:pt x="374" y="18"/>
                    </a:lnTo>
                    <a:lnTo>
                      <a:pt x="334" y="8"/>
                    </a:lnTo>
                    <a:lnTo>
                      <a:pt x="288" y="2"/>
                    </a:lnTo>
                    <a:lnTo>
                      <a:pt x="240" y="0"/>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5" name="Freeform 45"/>
              <p:cNvSpPr/>
              <p:nvPr/>
            </p:nvSpPr>
            <p:spPr bwMode="auto">
              <a:xfrm>
                <a:off x="7761927" y="2650586"/>
                <a:ext cx="664336" cy="240727"/>
              </a:xfrm>
              <a:custGeom>
                <a:avLst/>
                <a:gdLst>
                  <a:gd name="T0" fmla="*/ 200 w 400"/>
                  <a:gd name="T1" fmla="*/ 0 h 162"/>
                  <a:gd name="T2" fmla="*/ 200 w 400"/>
                  <a:gd name="T3" fmla="*/ 0 h 162"/>
                  <a:gd name="T4" fmla="*/ 160 w 400"/>
                  <a:gd name="T5" fmla="*/ 2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50 h 162"/>
                  <a:gd name="T18" fmla="*/ 10 w 400"/>
                  <a:gd name="T19" fmla="*/ 56 h 162"/>
                  <a:gd name="T20" fmla="*/ 4 w 400"/>
                  <a:gd name="T21" fmla="*/ 64 h 162"/>
                  <a:gd name="T22" fmla="*/ 2 w 400"/>
                  <a:gd name="T23" fmla="*/ 72 h 162"/>
                  <a:gd name="T24" fmla="*/ 0 w 400"/>
                  <a:gd name="T25" fmla="*/ 82 h 162"/>
                  <a:gd name="T26" fmla="*/ 0 w 400"/>
                  <a:gd name="T27" fmla="*/ 82 h 162"/>
                  <a:gd name="T28" fmla="*/ 2 w 400"/>
                  <a:gd name="T29" fmla="*/ 90 h 162"/>
                  <a:gd name="T30" fmla="*/ 4 w 400"/>
                  <a:gd name="T31" fmla="*/ 98 h 162"/>
                  <a:gd name="T32" fmla="*/ 10 w 400"/>
                  <a:gd name="T33" fmla="*/ 106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0 h 162"/>
                  <a:gd name="T48" fmla="*/ 200 w 400"/>
                  <a:gd name="T49" fmla="*/ 162 h 162"/>
                  <a:gd name="T50" fmla="*/ 200 w 400"/>
                  <a:gd name="T51" fmla="*/ 162 h 162"/>
                  <a:gd name="T52" fmla="*/ 240 w 400"/>
                  <a:gd name="T53" fmla="*/ 160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6 h 162"/>
                  <a:gd name="T68" fmla="*/ 396 w 400"/>
                  <a:gd name="T69" fmla="*/ 98 h 162"/>
                  <a:gd name="T70" fmla="*/ 400 w 400"/>
                  <a:gd name="T71" fmla="*/ 90 h 162"/>
                  <a:gd name="T72" fmla="*/ 400 w 400"/>
                  <a:gd name="T73" fmla="*/ 82 h 162"/>
                  <a:gd name="T74" fmla="*/ 400 w 400"/>
                  <a:gd name="T75" fmla="*/ 82 h 162"/>
                  <a:gd name="T76" fmla="*/ 400 w 400"/>
                  <a:gd name="T77" fmla="*/ 72 h 162"/>
                  <a:gd name="T78" fmla="*/ 396 w 400"/>
                  <a:gd name="T79" fmla="*/ 64 h 162"/>
                  <a:gd name="T80" fmla="*/ 392 w 400"/>
                  <a:gd name="T81" fmla="*/ 56 h 162"/>
                  <a:gd name="T82" fmla="*/ 384 w 400"/>
                  <a:gd name="T83" fmla="*/ 50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2 h 162"/>
                  <a:gd name="T96" fmla="*/ 200 w 400"/>
                  <a:gd name="T97" fmla="*/ 0 h 162"/>
                  <a:gd name="T98" fmla="*/ 200 w 400"/>
                  <a:gd name="T9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0" h="162">
                    <a:moveTo>
                      <a:pt x="200" y="0"/>
                    </a:moveTo>
                    <a:lnTo>
                      <a:pt x="200" y="0"/>
                    </a:lnTo>
                    <a:lnTo>
                      <a:pt x="160" y="2"/>
                    </a:lnTo>
                    <a:lnTo>
                      <a:pt x="122" y="6"/>
                    </a:lnTo>
                    <a:lnTo>
                      <a:pt x="88" y="14"/>
                    </a:lnTo>
                    <a:lnTo>
                      <a:pt x="58" y="24"/>
                    </a:lnTo>
                    <a:lnTo>
                      <a:pt x="34" y="36"/>
                    </a:lnTo>
                    <a:lnTo>
                      <a:pt x="24" y="42"/>
                    </a:lnTo>
                    <a:lnTo>
                      <a:pt x="16" y="50"/>
                    </a:lnTo>
                    <a:lnTo>
                      <a:pt x="10" y="56"/>
                    </a:lnTo>
                    <a:lnTo>
                      <a:pt x="4" y="64"/>
                    </a:lnTo>
                    <a:lnTo>
                      <a:pt x="2" y="72"/>
                    </a:lnTo>
                    <a:lnTo>
                      <a:pt x="0" y="82"/>
                    </a:lnTo>
                    <a:lnTo>
                      <a:pt x="0" y="82"/>
                    </a:lnTo>
                    <a:lnTo>
                      <a:pt x="2" y="90"/>
                    </a:lnTo>
                    <a:lnTo>
                      <a:pt x="4" y="98"/>
                    </a:lnTo>
                    <a:lnTo>
                      <a:pt x="10" y="106"/>
                    </a:lnTo>
                    <a:lnTo>
                      <a:pt x="16" y="112"/>
                    </a:lnTo>
                    <a:lnTo>
                      <a:pt x="24" y="120"/>
                    </a:lnTo>
                    <a:lnTo>
                      <a:pt x="34" y="126"/>
                    </a:lnTo>
                    <a:lnTo>
                      <a:pt x="58" y="138"/>
                    </a:lnTo>
                    <a:lnTo>
                      <a:pt x="88" y="148"/>
                    </a:lnTo>
                    <a:lnTo>
                      <a:pt x="122" y="156"/>
                    </a:lnTo>
                    <a:lnTo>
                      <a:pt x="160" y="160"/>
                    </a:lnTo>
                    <a:lnTo>
                      <a:pt x="200" y="162"/>
                    </a:lnTo>
                    <a:lnTo>
                      <a:pt x="200" y="162"/>
                    </a:lnTo>
                    <a:lnTo>
                      <a:pt x="240" y="160"/>
                    </a:lnTo>
                    <a:lnTo>
                      <a:pt x="278" y="156"/>
                    </a:lnTo>
                    <a:lnTo>
                      <a:pt x="312" y="148"/>
                    </a:lnTo>
                    <a:lnTo>
                      <a:pt x="342" y="138"/>
                    </a:lnTo>
                    <a:lnTo>
                      <a:pt x="366" y="126"/>
                    </a:lnTo>
                    <a:lnTo>
                      <a:pt x="376" y="120"/>
                    </a:lnTo>
                    <a:lnTo>
                      <a:pt x="384" y="112"/>
                    </a:lnTo>
                    <a:lnTo>
                      <a:pt x="392" y="106"/>
                    </a:lnTo>
                    <a:lnTo>
                      <a:pt x="396" y="98"/>
                    </a:lnTo>
                    <a:lnTo>
                      <a:pt x="400" y="90"/>
                    </a:lnTo>
                    <a:lnTo>
                      <a:pt x="400" y="82"/>
                    </a:lnTo>
                    <a:lnTo>
                      <a:pt x="400" y="82"/>
                    </a:lnTo>
                    <a:lnTo>
                      <a:pt x="400" y="72"/>
                    </a:lnTo>
                    <a:lnTo>
                      <a:pt x="396" y="64"/>
                    </a:lnTo>
                    <a:lnTo>
                      <a:pt x="392" y="56"/>
                    </a:lnTo>
                    <a:lnTo>
                      <a:pt x="384" y="50"/>
                    </a:lnTo>
                    <a:lnTo>
                      <a:pt x="376" y="42"/>
                    </a:lnTo>
                    <a:lnTo>
                      <a:pt x="366" y="36"/>
                    </a:lnTo>
                    <a:lnTo>
                      <a:pt x="342" y="24"/>
                    </a:lnTo>
                    <a:lnTo>
                      <a:pt x="312" y="14"/>
                    </a:lnTo>
                    <a:lnTo>
                      <a:pt x="278" y="6"/>
                    </a:lnTo>
                    <a:lnTo>
                      <a:pt x="240" y="2"/>
                    </a:lnTo>
                    <a:lnTo>
                      <a:pt x="20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6" name="Freeform 46"/>
              <p:cNvSpPr>
                <a:spLocks noEditPoints="1"/>
              </p:cNvSpPr>
              <p:nvPr/>
            </p:nvSpPr>
            <p:spPr bwMode="auto">
              <a:xfrm>
                <a:off x="7758606" y="2647615"/>
                <a:ext cx="670979" cy="246670"/>
              </a:xfrm>
              <a:custGeom>
                <a:avLst/>
                <a:gdLst>
                  <a:gd name="T0" fmla="*/ 212 w 404"/>
                  <a:gd name="T1" fmla="*/ 162 h 166"/>
                  <a:gd name="T2" fmla="*/ 192 w 404"/>
                  <a:gd name="T3" fmla="*/ 166 h 166"/>
                  <a:gd name="T4" fmla="*/ 222 w 404"/>
                  <a:gd name="T5" fmla="*/ 166 h 166"/>
                  <a:gd name="T6" fmla="*/ 222 w 404"/>
                  <a:gd name="T7" fmla="*/ 166 h 166"/>
                  <a:gd name="T8" fmla="*/ 164 w 404"/>
                  <a:gd name="T9" fmla="*/ 162 h 166"/>
                  <a:gd name="T10" fmla="*/ 250 w 404"/>
                  <a:gd name="T11" fmla="*/ 160 h 166"/>
                  <a:gd name="T12" fmla="*/ 154 w 404"/>
                  <a:gd name="T13" fmla="*/ 164 h 166"/>
                  <a:gd name="T14" fmla="*/ 260 w 404"/>
                  <a:gd name="T15" fmla="*/ 162 h 166"/>
                  <a:gd name="T16" fmla="*/ 260 w 404"/>
                  <a:gd name="T17" fmla="*/ 162 h 166"/>
                  <a:gd name="T18" fmla="*/ 126 w 404"/>
                  <a:gd name="T19" fmla="*/ 156 h 166"/>
                  <a:gd name="T20" fmla="*/ 288 w 404"/>
                  <a:gd name="T21" fmla="*/ 156 h 166"/>
                  <a:gd name="T22" fmla="*/ 116 w 404"/>
                  <a:gd name="T23" fmla="*/ 158 h 166"/>
                  <a:gd name="T24" fmla="*/ 298 w 404"/>
                  <a:gd name="T25" fmla="*/ 156 h 166"/>
                  <a:gd name="T26" fmla="*/ 298 w 404"/>
                  <a:gd name="T27" fmla="*/ 156 h 166"/>
                  <a:gd name="T28" fmla="*/ 88 w 404"/>
                  <a:gd name="T29" fmla="*/ 148 h 166"/>
                  <a:gd name="T30" fmla="*/ 324 w 404"/>
                  <a:gd name="T31" fmla="*/ 146 h 166"/>
                  <a:gd name="T32" fmla="*/ 78 w 404"/>
                  <a:gd name="T33" fmla="*/ 148 h 166"/>
                  <a:gd name="T34" fmla="*/ 334 w 404"/>
                  <a:gd name="T35" fmla="*/ 146 h 166"/>
                  <a:gd name="T36" fmla="*/ 334 w 404"/>
                  <a:gd name="T37" fmla="*/ 146 h 166"/>
                  <a:gd name="T38" fmla="*/ 52 w 404"/>
                  <a:gd name="T39" fmla="*/ 136 h 166"/>
                  <a:gd name="T40" fmla="*/ 360 w 404"/>
                  <a:gd name="T41" fmla="*/ 132 h 166"/>
                  <a:gd name="T42" fmla="*/ 42 w 404"/>
                  <a:gd name="T43" fmla="*/ 134 h 166"/>
                  <a:gd name="T44" fmla="*/ 370 w 404"/>
                  <a:gd name="T45" fmla="*/ 130 h 166"/>
                  <a:gd name="T46" fmla="*/ 370 w 404"/>
                  <a:gd name="T47" fmla="*/ 130 h 166"/>
                  <a:gd name="T48" fmla="*/ 20 w 404"/>
                  <a:gd name="T49" fmla="*/ 114 h 166"/>
                  <a:gd name="T50" fmla="*/ 390 w 404"/>
                  <a:gd name="T51" fmla="*/ 108 h 166"/>
                  <a:gd name="T52" fmla="*/ 12 w 404"/>
                  <a:gd name="T53" fmla="*/ 110 h 166"/>
                  <a:gd name="T54" fmla="*/ 398 w 404"/>
                  <a:gd name="T55" fmla="*/ 102 h 166"/>
                  <a:gd name="T56" fmla="*/ 398 w 404"/>
                  <a:gd name="T57" fmla="*/ 102 h 166"/>
                  <a:gd name="T58" fmla="*/ 4 w 404"/>
                  <a:gd name="T59" fmla="*/ 84 h 166"/>
                  <a:gd name="T60" fmla="*/ 402 w 404"/>
                  <a:gd name="T61" fmla="*/ 84 h 166"/>
                  <a:gd name="T62" fmla="*/ 404 w 404"/>
                  <a:gd name="T63" fmla="*/ 84 h 166"/>
                  <a:gd name="T64" fmla="*/ 8 w 404"/>
                  <a:gd name="T65" fmla="*/ 66 h 166"/>
                  <a:gd name="T66" fmla="*/ 390 w 404"/>
                  <a:gd name="T67" fmla="*/ 58 h 166"/>
                  <a:gd name="T68" fmla="*/ 12 w 404"/>
                  <a:gd name="T69" fmla="*/ 56 h 166"/>
                  <a:gd name="T70" fmla="*/ 14 w 404"/>
                  <a:gd name="T71" fmla="*/ 58 h 166"/>
                  <a:gd name="T72" fmla="*/ 386 w 404"/>
                  <a:gd name="T73" fmla="*/ 50 h 166"/>
                  <a:gd name="T74" fmla="*/ 36 w 404"/>
                  <a:gd name="T75" fmla="*/ 40 h 166"/>
                  <a:gd name="T76" fmla="*/ 360 w 404"/>
                  <a:gd name="T77" fmla="*/ 36 h 166"/>
                  <a:gd name="T78" fmla="*/ 42 w 404"/>
                  <a:gd name="T79" fmla="*/ 32 h 166"/>
                  <a:gd name="T80" fmla="*/ 44 w 404"/>
                  <a:gd name="T81" fmla="*/ 36 h 166"/>
                  <a:gd name="T82" fmla="*/ 354 w 404"/>
                  <a:gd name="T83" fmla="*/ 28 h 166"/>
                  <a:gd name="T84" fmla="*/ 70 w 404"/>
                  <a:gd name="T85" fmla="*/ 24 h 166"/>
                  <a:gd name="T86" fmla="*/ 326 w 404"/>
                  <a:gd name="T87" fmla="*/ 20 h 166"/>
                  <a:gd name="T88" fmla="*/ 78 w 404"/>
                  <a:gd name="T89" fmla="*/ 18 h 166"/>
                  <a:gd name="T90" fmla="*/ 80 w 404"/>
                  <a:gd name="T91" fmla="*/ 20 h 166"/>
                  <a:gd name="T92" fmla="*/ 318 w 404"/>
                  <a:gd name="T93" fmla="*/ 14 h 166"/>
                  <a:gd name="T94" fmla="*/ 106 w 404"/>
                  <a:gd name="T95" fmla="*/ 14 h 166"/>
                  <a:gd name="T96" fmla="*/ 288 w 404"/>
                  <a:gd name="T97" fmla="*/ 12 h 166"/>
                  <a:gd name="T98" fmla="*/ 116 w 404"/>
                  <a:gd name="T99" fmla="*/ 8 h 166"/>
                  <a:gd name="T100" fmla="*/ 116 w 404"/>
                  <a:gd name="T101" fmla="*/ 12 h 166"/>
                  <a:gd name="T102" fmla="*/ 280 w 404"/>
                  <a:gd name="T103" fmla="*/ 6 h 166"/>
                  <a:gd name="T104" fmla="*/ 144 w 404"/>
                  <a:gd name="T105" fmla="*/ 6 h 166"/>
                  <a:gd name="T106" fmla="*/ 250 w 404"/>
                  <a:gd name="T107" fmla="*/ 6 h 166"/>
                  <a:gd name="T108" fmla="*/ 154 w 404"/>
                  <a:gd name="T109" fmla="*/ 2 h 166"/>
                  <a:gd name="T110" fmla="*/ 154 w 404"/>
                  <a:gd name="T111" fmla="*/ 6 h 166"/>
                  <a:gd name="T112" fmla="*/ 242 w 404"/>
                  <a:gd name="T113" fmla="*/ 2 h 166"/>
                  <a:gd name="T114" fmla="*/ 182 w 404"/>
                  <a:gd name="T115" fmla="*/ 4 h 166"/>
                  <a:gd name="T116" fmla="*/ 212 w 404"/>
                  <a:gd name="T117" fmla="*/ 4 h 166"/>
                  <a:gd name="T118" fmla="*/ 192 w 404"/>
                  <a:gd name="T119" fmla="*/ 0 h 166"/>
                  <a:gd name="T120" fmla="*/ 202 w 404"/>
                  <a:gd name="T121"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4" h="166">
                    <a:moveTo>
                      <a:pt x="202" y="166"/>
                    </a:moveTo>
                    <a:lnTo>
                      <a:pt x="202" y="164"/>
                    </a:lnTo>
                    <a:lnTo>
                      <a:pt x="202" y="162"/>
                    </a:lnTo>
                    <a:lnTo>
                      <a:pt x="202" y="162"/>
                    </a:lnTo>
                    <a:lnTo>
                      <a:pt x="202" y="162"/>
                    </a:lnTo>
                    <a:lnTo>
                      <a:pt x="212" y="162"/>
                    </a:lnTo>
                    <a:lnTo>
                      <a:pt x="212" y="166"/>
                    </a:lnTo>
                    <a:lnTo>
                      <a:pt x="212" y="166"/>
                    </a:lnTo>
                    <a:lnTo>
                      <a:pt x="202" y="166"/>
                    </a:lnTo>
                    <a:lnTo>
                      <a:pt x="202" y="166"/>
                    </a:lnTo>
                    <a:close/>
                    <a:moveTo>
                      <a:pt x="192" y="166"/>
                    </a:moveTo>
                    <a:lnTo>
                      <a:pt x="192" y="166"/>
                    </a:lnTo>
                    <a:lnTo>
                      <a:pt x="182" y="166"/>
                    </a:lnTo>
                    <a:lnTo>
                      <a:pt x="182" y="162"/>
                    </a:lnTo>
                    <a:lnTo>
                      <a:pt x="182" y="162"/>
                    </a:lnTo>
                    <a:lnTo>
                      <a:pt x="192" y="162"/>
                    </a:lnTo>
                    <a:lnTo>
                      <a:pt x="192" y="166"/>
                    </a:lnTo>
                    <a:close/>
                    <a:moveTo>
                      <a:pt x="222" y="166"/>
                    </a:moveTo>
                    <a:lnTo>
                      <a:pt x="222" y="162"/>
                    </a:lnTo>
                    <a:lnTo>
                      <a:pt x="222" y="162"/>
                    </a:lnTo>
                    <a:lnTo>
                      <a:pt x="230" y="162"/>
                    </a:lnTo>
                    <a:lnTo>
                      <a:pt x="230" y="166"/>
                    </a:lnTo>
                    <a:lnTo>
                      <a:pt x="230" y="166"/>
                    </a:lnTo>
                    <a:lnTo>
                      <a:pt x="222" y="166"/>
                    </a:lnTo>
                    <a:lnTo>
                      <a:pt x="222" y="166"/>
                    </a:lnTo>
                    <a:close/>
                    <a:moveTo>
                      <a:pt x="172" y="166"/>
                    </a:moveTo>
                    <a:lnTo>
                      <a:pt x="172" y="166"/>
                    </a:lnTo>
                    <a:lnTo>
                      <a:pt x="164" y="164"/>
                    </a:lnTo>
                    <a:lnTo>
                      <a:pt x="164" y="162"/>
                    </a:lnTo>
                    <a:lnTo>
                      <a:pt x="164" y="162"/>
                    </a:lnTo>
                    <a:lnTo>
                      <a:pt x="174" y="162"/>
                    </a:lnTo>
                    <a:lnTo>
                      <a:pt x="172" y="166"/>
                    </a:lnTo>
                    <a:close/>
                    <a:moveTo>
                      <a:pt x="240" y="164"/>
                    </a:moveTo>
                    <a:lnTo>
                      <a:pt x="240" y="162"/>
                    </a:lnTo>
                    <a:lnTo>
                      <a:pt x="240" y="162"/>
                    </a:lnTo>
                    <a:lnTo>
                      <a:pt x="250" y="160"/>
                    </a:lnTo>
                    <a:lnTo>
                      <a:pt x="250" y="164"/>
                    </a:lnTo>
                    <a:lnTo>
                      <a:pt x="250" y="164"/>
                    </a:lnTo>
                    <a:lnTo>
                      <a:pt x="240" y="164"/>
                    </a:lnTo>
                    <a:lnTo>
                      <a:pt x="240" y="164"/>
                    </a:lnTo>
                    <a:close/>
                    <a:moveTo>
                      <a:pt x="154" y="164"/>
                    </a:moveTo>
                    <a:lnTo>
                      <a:pt x="154" y="164"/>
                    </a:lnTo>
                    <a:lnTo>
                      <a:pt x="144" y="162"/>
                    </a:lnTo>
                    <a:lnTo>
                      <a:pt x="144" y="160"/>
                    </a:lnTo>
                    <a:lnTo>
                      <a:pt x="144" y="160"/>
                    </a:lnTo>
                    <a:lnTo>
                      <a:pt x="154" y="160"/>
                    </a:lnTo>
                    <a:lnTo>
                      <a:pt x="154" y="164"/>
                    </a:lnTo>
                    <a:close/>
                    <a:moveTo>
                      <a:pt x="260" y="162"/>
                    </a:moveTo>
                    <a:lnTo>
                      <a:pt x="260" y="160"/>
                    </a:lnTo>
                    <a:lnTo>
                      <a:pt x="260" y="160"/>
                    </a:lnTo>
                    <a:lnTo>
                      <a:pt x="268" y="158"/>
                    </a:lnTo>
                    <a:lnTo>
                      <a:pt x="270" y="162"/>
                    </a:lnTo>
                    <a:lnTo>
                      <a:pt x="270" y="162"/>
                    </a:lnTo>
                    <a:lnTo>
                      <a:pt x="260" y="162"/>
                    </a:lnTo>
                    <a:lnTo>
                      <a:pt x="260" y="162"/>
                    </a:lnTo>
                    <a:close/>
                    <a:moveTo>
                      <a:pt x="134" y="162"/>
                    </a:moveTo>
                    <a:lnTo>
                      <a:pt x="134" y="162"/>
                    </a:lnTo>
                    <a:lnTo>
                      <a:pt x="126" y="160"/>
                    </a:lnTo>
                    <a:lnTo>
                      <a:pt x="126" y="156"/>
                    </a:lnTo>
                    <a:lnTo>
                      <a:pt x="126" y="156"/>
                    </a:lnTo>
                    <a:lnTo>
                      <a:pt x="136" y="158"/>
                    </a:lnTo>
                    <a:lnTo>
                      <a:pt x="134" y="162"/>
                    </a:lnTo>
                    <a:close/>
                    <a:moveTo>
                      <a:pt x="278" y="160"/>
                    </a:moveTo>
                    <a:lnTo>
                      <a:pt x="278" y="156"/>
                    </a:lnTo>
                    <a:lnTo>
                      <a:pt x="278" y="156"/>
                    </a:lnTo>
                    <a:lnTo>
                      <a:pt x="288" y="156"/>
                    </a:lnTo>
                    <a:lnTo>
                      <a:pt x="288" y="158"/>
                    </a:lnTo>
                    <a:lnTo>
                      <a:pt x="288" y="158"/>
                    </a:lnTo>
                    <a:lnTo>
                      <a:pt x="278" y="160"/>
                    </a:lnTo>
                    <a:lnTo>
                      <a:pt x="278" y="160"/>
                    </a:lnTo>
                    <a:close/>
                    <a:moveTo>
                      <a:pt x="116" y="158"/>
                    </a:moveTo>
                    <a:lnTo>
                      <a:pt x="116" y="158"/>
                    </a:lnTo>
                    <a:lnTo>
                      <a:pt x="106" y="156"/>
                    </a:lnTo>
                    <a:lnTo>
                      <a:pt x="106" y="152"/>
                    </a:lnTo>
                    <a:lnTo>
                      <a:pt x="106" y="152"/>
                    </a:lnTo>
                    <a:lnTo>
                      <a:pt x="116" y="154"/>
                    </a:lnTo>
                    <a:lnTo>
                      <a:pt x="116" y="158"/>
                    </a:lnTo>
                    <a:close/>
                    <a:moveTo>
                      <a:pt x="298" y="156"/>
                    </a:moveTo>
                    <a:lnTo>
                      <a:pt x="298" y="154"/>
                    </a:lnTo>
                    <a:lnTo>
                      <a:pt x="298" y="154"/>
                    </a:lnTo>
                    <a:lnTo>
                      <a:pt x="306" y="150"/>
                    </a:lnTo>
                    <a:lnTo>
                      <a:pt x="308" y="154"/>
                    </a:lnTo>
                    <a:lnTo>
                      <a:pt x="308" y="154"/>
                    </a:lnTo>
                    <a:lnTo>
                      <a:pt x="298" y="156"/>
                    </a:lnTo>
                    <a:lnTo>
                      <a:pt x="298" y="156"/>
                    </a:lnTo>
                    <a:close/>
                    <a:moveTo>
                      <a:pt x="96" y="154"/>
                    </a:moveTo>
                    <a:lnTo>
                      <a:pt x="96" y="154"/>
                    </a:lnTo>
                    <a:lnTo>
                      <a:pt x="88" y="152"/>
                    </a:lnTo>
                    <a:lnTo>
                      <a:pt x="88" y="148"/>
                    </a:lnTo>
                    <a:lnTo>
                      <a:pt x="88" y="148"/>
                    </a:lnTo>
                    <a:lnTo>
                      <a:pt x="98" y="150"/>
                    </a:lnTo>
                    <a:lnTo>
                      <a:pt x="96" y="154"/>
                    </a:lnTo>
                    <a:close/>
                    <a:moveTo>
                      <a:pt x="316" y="152"/>
                    </a:moveTo>
                    <a:lnTo>
                      <a:pt x="316" y="148"/>
                    </a:lnTo>
                    <a:lnTo>
                      <a:pt x="316" y="148"/>
                    </a:lnTo>
                    <a:lnTo>
                      <a:pt x="324" y="146"/>
                    </a:lnTo>
                    <a:lnTo>
                      <a:pt x="326" y="148"/>
                    </a:lnTo>
                    <a:lnTo>
                      <a:pt x="326" y="148"/>
                    </a:lnTo>
                    <a:lnTo>
                      <a:pt x="316" y="152"/>
                    </a:lnTo>
                    <a:lnTo>
                      <a:pt x="316" y="152"/>
                    </a:lnTo>
                    <a:close/>
                    <a:moveTo>
                      <a:pt x="78" y="148"/>
                    </a:moveTo>
                    <a:lnTo>
                      <a:pt x="78" y="148"/>
                    </a:lnTo>
                    <a:lnTo>
                      <a:pt x="68" y="146"/>
                    </a:lnTo>
                    <a:lnTo>
                      <a:pt x="70" y="142"/>
                    </a:lnTo>
                    <a:lnTo>
                      <a:pt x="70" y="142"/>
                    </a:lnTo>
                    <a:lnTo>
                      <a:pt x="80" y="146"/>
                    </a:lnTo>
                    <a:lnTo>
                      <a:pt x="78" y="148"/>
                    </a:lnTo>
                    <a:close/>
                    <a:moveTo>
                      <a:pt x="334" y="146"/>
                    </a:moveTo>
                    <a:lnTo>
                      <a:pt x="334" y="142"/>
                    </a:lnTo>
                    <a:lnTo>
                      <a:pt x="334" y="142"/>
                    </a:lnTo>
                    <a:lnTo>
                      <a:pt x="342" y="140"/>
                    </a:lnTo>
                    <a:lnTo>
                      <a:pt x="344" y="142"/>
                    </a:lnTo>
                    <a:lnTo>
                      <a:pt x="344" y="142"/>
                    </a:lnTo>
                    <a:lnTo>
                      <a:pt x="334" y="146"/>
                    </a:lnTo>
                    <a:lnTo>
                      <a:pt x="334" y="146"/>
                    </a:lnTo>
                    <a:close/>
                    <a:moveTo>
                      <a:pt x="60" y="142"/>
                    </a:moveTo>
                    <a:lnTo>
                      <a:pt x="60" y="142"/>
                    </a:lnTo>
                    <a:lnTo>
                      <a:pt x="50" y="138"/>
                    </a:lnTo>
                    <a:lnTo>
                      <a:pt x="52" y="136"/>
                    </a:lnTo>
                    <a:lnTo>
                      <a:pt x="52" y="136"/>
                    </a:lnTo>
                    <a:lnTo>
                      <a:pt x="62" y="140"/>
                    </a:lnTo>
                    <a:lnTo>
                      <a:pt x="60" y="142"/>
                    </a:lnTo>
                    <a:close/>
                    <a:moveTo>
                      <a:pt x="352" y="138"/>
                    </a:moveTo>
                    <a:lnTo>
                      <a:pt x="352" y="136"/>
                    </a:lnTo>
                    <a:lnTo>
                      <a:pt x="352" y="136"/>
                    </a:lnTo>
                    <a:lnTo>
                      <a:pt x="360" y="132"/>
                    </a:lnTo>
                    <a:lnTo>
                      <a:pt x="362" y="134"/>
                    </a:lnTo>
                    <a:lnTo>
                      <a:pt x="362" y="134"/>
                    </a:lnTo>
                    <a:lnTo>
                      <a:pt x="352" y="138"/>
                    </a:lnTo>
                    <a:lnTo>
                      <a:pt x="352" y="138"/>
                    </a:lnTo>
                    <a:close/>
                    <a:moveTo>
                      <a:pt x="42" y="134"/>
                    </a:moveTo>
                    <a:lnTo>
                      <a:pt x="42" y="134"/>
                    </a:lnTo>
                    <a:lnTo>
                      <a:pt x="34" y="128"/>
                    </a:lnTo>
                    <a:lnTo>
                      <a:pt x="36" y="126"/>
                    </a:lnTo>
                    <a:lnTo>
                      <a:pt x="36" y="126"/>
                    </a:lnTo>
                    <a:lnTo>
                      <a:pt x="44" y="130"/>
                    </a:lnTo>
                    <a:lnTo>
                      <a:pt x="42" y="134"/>
                    </a:lnTo>
                    <a:close/>
                    <a:moveTo>
                      <a:pt x="370" y="130"/>
                    </a:moveTo>
                    <a:lnTo>
                      <a:pt x="368" y="126"/>
                    </a:lnTo>
                    <a:lnTo>
                      <a:pt x="368" y="126"/>
                    </a:lnTo>
                    <a:lnTo>
                      <a:pt x="376" y="122"/>
                    </a:lnTo>
                    <a:lnTo>
                      <a:pt x="378" y="124"/>
                    </a:lnTo>
                    <a:lnTo>
                      <a:pt x="378" y="124"/>
                    </a:lnTo>
                    <a:lnTo>
                      <a:pt x="370" y="130"/>
                    </a:lnTo>
                    <a:lnTo>
                      <a:pt x="370" y="130"/>
                    </a:lnTo>
                    <a:close/>
                    <a:moveTo>
                      <a:pt x="26" y="124"/>
                    </a:moveTo>
                    <a:lnTo>
                      <a:pt x="26" y="124"/>
                    </a:lnTo>
                    <a:lnTo>
                      <a:pt x="18" y="118"/>
                    </a:lnTo>
                    <a:lnTo>
                      <a:pt x="20" y="114"/>
                    </a:lnTo>
                    <a:lnTo>
                      <a:pt x="20" y="114"/>
                    </a:lnTo>
                    <a:lnTo>
                      <a:pt x="28" y="120"/>
                    </a:lnTo>
                    <a:lnTo>
                      <a:pt x="26" y="124"/>
                    </a:lnTo>
                    <a:close/>
                    <a:moveTo>
                      <a:pt x="386" y="118"/>
                    </a:moveTo>
                    <a:lnTo>
                      <a:pt x="384" y="116"/>
                    </a:lnTo>
                    <a:lnTo>
                      <a:pt x="384" y="116"/>
                    </a:lnTo>
                    <a:lnTo>
                      <a:pt x="390" y="108"/>
                    </a:lnTo>
                    <a:lnTo>
                      <a:pt x="392" y="110"/>
                    </a:lnTo>
                    <a:lnTo>
                      <a:pt x="392" y="110"/>
                    </a:lnTo>
                    <a:lnTo>
                      <a:pt x="386" y="118"/>
                    </a:lnTo>
                    <a:lnTo>
                      <a:pt x="386" y="118"/>
                    </a:lnTo>
                    <a:close/>
                    <a:moveTo>
                      <a:pt x="12" y="110"/>
                    </a:moveTo>
                    <a:lnTo>
                      <a:pt x="12" y="110"/>
                    </a:lnTo>
                    <a:lnTo>
                      <a:pt x="6" y="102"/>
                    </a:lnTo>
                    <a:lnTo>
                      <a:pt x="8" y="100"/>
                    </a:lnTo>
                    <a:lnTo>
                      <a:pt x="8" y="100"/>
                    </a:lnTo>
                    <a:lnTo>
                      <a:pt x="14" y="108"/>
                    </a:lnTo>
                    <a:lnTo>
                      <a:pt x="12" y="110"/>
                    </a:lnTo>
                    <a:close/>
                    <a:moveTo>
                      <a:pt x="398" y="102"/>
                    </a:moveTo>
                    <a:lnTo>
                      <a:pt x="396" y="100"/>
                    </a:lnTo>
                    <a:lnTo>
                      <a:pt x="396" y="100"/>
                    </a:lnTo>
                    <a:lnTo>
                      <a:pt x="400" y="92"/>
                    </a:lnTo>
                    <a:lnTo>
                      <a:pt x="402" y="94"/>
                    </a:lnTo>
                    <a:lnTo>
                      <a:pt x="402" y="94"/>
                    </a:lnTo>
                    <a:lnTo>
                      <a:pt x="398" y="102"/>
                    </a:lnTo>
                    <a:lnTo>
                      <a:pt x="398" y="102"/>
                    </a:lnTo>
                    <a:close/>
                    <a:moveTo>
                      <a:pt x="2" y="92"/>
                    </a:moveTo>
                    <a:lnTo>
                      <a:pt x="2" y="92"/>
                    </a:lnTo>
                    <a:lnTo>
                      <a:pt x="0" y="84"/>
                    </a:lnTo>
                    <a:lnTo>
                      <a:pt x="4" y="82"/>
                    </a:lnTo>
                    <a:lnTo>
                      <a:pt x="4" y="84"/>
                    </a:lnTo>
                    <a:lnTo>
                      <a:pt x="4" y="84"/>
                    </a:lnTo>
                    <a:lnTo>
                      <a:pt x="6" y="92"/>
                    </a:lnTo>
                    <a:lnTo>
                      <a:pt x="2" y="92"/>
                    </a:lnTo>
                    <a:close/>
                    <a:moveTo>
                      <a:pt x="404" y="84"/>
                    </a:moveTo>
                    <a:lnTo>
                      <a:pt x="400" y="84"/>
                    </a:lnTo>
                    <a:lnTo>
                      <a:pt x="402" y="84"/>
                    </a:lnTo>
                    <a:lnTo>
                      <a:pt x="400" y="84"/>
                    </a:lnTo>
                    <a:lnTo>
                      <a:pt x="400" y="84"/>
                    </a:lnTo>
                    <a:lnTo>
                      <a:pt x="400" y="74"/>
                    </a:lnTo>
                    <a:lnTo>
                      <a:pt x="402" y="74"/>
                    </a:lnTo>
                    <a:lnTo>
                      <a:pt x="402" y="74"/>
                    </a:lnTo>
                    <a:lnTo>
                      <a:pt x="404" y="84"/>
                    </a:lnTo>
                    <a:lnTo>
                      <a:pt x="404" y="84"/>
                    </a:lnTo>
                    <a:close/>
                    <a:moveTo>
                      <a:pt x="6" y="74"/>
                    </a:moveTo>
                    <a:lnTo>
                      <a:pt x="2" y="74"/>
                    </a:lnTo>
                    <a:lnTo>
                      <a:pt x="2" y="74"/>
                    </a:lnTo>
                    <a:lnTo>
                      <a:pt x="6" y="64"/>
                    </a:lnTo>
                    <a:lnTo>
                      <a:pt x="8" y="66"/>
                    </a:lnTo>
                    <a:lnTo>
                      <a:pt x="8" y="66"/>
                    </a:lnTo>
                    <a:lnTo>
                      <a:pt x="6" y="74"/>
                    </a:lnTo>
                    <a:lnTo>
                      <a:pt x="6" y="74"/>
                    </a:lnTo>
                    <a:close/>
                    <a:moveTo>
                      <a:pt x="396" y="66"/>
                    </a:moveTo>
                    <a:lnTo>
                      <a:pt x="396" y="66"/>
                    </a:lnTo>
                    <a:lnTo>
                      <a:pt x="390" y="58"/>
                    </a:lnTo>
                    <a:lnTo>
                      <a:pt x="392" y="56"/>
                    </a:lnTo>
                    <a:lnTo>
                      <a:pt x="392" y="56"/>
                    </a:lnTo>
                    <a:lnTo>
                      <a:pt x="398" y="64"/>
                    </a:lnTo>
                    <a:lnTo>
                      <a:pt x="396" y="66"/>
                    </a:lnTo>
                    <a:close/>
                    <a:moveTo>
                      <a:pt x="14" y="58"/>
                    </a:moveTo>
                    <a:lnTo>
                      <a:pt x="12" y="56"/>
                    </a:lnTo>
                    <a:lnTo>
                      <a:pt x="12" y="56"/>
                    </a:lnTo>
                    <a:lnTo>
                      <a:pt x="18" y="48"/>
                    </a:lnTo>
                    <a:lnTo>
                      <a:pt x="20" y="52"/>
                    </a:lnTo>
                    <a:lnTo>
                      <a:pt x="20" y="52"/>
                    </a:lnTo>
                    <a:lnTo>
                      <a:pt x="14" y="58"/>
                    </a:lnTo>
                    <a:lnTo>
                      <a:pt x="14" y="58"/>
                    </a:lnTo>
                    <a:close/>
                    <a:moveTo>
                      <a:pt x="384" y="52"/>
                    </a:moveTo>
                    <a:lnTo>
                      <a:pt x="384" y="52"/>
                    </a:lnTo>
                    <a:lnTo>
                      <a:pt x="376" y="46"/>
                    </a:lnTo>
                    <a:lnTo>
                      <a:pt x="378" y="42"/>
                    </a:lnTo>
                    <a:lnTo>
                      <a:pt x="378" y="42"/>
                    </a:lnTo>
                    <a:lnTo>
                      <a:pt x="386" y="50"/>
                    </a:lnTo>
                    <a:lnTo>
                      <a:pt x="384" y="52"/>
                    </a:lnTo>
                    <a:close/>
                    <a:moveTo>
                      <a:pt x="28" y="46"/>
                    </a:moveTo>
                    <a:lnTo>
                      <a:pt x="26" y="42"/>
                    </a:lnTo>
                    <a:lnTo>
                      <a:pt x="26" y="42"/>
                    </a:lnTo>
                    <a:lnTo>
                      <a:pt x="34" y="38"/>
                    </a:lnTo>
                    <a:lnTo>
                      <a:pt x="36" y="40"/>
                    </a:lnTo>
                    <a:lnTo>
                      <a:pt x="36" y="40"/>
                    </a:lnTo>
                    <a:lnTo>
                      <a:pt x="28" y="46"/>
                    </a:lnTo>
                    <a:lnTo>
                      <a:pt x="28" y="46"/>
                    </a:lnTo>
                    <a:close/>
                    <a:moveTo>
                      <a:pt x="368" y="40"/>
                    </a:moveTo>
                    <a:lnTo>
                      <a:pt x="368" y="40"/>
                    </a:lnTo>
                    <a:lnTo>
                      <a:pt x="360" y="36"/>
                    </a:lnTo>
                    <a:lnTo>
                      <a:pt x="362" y="32"/>
                    </a:lnTo>
                    <a:lnTo>
                      <a:pt x="362" y="32"/>
                    </a:lnTo>
                    <a:lnTo>
                      <a:pt x="370" y="38"/>
                    </a:lnTo>
                    <a:lnTo>
                      <a:pt x="368" y="40"/>
                    </a:lnTo>
                    <a:close/>
                    <a:moveTo>
                      <a:pt x="44" y="36"/>
                    </a:moveTo>
                    <a:lnTo>
                      <a:pt x="42" y="32"/>
                    </a:lnTo>
                    <a:lnTo>
                      <a:pt x="42" y="32"/>
                    </a:lnTo>
                    <a:lnTo>
                      <a:pt x="52" y="28"/>
                    </a:lnTo>
                    <a:lnTo>
                      <a:pt x="52" y="30"/>
                    </a:lnTo>
                    <a:lnTo>
                      <a:pt x="52" y="30"/>
                    </a:lnTo>
                    <a:lnTo>
                      <a:pt x="44" y="36"/>
                    </a:lnTo>
                    <a:lnTo>
                      <a:pt x="44" y="36"/>
                    </a:lnTo>
                    <a:close/>
                    <a:moveTo>
                      <a:pt x="352" y="32"/>
                    </a:moveTo>
                    <a:lnTo>
                      <a:pt x="352" y="32"/>
                    </a:lnTo>
                    <a:lnTo>
                      <a:pt x="344" y="28"/>
                    </a:lnTo>
                    <a:lnTo>
                      <a:pt x="344" y="24"/>
                    </a:lnTo>
                    <a:lnTo>
                      <a:pt x="344" y="24"/>
                    </a:lnTo>
                    <a:lnTo>
                      <a:pt x="354" y="28"/>
                    </a:lnTo>
                    <a:lnTo>
                      <a:pt x="352" y="32"/>
                    </a:lnTo>
                    <a:close/>
                    <a:moveTo>
                      <a:pt x="62" y="28"/>
                    </a:moveTo>
                    <a:lnTo>
                      <a:pt x="60" y="24"/>
                    </a:lnTo>
                    <a:lnTo>
                      <a:pt x="60" y="24"/>
                    </a:lnTo>
                    <a:lnTo>
                      <a:pt x="70" y="20"/>
                    </a:lnTo>
                    <a:lnTo>
                      <a:pt x="70" y="24"/>
                    </a:lnTo>
                    <a:lnTo>
                      <a:pt x="70" y="24"/>
                    </a:lnTo>
                    <a:lnTo>
                      <a:pt x="62" y="28"/>
                    </a:lnTo>
                    <a:lnTo>
                      <a:pt x="62" y="28"/>
                    </a:lnTo>
                    <a:close/>
                    <a:moveTo>
                      <a:pt x="334" y="24"/>
                    </a:moveTo>
                    <a:lnTo>
                      <a:pt x="334" y="24"/>
                    </a:lnTo>
                    <a:lnTo>
                      <a:pt x="326" y="20"/>
                    </a:lnTo>
                    <a:lnTo>
                      <a:pt x="326" y="18"/>
                    </a:lnTo>
                    <a:lnTo>
                      <a:pt x="326" y="18"/>
                    </a:lnTo>
                    <a:lnTo>
                      <a:pt x="336" y="20"/>
                    </a:lnTo>
                    <a:lnTo>
                      <a:pt x="334" y="24"/>
                    </a:lnTo>
                    <a:close/>
                    <a:moveTo>
                      <a:pt x="80" y="20"/>
                    </a:moveTo>
                    <a:lnTo>
                      <a:pt x="78" y="18"/>
                    </a:lnTo>
                    <a:lnTo>
                      <a:pt x="78" y="18"/>
                    </a:lnTo>
                    <a:lnTo>
                      <a:pt x="88" y="14"/>
                    </a:lnTo>
                    <a:lnTo>
                      <a:pt x="88" y="18"/>
                    </a:lnTo>
                    <a:lnTo>
                      <a:pt x="88" y="18"/>
                    </a:lnTo>
                    <a:lnTo>
                      <a:pt x="80" y="20"/>
                    </a:lnTo>
                    <a:lnTo>
                      <a:pt x="80" y="20"/>
                    </a:lnTo>
                    <a:close/>
                    <a:moveTo>
                      <a:pt x="316" y="18"/>
                    </a:moveTo>
                    <a:lnTo>
                      <a:pt x="316" y="18"/>
                    </a:lnTo>
                    <a:lnTo>
                      <a:pt x="306" y="16"/>
                    </a:lnTo>
                    <a:lnTo>
                      <a:pt x="308" y="12"/>
                    </a:lnTo>
                    <a:lnTo>
                      <a:pt x="308" y="12"/>
                    </a:lnTo>
                    <a:lnTo>
                      <a:pt x="318" y="14"/>
                    </a:lnTo>
                    <a:lnTo>
                      <a:pt x="316" y="18"/>
                    </a:lnTo>
                    <a:close/>
                    <a:moveTo>
                      <a:pt x="98" y="16"/>
                    </a:moveTo>
                    <a:lnTo>
                      <a:pt x="96" y="12"/>
                    </a:lnTo>
                    <a:lnTo>
                      <a:pt x="96" y="12"/>
                    </a:lnTo>
                    <a:lnTo>
                      <a:pt x="106" y="10"/>
                    </a:lnTo>
                    <a:lnTo>
                      <a:pt x="106" y="14"/>
                    </a:lnTo>
                    <a:lnTo>
                      <a:pt x="106" y="14"/>
                    </a:lnTo>
                    <a:lnTo>
                      <a:pt x="98" y="16"/>
                    </a:lnTo>
                    <a:lnTo>
                      <a:pt x="98" y="16"/>
                    </a:lnTo>
                    <a:close/>
                    <a:moveTo>
                      <a:pt x="298" y="14"/>
                    </a:moveTo>
                    <a:lnTo>
                      <a:pt x="298" y="14"/>
                    </a:lnTo>
                    <a:lnTo>
                      <a:pt x="288" y="12"/>
                    </a:lnTo>
                    <a:lnTo>
                      <a:pt x="288" y="8"/>
                    </a:lnTo>
                    <a:lnTo>
                      <a:pt x="288" y="8"/>
                    </a:lnTo>
                    <a:lnTo>
                      <a:pt x="298" y="10"/>
                    </a:lnTo>
                    <a:lnTo>
                      <a:pt x="298" y="14"/>
                    </a:lnTo>
                    <a:close/>
                    <a:moveTo>
                      <a:pt x="116" y="12"/>
                    </a:moveTo>
                    <a:lnTo>
                      <a:pt x="116" y="8"/>
                    </a:lnTo>
                    <a:lnTo>
                      <a:pt x="116" y="8"/>
                    </a:lnTo>
                    <a:lnTo>
                      <a:pt x="126" y="6"/>
                    </a:lnTo>
                    <a:lnTo>
                      <a:pt x="126" y="10"/>
                    </a:lnTo>
                    <a:lnTo>
                      <a:pt x="126" y="10"/>
                    </a:lnTo>
                    <a:lnTo>
                      <a:pt x="116" y="12"/>
                    </a:lnTo>
                    <a:lnTo>
                      <a:pt x="116" y="12"/>
                    </a:lnTo>
                    <a:close/>
                    <a:moveTo>
                      <a:pt x="278" y="10"/>
                    </a:moveTo>
                    <a:lnTo>
                      <a:pt x="278" y="10"/>
                    </a:lnTo>
                    <a:lnTo>
                      <a:pt x="270" y="8"/>
                    </a:lnTo>
                    <a:lnTo>
                      <a:pt x="270" y="4"/>
                    </a:lnTo>
                    <a:lnTo>
                      <a:pt x="270" y="4"/>
                    </a:lnTo>
                    <a:lnTo>
                      <a:pt x="280" y="6"/>
                    </a:lnTo>
                    <a:lnTo>
                      <a:pt x="278" y="10"/>
                    </a:lnTo>
                    <a:close/>
                    <a:moveTo>
                      <a:pt x="136" y="8"/>
                    </a:moveTo>
                    <a:lnTo>
                      <a:pt x="134" y="4"/>
                    </a:lnTo>
                    <a:lnTo>
                      <a:pt x="134" y="4"/>
                    </a:lnTo>
                    <a:lnTo>
                      <a:pt x="144" y="4"/>
                    </a:lnTo>
                    <a:lnTo>
                      <a:pt x="144" y="6"/>
                    </a:lnTo>
                    <a:lnTo>
                      <a:pt x="144" y="6"/>
                    </a:lnTo>
                    <a:lnTo>
                      <a:pt x="136" y="8"/>
                    </a:lnTo>
                    <a:lnTo>
                      <a:pt x="136" y="8"/>
                    </a:lnTo>
                    <a:close/>
                    <a:moveTo>
                      <a:pt x="260" y="6"/>
                    </a:moveTo>
                    <a:lnTo>
                      <a:pt x="260" y="6"/>
                    </a:lnTo>
                    <a:lnTo>
                      <a:pt x="250" y="6"/>
                    </a:lnTo>
                    <a:lnTo>
                      <a:pt x="250" y="2"/>
                    </a:lnTo>
                    <a:lnTo>
                      <a:pt x="250" y="2"/>
                    </a:lnTo>
                    <a:lnTo>
                      <a:pt x="260" y="4"/>
                    </a:lnTo>
                    <a:lnTo>
                      <a:pt x="260" y="6"/>
                    </a:lnTo>
                    <a:close/>
                    <a:moveTo>
                      <a:pt x="154" y="6"/>
                    </a:moveTo>
                    <a:lnTo>
                      <a:pt x="154" y="2"/>
                    </a:lnTo>
                    <a:lnTo>
                      <a:pt x="154" y="2"/>
                    </a:lnTo>
                    <a:lnTo>
                      <a:pt x="164" y="2"/>
                    </a:lnTo>
                    <a:lnTo>
                      <a:pt x="164" y="4"/>
                    </a:lnTo>
                    <a:lnTo>
                      <a:pt x="164" y="4"/>
                    </a:lnTo>
                    <a:lnTo>
                      <a:pt x="154" y="6"/>
                    </a:lnTo>
                    <a:lnTo>
                      <a:pt x="154" y="6"/>
                    </a:lnTo>
                    <a:close/>
                    <a:moveTo>
                      <a:pt x="240" y="4"/>
                    </a:moveTo>
                    <a:lnTo>
                      <a:pt x="240" y="4"/>
                    </a:lnTo>
                    <a:lnTo>
                      <a:pt x="232" y="4"/>
                    </a:lnTo>
                    <a:lnTo>
                      <a:pt x="232" y="0"/>
                    </a:lnTo>
                    <a:lnTo>
                      <a:pt x="232" y="0"/>
                    </a:lnTo>
                    <a:lnTo>
                      <a:pt x="242" y="2"/>
                    </a:lnTo>
                    <a:lnTo>
                      <a:pt x="240" y="4"/>
                    </a:lnTo>
                    <a:close/>
                    <a:moveTo>
                      <a:pt x="174" y="4"/>
                    </a:moveTo>
                    <a:lnTo>
                      <a:pt x="174" y="0"/>
                    </a:lnTo>
                    <a:lnTo>
                      <a:pt x="174" y="0"/>
                    </a:lnTo>
                    <a:lnTo>
                      <a:pt x="182" y="0"/>
                    </a:lnTo>
                    <a:lnTo>
                      <a:pt x="182" y="4"/>
                    </a:lnTo>
                    <a:lnTo>
                      <a:pt x="182" y="4"/>
                    </a:lnTo>
                    <a:lnTo>
                      <a:pt x="174" y="4"/>
                    </a:lnTo>
                    <a:lnTo>
                      <a:pt x="174" y="4"/>
                    </a:lnTo>
                    <a:close/>
                    <a:moveTo>
                      <a:pt x="222" y="4"/>
                    </a:moveTo>
                    <a:lnTo>
                      <a:pt x="222" y="4"/>
                    </a:lnTo>
                    <a:lnTo>
                      <a:pt x="212" y="4"/>
                    </a:lnTo>
                    <a:lnTo>
                      <a:pt x="212" y="0"/>
                    </a:lnTo>
                    <a:lnTo>
                      <a:pt x="212" y="0"/>
                    </a:lnTo>
                    <a:lnTo>
                      <a:pt x="222" y="0"/>
                    </a:lnTo>
                    <a:lnTo>
                      <a:pt x="222" y="4"/>
                    </a:lnTo>
                    <a:close/>
                    <a:moveTo>
                      <a:pt x="192" y="4"/>
                    </a:moveTo>
                    <a:lnTo>
                      <a:pt x="192" y="0"/>
                    </a:lnTo>
                    <a:lnTo>
                      <a:pt x="192" y="0"/>
                    </a:lnTo>
                    <a:lnTo>
                      <a:pt x="202" y="0"/>
                    </a:lnTo>
                    <a:lnTo>
                      <a:pt x="202" y="0"/>
                    </a:lnTo>
                    <a:lnTo>
                      <a:pt x="202" y="4"/>
                    </a:lnTo>
                    <a:lnTo>
                      <a:pt x="202" y="4"/>
                    </a:lnTo>
                    <a:lnTo>
                      <a:pt x="202" y="4"/>
                    </a:lnTo>
                    <a:lnTo>
                      <a:pt x="192" y="4"/>
                    </a:lnTo>
                    <a:lnTo>
                      <a:pt x="192" y="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7" name="Freeform 47"/>
              <p:cNvSpPr/>
              <p:nvPr/>
            </p:nvSpPr>
            <p:spPr bwMode="auto">
              <a:xfrm>
                <a:off x="8007732" y="2674362"/>
                <a:ext cx="195979" cy="184260"/>
              </a:xfrm>
              <a:custGeom>
                <a:avLst/>
                <a:gdLst>
                  <a:gd name="T0" fmla="*/ 80 w 118"/>
                  <a:gd name="T1" fmla="*/ 44 h 124"/>
                  <a:gd name="T2" fmla="*/ 74 w 118"/>
                  <a:gd name="T3" fmla="*/ 32 h 124"/>
                  <a:gd name="T4" fmla="*/ 58 w 118"/>
                  <a:gd name="T5" fmla="*/ 28 h 124"/>
                  <a:gd name="T6" fmla="*/ 52 w 118"/>
                  <a:gd name="T7" fmla="*/ 30 h 124"/>
                  <a:gd name="T8" fmla="*/ 48 w 118"/>
                  <a:gd name="T9" fmla="*/ 36 h 124"/>
                  <a:gd name="T10" fmla="*/ 48 w 118"/>
                  <a:gd name="T11" fmla="*/ 38 h 124"/>
                  <a:gd name="T12" fmla="*/ 58 w 118"/>
                  <a:gd name="T13" fmla="*/ 44 h 124"/>
                  <a:gd name="T14" fmla="*/ 94 w 118"/>
                  <a:gd name="T15" fmla="*/ 54 h 124"/>
                  <a:gd name="T16" fmla="*/ 114 w 118"/>
                  <a:gd name="T17" fmla="*/ 68 h 124"/>
                  <a:gd name="T18" fmla="*/ 118 w 118"/>
                  <a:gd name="T19" fmla="*/ 80 h 124"/>
                  <a:gd name="T20" fmla="*/ 118 w 118"/>
                  <a:gd name="T21" fmla="*/ 88 h 124"/>
                  <a:gd name="T22" fmla="*/ 110 w 118"/>
                  <a:gd name="T23" fmla="*/ 100 h 124"/>
                  <a:gd name="T24" fmla="*/ 98 w 118"/>
                  <a:gd name="T25" fmla="*/ 108 h 124"/>
                  <a:gd name="T26" fmla="*/ 72 w 118"/>
                  <a:gd name="T27" fmla="*/ 112 h 124"/>
                  <a:gd name="T28" fmla="*/ 66 w 118"/>
                  <a:gd name="T29" fmla="*/ 112 h 124"/>
                  <a:gd name="T30" fmla="*/ 54 w 118"/>
                  <a:gd name="T31" fmla="*/ 124 h 124"/>
                  <a:gd name="T32" fmla="*/ 54 w 118"/>
                  <a:gd name="T33" fmla="*/ 110 h 124"/>
                  <a:gd name="T34" fmla="*/ 34 w 118"/>
                  <a:gd name="T35" fmla="*/ 98 h 124"/>
                  <a:gd name="T36" fmla="*/ 0 w 118"/>
                  <a:gd name="T37" fmla="*/ 110 h 124"/>
                  <a:gd name="T38" fmla="*/ 34 w 118"/>
                  <a:gd name="T39" fmla="*/ 72 h 124"/>
                  <a:gd name="T40" fmla="*/ 36 w 118"/>
                  <a:gd name="T41" fmla="*/ 76 h 124"/>
                  <a:gd name="T42" fmla="*/ 42 w 118"/>
                  <a:gd name="T43" fmla="*/ 84 h 124"/>
                  <a:gd name="T44" fmla="*/ 56 w 118"/>
                  <a:gd name="T45" fmla="*/ 86 h 124"/>
                  <a:gd name="T46" fmla="*/ 66 w 118"/>
                  <a:gd name="T47" fmla="*/ 84 h 124"/>
                  <a:gd name="T48" fmla="*/ 72 w 118"/>
                  <a:gd name="T49" fmla="*/ 78 h 124"/>
                  <a:gd name="T50" fmla="*/ 70 w 118"/>
                  <a:gd name="T51" fmla="*/ 76 h 124"/>
                  <a:gd name="T52" fmla="*/ 60 w 118"/>
                  <a:gd name="T53" fmla="*/ 72 h 124"/>
                  <a:gd name="T54" fmla="*/ 26 w 118"/>
                  <a:gd name="T55" fmla="*/ 62 h 124"/>
                  <a:gd name="T56" fmla="*/ 12 w 118"/>
                  <a:gd name="T57" fmla="*/ 52 h 124"/>
                  <a:gd name="T58" fmla="*/ 6 w 118"/>
                  <a:gd name="T59" fmla="*/ 42 h 124"/>
                  <a:gd name="T60" fmla="*/ 6 w 118"/>
                  <a:gd name="T61" fmla="*/ 36 h 124"/>
                  <a:gd name="T62" fmla="*/ 10 w 118"/>
                  <a:gd name="T63" fmla="*/ 24 h 124"/>
                  <a:gd name="T64" fmla="*/ 20 w 118"/>
                  <a:gd name="T65" fmla="*/ 16 h 124"/>
                  <a:gd name="T66" fmla="*/ 46 w 118"/>
                  <a:gd name="T67" fmla="*/ 10 h 124"/>
                  <a:gd name="T68" fmla="*/ 52 w 118"/>
                  <a:gd name="T69" fmla="*/ 10 h 124"/>
                  <a:gd name="T70" fmla="*/ 62 w 118"/>
                  <a:gd name="T71" fmla="*/ 0 h 124"/>
                  <a:gd name="T72" fmla="*/ 62 w 118"/>
                  <a:gd name="T73" fmla="*/ 12 h 124"/>
                  <a:gd name="T74" fmla="*/ 80 w 118"/>
                  <a:gd name="T75" fmla="*/ 22 h 124"/>
                  <a:gd name="T76" fmla="*/ 108 w 118"/>
                  <a:gd name="T77" fmla="*/ 12 h 124"/>
                  <a:gd name="T78" fmla="*/ 80 w 118"/>
                  <a:gd name="T79"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4">
                    <a:moveTo>
                      <a:pt x="80" y="44"/>
                    </a:moveTo>
                    <a:lnTo>
                      <a:pt x="80" y="44"/>
                    </a:lnTo>
                    <a:lnTo>
                      <a:pt x="78" y="38"/>
                    </a:lnTo>
                    <a:lnTo>
                      <a:pt x="74" y="32"/>
                    </a:lnTo>
                    <a:lnTo>
                      <a:pt x="68" y="30"/>
                    </a:lnTo>
                    <a:lnTo>
                      <a:pt x="58" y="28"/>
                    </a:lnTo>
                    <a:lnTo>
                      <a:pt x="58" y="28"/>
                    </a:lnTo>
                    <a:lnTo>
                      <a:pt x="52" y="30"/>
                    </a:lnTo>
                    <a:lnTo>
                      <a:pt x="48" y="32"/>
                    </a:lnTo>
                    <a:lnTo>
                      <a:pt x="48" y="36"/>
                    </a:lnTo>
                    <a:lnTo>
                      <a:pt x="48" y="36"/>
                    </a:lnTo>
                    <a:lnTo>
                      <a:pt x="48" y="38"/>
                    </a:lnTo>
                    <a:lnTo>
                      <a:pt x="50" y="40"/>
                    </a:lnTo>
                    <a:lnTo>
                      <a:pt x="58" y="44"/>
                    </a:lnTo>
                    <a:lnTo>
                      <a:pt x="82" y="50"/>
                    </a:lnTo>
                    <a:lnTo>
                      <a:pt x="94" y="54"/>
                    </a:lnTo>
                    <a:lnTo>
                      <a:pt x="106" y="60"/>
                    </a:lnTo>
                    <a:lnTo>
                      <a:pt x="114" y="68"/>
                    </a:lnTo>
                    <a:lnTo>
                      <a:pt x="116" y="74"/>
                    </a:lnTo>
                    <a:lnTo>
                      <a:pt x="118" y="80"/>
                    </a:lnTo>
                    <a:lnTo>
                      <a:pt x="118" y="80"/>
                    </a:lnTo>
                    <a:lnTo>
                      <a:pt x="118" y="88"/>
                    </a:lnTo>
                    <a:lnTo>
                      <a:pt x="114" y="94"/>
                    </a:lnTo>
                    <a:lnTo>
                      <a:pt x="110" y="100"/>
                    </a:lnTo>
                    <a:lnTo>
                      <a:pt x="104" y="106"/>
                    </a:lnTo>
                    <a:lnTo>
                      <a:pt x="98" y="108"/>
                    </a:lnTo>
                    <a:lnTo>
                      <a:pt x="90" y="112"/>
                    </a:lnTo>
                    <a:lnTo>
                      <a:pt x="72" y="112"/>
                    </a:lnTo>
                    <a:lnTo>
                      <a:pt x="72" y="112"/>
                    </a:lnTo>
                    <a:lnTo>
                      <a:pt x="66" y="112"/>
                    </a:lnTo>
                    <a:lnTo>
                      <a:pt x="66" y="124"/>
                    </a:lnTo>
                    <a:lnTo>
                      <a:pt x="54" y="124"/>
                    </a:lnTo>
                    <a:lnTo>
                      <a:pt x="54" y="110"/>
                    </a:lnTo>
                    <a:lnTo>
                      <a:pt x="54" y="110"/>
                    </a:lnTo>
                    <a:lnTo>
                      <a:pt x="42" y="104"/>
                    </a:lnTo>
                    <a:lnTo>
                      <a:pt x="34" y="98"/>
                    </a:lnTo>
                    <a:lnTo>
                      <a:pt x="32" y="110"/>
                    </a:lnTo>
                    <a:lnTo>
                      <a:pt x="0" y="110"/>
                    </a:lnTo>
                    <a:lnTo>
                      <a:pt x="2" y="72"/>
                    </a:lnTo>
                    <a:lnTo>
                      <a:pt x="34" y="72"/>
                    </a:lnTo>
                    <a:lnTo>
                      <a:pt x="34" y="72"/>
                    </a:lnTo>
                    <a:lnTo>
                      <a:pt x="36" y="76"/>
                    </a:lnTo>
                    <a:lnTo>
                      <a:pt x="36" y="78"/>
                    </a:lnTo>
                    <a:lnTo>
                      <a:pt x="42" y="84"/>
                    </a:lnTo>
                    <a:lnTo>
                      <a:pt x="50" y="86"/>
                    </a:lnTo>
                    <a:lnTo>
                      <a:pt x="56" y="86"/>
                    </a:lnTo>
                    <a:lnTo>
                      <a:pt x="56" y="86"/>
                    </a:lnTo>
                    <a:lnTo>
                      <a:pt x="66" y="84"/>
                    </a:lnTo>
                    <a:lnTo>
                      <a:pt x="70" y="82"/>
                    </a:lnTo>
                    <a:lnTo>
                      <a:pt x="72" y="78"/>
                    </a:lnTo>
                    <a:lnTo>
                      <a:pt x="72" y="78"/>
                    </a:lnTo>
                    <a:lnTo>
                      <a:pt x="70" y="76"/>
                    </a:lnTo>
                    <a:lnTo>
                      <a:pt x="68" y="76"/>
                    </a:lnTo>
                    <a:lnTo>
                      <a:pt x="60" y="72"/>
                    </a:lnTo>
                    <a:lnTo>
                      <a:pt x="38" y="66"/>
                    </a:lnTo>
                    <a:lnTo>
                      <a:pt x="26" y="62"/>
                    </a:lnTo>
                    <a:lnTo>
                      <a:pt x="16" y="56"/>
                    </a:lnTo>
                    <a:lnTo>
                      <a:pt x="12" y="52"/>
                    </a:lnTo>
                    <a:lnTo>
                      <a:pt x="8" y="48"/>
                    </a:lnTo>
                    <a:lnTo>
                      <a:pt x="6" y="42"/>
                    </a:lnTo>
                    <a:lnTo>
                      <a:pt x="6" y="36"/>
                    </a:lnTo>
                    <a:lnTo>
                      <a:pt x="6" y="36"/>
                    </a:lnTo>
                    <a:lnTo>
                      <a:pt x="8" y="30"/>
                    </a:lnTo>
                    <a:lnTo>
                      <a:pt x="10" y="24"/>
                    </a:lnTo>
                    <a:lnTo>
                      <a:pt x="16" y="20"/>
                    </a:lnTo>
                    <a:lnTo>
                      <a:pt x="20" y="16"/>
                    </a:lnTo>
                    <a:lnTo>
                      <a:pt x="32" y="10"/>
                    </a:lnTo>
                    <a:lnTo>
                      <a:pt x="46" y="10"/>
                    </a:lnTo>
                    <a:lnTo>
                      <a:pt x="46" y="10"/>
                    </a:lnTo>
                    <a:lnTo>
                      <a:pt x="52" y="10"/>
                    </a:lnTo>
                    <a:lnTo>
                      <a:pt x="52" y="0"/>
                    </a:lnTo>
                    <a:lnTo>
                      <a:pt x="62" y="0"/>
                    </a:lnTo>
                    <a:lnTo>
                      <a:pt x="62" y="12"/>
                    </a:lnTo>
                    <a:lnTo>
                      <a:pt x="62" y="12"/>
                    </a:lnTo>
                    <a:lnTo>
                      <a:pt x="72" y="16"/>
                    </a:lnTo>
                    <a:lnTo>
                      <a:pt x="80" y="22"/>
                    </a:lnTo>
                    <a:lnTo>
                      <a:pt x="80" y="12"/>
                    </a:lnTo>
                    <a:lnTo>
                      <a:pt x="108" y="12"/>
                    </a:lnTo>
                    <a:lnTo>
                      <a:pt x="110" y="44"/>
                    </a:lnTo>
                    <a:lnTo>
                      <a:pt x="80" y="4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8" name="Freeform 48"/>
              <p:cNvSpPr/>
              <p:nvPr/>
            </p:nvSpPr>
            <p:spPr bwMode="auto">
              <a:xfrm>
                <a:off x="7695494" y="2793239"/>
                <a:ext cx="797203" cy="219923"/>
              </a:xfrm>
              <a:custGeom>
                <a:avLst/>
                <a:gdLst>
                  <a:gd name="T0" fmla="*/ 436 w 480"/>
                  <a:gd name="T1" fmla="*/ 46 h 148"/>
                  <a:gd name="T2" fmla="*/ 392 w 480"/>
                  <a:gd name="T3" fmla="*/ 66 h 148"/>
                  <a:gd name="T4" fmla="*/ 372 w 480"/>
                  <a:gd name="T5" fmla="*/ 74 h 148"/>
                  <a:gd name="T6" fmla="*/ 348 w 480"/>
                  <a:gd name="T7" fmla="*/ 80 h 148"/>
                  <a:gd name="T8" fmla="*/ 306 w 480"/>
                  <a:gd name="T9" fmla="*/ 88 h 148"/>
                  <a:gd name="T10" fmla="*/ 262 w 480"/>
                  <a:gd name="T11" fmla="*/ 90 h 148"/>
                  <a:gd name="T12" fmla="*/ 240 w 480"/>
                  <a:gd name="T13" fmla="*/ 92 h 148"/>
                  <a:gd name="T14" fmla="*/ 218 w 480"/>
                  <a:gd name="T15" fmla="*/ 90 h 148"/>
                  <a:gd name="T16" fmla="*/ 174 w 480"/>
                  <a:gd name="T17" fmla="*/ 88 h 148"/>
                  <a:gd name="T18" fmla="*/ 130 w 480"/>
                  <a:gd name="T19" fmla="*/ 80 h 148"/>
                  <a:gd name="T20" fmla="*/ 86 w 480"/>
                  <a:gd name="T21" fmla="*/ 66 h 148"/>
                  <a:gd name="T22" fmla="*/ 64 w 480"/>
                  <a:gd name="T23" fmla="*/ 56 h 148"/>
                  <a:gd name="T24" fmla="*/ 42 w 480"/>
                  <a:gd name="T25" fmla="*/ 46 h 148"/>
                  <a:gd name="T26" fmla="*/ 16 w 480"/>
                  <a:gd name="T27" fmla="*/ 24 h 148"/>
                  <a:gd name="T28" fmla="*/ 0 w 480"/>
                  <a:gd name="T29" fmla="*/ 0 h 148"/>
                  <a:gd name="T30" fmla="*/ 0 w 480"/>
                  <a:gd name="T31" fmla="*/ 58 h 148"/>
                  <a:gd name="T32" fmla="*/ 6 w 480"/>
                  <a:gd name="T33" fmla="*/ 70 h 148"/>
                  <a:gd name="T34" fmla="*/ 28 w 480"/>
                  <a:gd name="T35" fmla="*/ 92 h 148"/>
                  <a:gd name="T36" fmla="*/ 42 w 480"/>
                  <a:gd name="T37" fmla="*/ 102 h 148"/>
                  <a:gd name="T38" fmla="*/ 86 w 480"/>
                  <a:gd name="T39" fmla="*/ 124 h 148"/>
                  <a:gd name="T40" fmla="*/ 108 w 480"/>
                  <a:gd name="T41" fmla="*/ 130 h 148"/>
                  <a:gd name="T42" fmla="*/ 130 w 480"/>
                  <a:gd name="T43" fmla="*/ 136 h 148"/>
                  <a:gd name="T44" fmla="*/ 174 w 480"/>
                  <a:gd name="T45" fmla="*/ 144 h 148"/>
                  <a:gd name="T46" fmla="*/ 218 w 480"/>
                  <a:gd name="T47" fmla="*/ 148 h 148"/>
                  <a:gd name="T48" fmla="*/ 240 w 480"/>
                  <a:gd name="T49" fmla="*/ 148 h 148"/>
                  <a:gd name="T50" fmla="*/ 262 w 480"/>
                  <a:gd name="T51" fmla="*/ 148 h 148"/>
                  <a:gd name="T52" fmla="*/ 306 w 480"/>
                  <a:gd name="T53" fmla="*/ 144 h 148"/>
                  <a:gd name="T54" fmla="*/ 348 w 480"/>
                  <a:gd name="T55" fmla="*/ 136 h 148"/>
                  <a:gd name="T56" fmla="*/ 392 w 480"/>
                  <a:gd name="T57" fmla="*/ 124 h 148"/>
                  <a:gd name="T58" fmla="*/ 416 w 480"/>
                  <a:gd name="T59" fmla="*/ 114 h 148"/>
                  <a:gd name="T60" fmla="*/ 436 w 480"/>
                  <a:gd name="T61" fmla="*/ 102 h 148"/>
                  <a:gd name="T62" fmla="*/ 464 w 480"/>
                  <a:gd name="T63" fmla="*/ 82 h 148"/>
                  <a:gd name="T64" fmla="*/ 480 w 480"/>
                  <a:gd name="T65" fmla="*/ 58 h 148"/>
                  <a:gd name="T66" fmla="*/ 480 w 480"/>
                  <a:gd name="T67" fmla="*/ 0 h 148"/>
                  <a:gd name="T68" fmla="*/ 474 w 480"/>
                  <a:gd name="T69" fmla="*/ 12 h 148"/>
                  <a:gd name="T70" fmla="*/ 452 w 480"/>
                  <a:gd name="T71" fmla="*/ 36 h 148"/>
                  <a:gd name="T72" fmla="*/ 436 w 480"/>
                  <a:gd name="T73"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0" h="148">
                    <a:moveTo>
                      <a:pt x="436" y="46"/>
                    </a:moveTo>
                    <a:lnTo>
                      <a:pt x="436" y="46"/>
                    </a:lnTo>
                    <a:lnTo>
                      <a:pt x="416" y="58"/>
                    </a:lnTo>
                    <a:lnTo>
                      <a:pt x="392" y="66"/>
                    </a:lnTo>
                    <a:lnTo>
                      <a:pt x="392" y="66"/>
                    </a:lnTo>
                    <a:lnTo>
                      <a:pt x="372" y="74"/>
                    </a:lnTo>
                    <a:lnTo>
                      <a:pt x="348" y="80"/>
                    </a:lnTo>
                    <a:lnTo>
                      <a:pt x="348" y="80"/>
                    </a:lnTo>
                    <a:lnTo>
                      <a:pt x="306" y="88"/>
                    </a:lnTo>
                    <a:lnTo>
                      <a:pt x="306" y="88"/>
                    </a:lnTo>
                    <a:lnTo>
                      <a:pt x="262" y="90"/>
                    </a:lnTo>
                    <a:lnTo>
                      <a:pt x="262" y="90"/>
                    </a:lnTo>
                    <a:lnTo>
                      <a:pt x="240" y="92"/>
                    </a:lnTo>
                    <a:lnTo>
                      <a:pt x="240" y="92"/>
                    </a:lnTo>
                    <a:lnTo>
                      <a:pt x="218" y="90"/>
                    </a:lnTo>
                    <a:lnTo>
                      <a:pt x="218" y="90"/>
                    </a:lnTo>
                    <a:lnTo>
                      <a:pt x="174" y="88"/>
                    </a:lnTo>
                    <a:lnTo>
                      <a:pt x="174" y="88"/>
                    </a:lnTo>
                    <a:lnTo>
                      <a:pt x="130" y="80"/>
                    </a:lnTo>
                    <a:lnTo>
                      <a:pt x="130" y="80"/>
                    </a:lnTo>
                    <a:lnTo>
                      <a:pt x="108" y="74"/>
                    </a:lnTo>
                    <a:lnTo>
                      <a:pt x="86" y="66"/>
                    </a:lnTo>
                    <a:lnTo>
                      <a:pt x="86" y="66"/>
                    </a:lnTo>
                    <a:lnTo>
                      <a:pt x="64" y="56"/>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48"/>
                    </a:lnTo>
                    <a:lnTo>
                      <a:pt x="240" y="148"/>
                    </a:lnTo>
                    <a:lnTo>
                      <a:pt x="262" y="148"/>
                    </a:lnTo>
                    <a:lnTo>
                      <a:pt x="262" y="148"/>
                    </a:lnTo>
                    <a:lnTo>
                      <a:pt x="306" y="144"/>
                    </a:lnTo>
                    <a:lnTo>
                      <a:pt x="306" y="144"/>
                    </a:lnTo>
                    <a:lnTo>
                      <a:pt x="348" y="136"/>
                    </a:lnTo>
                    <a:lnTo>
                      <a:pt x="348" y="136"/>
                    </a:lnTo>
                    <a:lnTo>
                      <a:pt x="372" y="130"/>
                    </a:lnTo>
                    <a:lnTo>
                      <a:pt x="392" y="124"/>
                    </a:lnTo>
                    <a:lnTo>
                      <a:pt x="392" y="124"/>
                    </a:lnTo>
                    <a:lnTo>
                      <a:pt x="416" y="114"/>
                    </a:lnTo>
                    <a:lnTo>
                      <a:pt x="436" y="102"/>
                    </a:lnTo>
                    <a:lnTo>
                      <a:pt x="436" y="102"/>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lnTo>
                      <a:pt x="436" y="46"/>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89" name="Freeform 49"/>
              <p:cNvSpPr/>
              <p:nvPr/>
            </p:nvSpPr>
            <p:spPr bwMode="auto">
              <a:xfrm>
                <a:off x="7695494" y="2522793"/>
                <a:ext cx="797203" cy="326913"/>
              </a:xfrm>
              <a:custGeom>
                <a:avLst/>
                <a:gdLst>
                  <a:gd name="T0" fmla="*/ 240 w 480"/>
                  <a:gd name="T1" fmla="*/ 0 h 220"/>
                  <a:gd name="T2" fmla="*/ 240 w 480"/>
                  <a:gd name="T3" fmla="*/ 0 h 220"/>
                  <a:gd name="T4" fmla="*/ 192 w 480"/>
                  <a:gd name="T5" fmla="*/ 4 h 220"/>
                  <a:gd name="T6" fmla="*/ 146 w 480"/>
                  <a:gd name="T7" fmla="*/ 10 h 220"/>
                  <a:gd name="T8" fmla="*/ 106 w 480"/>
                  <a:gd name="T9" fmla="*/ 20 h 220"/>
                  <a:gd name="T10" fmla="*/ 88 w 480"/>
                  <a:gd name="T11" fmla="*/ 26 h 220"/>
                  <a:gd name="T12" fmla="*/ 70 w 480"/>
                  <a:gd name="T13" fmla="*/ 34 h 220"/>
                  <a:gd name="T14" fmla="*/ 54 w 480"/>
                  <a:gd name="T15" fmla="*/ 40 h 220"/>
                  <a:gd name="T16" fmla="*/ 42 w 480"/>
                  <a:gd name="T17" fmla="*/ 50 h 220"/>
                  <a:gd name="T18" fmla="*/ 30 w 480"/>
                  <a:gd name="T19" fmla="*/ 58 h 220"/>
                  <a:gd name="T20" fmla="*/ 20 w 480"/>
                  <a:gd name="T21" fmla="*/ 68 h 220"/>
                  <a:gd name="T22" fmla="*/ 10 w 480"/>
                  <a:gd name="T23" fmla="*/ 78 h 220"/>
                  <a:gd name="T24" fmla="*/ 6 w 480"/>
                  <a:gd name="T25" fmla="*/ 88 h 220"/>
                  <a:gd name="T26" fmla="*/ 2 w 480"/>
                  <a:gd name="T27" fmla="*/ 100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2 h 220"/>
                  <a:gd name="T52" fmla="*/ 146 w 480"/>
                  <a:gd name="T53" fmla="*/ 212 h 220"/>
                  <a:gd name="T54" fmla="*/ 192 w 480"/>
                  <a:gd name="T55" fmla="*/ 218 h 220"/>
                  <a:gd name="T56" fmla="*/ 240 w 480"/>
                  <a:gd name="T57" fmla="*/ 220 h 220"/>
                  <a:gd name="T58" fmla="*/ 240 w 480"/>
                  <a:gd name="T59" fmla="*/ 220 h 220"/>
                  <a:gd name="T60" fmla="*/ 288 w 480"/>
                  <a:gd name="T61" fmla="*/ 218 h 220"/>
                  <a:gd name="T62" fmla="*/ 334 w 480"/>
                  <a:gd name="T63" fmla="*/ 212 h 220"/>
                  <a:gd name="T64" fmla="*/ 374 w 480"/>
                  <a:gd name="T65" fmla="*/ 202 h 220"/>
                  <a:gd name="T66" fmla="*/ 392 w 480"/>
                  <a:gd name="T67" fmla="*/ 194 h 220"/>
                  <a:gd name="T68" fmla="*/ 410 w 480"/>
                  <a:gd name="T69" fmla="*/ 188 h 220"/>
                  <a:gd name="T70" fmla="*/ 426 w 480"/>
                  <a:gd name="T71" fmla="*/ 180 h 220"/>
                  <a:gd name="T72" fmla="*/ 440 w 480"/>
                  <a:gd name="T73" fmla="*/ 172 h 220"/>
                  <a:gd name="T74" fmla="*/ 452 w 480"/>
                  <a:gd name="T75" fmla="*/ 162 h 220"/>
                  <a:gd name="T76" fmla="*/ 462 w 480"/>
                  <a:gd name="T77" fmla="*/ 152 h 220"/>
                  <a:gd name="T78" fmla="*/ 470 w 480"/>
                  <a:gd name="T79" fmla="*/ 142 h 220"/>
                  <a:gd name="T80" fmla="*/ 476 w 480"/>
                  <a:gd name="T81" fmla="*/ 132 h 220"/>
                  <a:gd name="T82" fmla="*/ 478 w 480"/>
                  <a:gd name="T83" fmla="*/ 122 h 220"/>
                  <a:gd name="T84" fmla="*/ 480 w 480"/>
                  <a:gd name="T85" fmla="*/ 110 h 220"/>
                  <a:gd name="T86" fmla="*/ 480 w 480"/>
                  <a:gd name="T87" fmla="*/ 110 h 220"/>
                  <a:gd name="T88" fmla="*/ 478 w 480"/>
                  <a:gd name="T89" fmla="*/ 100 h 220"/>
                  <a:gd name="T90" fmla="*/ 476 w 480"/>
                  <a:gd name="T91" fmla="*/ 88 h 220"/>
                  <a:gd name="T92" fmla="*/ 470 w 480"/>
                  <a:gd name="T93" fmla="*/ 78 h 220"/>
                  <a:gd name="T94" fmla="*/ 462 w 480"/>
                  <a:gd name="T95" fmla="*/ 68 h 220"/>
                  <a:gd name="T96" fmla="*/ 452 w 480"/>
                  <a:gd name="T97" fmla="*/ 58 h 220"/>
                  <a:gd name="T98" fmla="*/ 440 w 480"/>
                  <a:gd name="T99" fmla="*/ 50 h 220"/>
                  <a:gd name="T100" fmla="*/ 426 w 480"/>
                  <a:gd name="T101" fmla="*/ 40 h 220"/>
                  <a:gd name="T102" fmla="*/ 410 w 480"/>
                  <a:gd name="T103" fmla="*/ 34 h 220"/>
                  <a:gd name="T104" fmla="*/ 392 w 480"/>
                  <a:gd name="T105" fmla="*/ 26 h 220"/>
                  <a:gd name="T106" fmla="*/ 374 w 480"/>
                  <a:gd name="T107" fmla="*/ 20 h 220"/>
                  <a:gd name="T108" fmla="*/ 334 w 480"/>
                  <a:gd name="T109" fmla="*/ 10 h 220"/>
                  <a:gd name="T110" fmla="*/ 288 w 480"/>
                  <a:gd name="T111" fmla="*/ 4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4"/>
                    </a:lnTo>
                    <a:lnTo>
                      <a:pt x="146" y="10"/>
                    </a:lnTo>
                    <a:lnTo>
                      <a:pt x="106" y="20"/>
                    </a:lnTo>
                    <a:lnTo>
                      <a:pt x="88" y="26"/>
                    </a:lnTo>
                    <a:lnTo>
                      <a:pt x="70" y="34"/>
                    </a:lnTo>
                    <a:lnTo>
                      <a:pt x="54" y="40"/>
                    </a:lnTo>
                    <a:lnTo>
                      <a:pt x="42" y="50"/>
                    </a:lnTo>
                    <a:lnTo>
                      <a:pt x="30" y="58"/>
                    </a:lnTo>
                    <a:lnTo>
                      <a:pt x="20" y="68"/>
                    </a:lnTo>
                    <a:lnTo>
                      <a:pt x="10" y="78"/>
                    </a:lnTo>
                    <a:lnTo>
                      <a:pt x="6" y="88"/>
                    </a:lnTo>
                    <a:lnTo>
                      <a:pt x="2" y="100"/>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2"/>
                    </a:lnTo>
                    <a:lnTo>
                      <a:pt x="146" y="212"/>
                    </a:lnTo>
                    <a:lnTo>
                      <a:pt x="192" y="218"/>
                    </a:lnTo>
                    <a:lnTo>
                      <a:pt x="240" y="220"/>
                    </a:lnTo>
                    <a:lnTo>
                      <a:pt x="240" y="220"/>
                    </a:lnTo>
                    <a:lnTo>
                      <a:pt x="288" y="218"/>
                    </a:lnTo>
                    <a:lnTo>
                      <a:pt x="334" y="212"/>
                    </a:lnTo>
                    <a:lnTo>
                      <a:pt x="374" y="202"/>
                    </a:lnTo>
                    <a:lnTo>
                      <a:pt x="392" y="194"/>
                    </a:lnTo>
                    <a:lnTo>
                      <a:pt x="410" y="188"/>
                    </a:lnTo>
                    <a:lnTo>
                      <a:pt x="426" y="180"/>
                    </a:lnTo>
                    <a:lnTo>
                      <a:pt x="440" y="172"/>
                    </a:lnTo>
                    <a:lnTo>
                      <a:pt x="452" y="162"/>
                    </a:lnTo>
                    <a:lnTo>
                      <a:pt x="462" y="152"/>
                    </a:lnTo>
                    <a:lnTo>
                      <a:pt x="470" y="142"/>
                    </a:lnTo>
                    <a:lnTo>
                      <a:pt x="476" y="132"/>
                    </a:lnTo>
                    <a:lnTo>
                      <a:pt x="478" y="122"/>
                    </a:lnTo>
                    <a:lnTo>
                      <a:pt x="480" y="110"/>
                    </a:lnTo>
                    <a:lnTo>
                      <a:pt x="480" y="110"/>
                    </a:lnTo>
                    <a:lnTo>
                      <a:pt x="478" y="100"/>
                    </a:lnTo>
                    <a:lnTo>
                      <a:pt x="476" y="88"/>
                    </a:lnTo>
                    <a:lnTo>
                      <a:pt x="470" y="78"/>
                    </a:lnTo>
                    <a:lnTo>
                      <a:pt x="462" y="68"/>
                    </a:lnTo>
                    <a:lnTo>
                      <a:pt x="452" y="58"/>
                    </a:lnTo>
                    <a:lnTo>
                      <a:pt x="440" y="50"/>
                    </a:lnTo>
                    <a:lnTo>
                      <a:pt x="426" y="40"/>
                    </a:lnTo>
                    <a:lnTo>
                      <a:pt x="410" y="34"/>
                    </a:lnTo>
                    <a:lnTo>
                      <a:pt x="392" y="26"/>
                    </a:lnTo>
                    <a:lnTo>
                      <a:pt x="374" y="20"/>
                    </a:lnTo>
                    <a:lnTo>
                      <a:pt x="334" y="10"/>
                    </a:lnTo>
                    <a:lnTo>
                      <a:pt x="288" y="4"/>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0" name="Freeform 50"/>
              <p:cNvSpPr/>
              <p:nvPr/>
            </p:nvSpPr>
            <p:spPr bwMode="auto">
              <a:xfrm>
                <a:off x="7695494" y="2522793"/>
                <a:ext cx="797203" cy="326913"/>
              </a:xfrm>
              <a:custGeom>
                <a:avLst/>
                <a:gdLst>
                  <a:gd name="T0" fmla="*/ 240 w 480"/>
                  <a:gd name="T1" fmla="*/ 0 h 220"/>
                  <a:gd name="T2" fmla="*/ 240 w 480"/>
                  <a:gd name="T3" fmla="*/ 0 h 220"/>
                  <a:gd name="T4" fmla="*/ 192 w 480"/>
                  <a:gd name="T5" fmla="*/ 4 h 220"/>
                  <a:gd name="T6" fmla="*/ 146 w 480"/>
                  <a:gd name="T7" fmla="*/ 10 h 220"/>
                  <a:gd name="T8" fmla="*/ 106 w 480"/>
                  <a:gd name="T9" fmla="*/ 20 h 220"/>
                  <a:gd name="T10" fmla="*/ 88 w 480"/>
                  <a:gd name="T11" fmla="*/ 26 h 220"/>
                  <a:gd name="T12" fmla="*/ 70 w 480"/>
                  <a:gd name="T13" fmla="*/ 34 h 220"/>
                  <a:gd name="T14" fmla="*/ 54 w 480"/>
                  <a:gd name="T15" fmla="*/ 40 h 220"/>
                  <a:gd name="T16" fmla="*/ 42 w 480"/>
                  <a:gd name="T17" fmla="*/ 50 h 220"/>
                  <a:gd name="T18" fmla="*/ 30 w 480"/>
                  <a:gd name="T19" fmla="*/ 58 h 220"/>
                  <a:gd name="T20" fmla="*/ 20 w 480"/>
                  <a:gd name="T21" fmla="*/ 68 h 220"/>
                  <a:gd name="T22" fmla="*/ 10 w 480"/>
                  <a:gd name="T23" fmla="*/ 78 h 220"/>
                  <a:gd name="T24" fmla="*/ 6 w 480"/>
                  <a:gd name="T25" fmla="*/ 88 h 220"/>
                  <a:gd name="T26" fmla="*/ 2 w 480"/>
                  <a:gd name="T27" fmla="*/ 100 h 220"/>
                  <a:gd name="T28" fmla="*/ 0 w 480"/>
                  <a:gd name="T29" fmla="*/ 110 h 220"/>
                  <a:gd name="T30" fmla="*/ 0 w 480"/>
                  <a:gd name="T31" fmla="*/ 110 h 220"/>
                  <a:gd name="T32" fmla="*/ 2 w 480"/>
                  <a:gd name="T33" fmla="*/ 122 h 220"/>
                  <a:gd name="T34" fmla="*/ 6 w 480"/>
                  <a:gd name="T35" fmla="*/ 132 h 220"/>
                  <a:gd name="T36" fmla="*/ 10 w 480"/>
                  <a:gd name="T37" fmla="*/ 142 h 220"/>
                  <a:gd name="T38" fmla="*/ 20 w 480"/>
                  <a:gd name="T39" fmla="*/ 152 h 220"/>
                  <a:gd name="T40" fmla="*/ 30 w 480"/>
                  <a:gd name="T41" fmla="*/ 162 h 220"/>
                  <a:gd name="T42" fmla="*/ 42 w 480"/>
                  <a:gd name="T43" fmla="*/ 172 h 220"/>
                  <a:gd name="T44" fmla="*/ 54 w 480"/>
                  <a:gd name="T45" fmla="*/ 180 h 220"/>
                  <a:gd name="T46" fmla="*/ 70 w 480"/>
                  <a:gd name="T47" fmla="*/ 188 h 220"/>
                  <a:gd name="T48" fmla="*/ 88 w 480"/>
                  <a:gd name="T49" fmla="*/ 194 h 220"/>
                  <a:gd name="T50" fmla="*/ 106 w 480"/>
                  <a:gd name="T51" fmla="*/ 202 h 220"/>
                  <a:gd name="T52" fmla="*/ 146 w 480"/>
                  <a:gd name="T53" fmla="*/ 212 h 220"/>
                  <a:gd name="T54" fmla="*/ 192 w 480"/>
                  <a:gd name="T55" fmla="*/ 218 h 220"/>
                  <a:gd name="T56" fmla="*/ 240 w 480"/>
                  <a:gd name="T57" fmla="*/ 220 h 220"/>
                  <a:gd name="T58" fmla="*/ 240 w 480"/>
                  <a:gd name="T59" fmla="*/ 220 h 220"/>
                  <a:gd name="T60" fmla="*/ 288 w 480"/>
                  <a:gd name="T61" fmla="*/ 218 h 220"/>
                  <a:gd name="T62" fmla="*/ 334 w 480"/>
                  <a:gd name="T63" fmla="*/ 212 h 220"/>
                  <a:gd name="T64" fmla="*/ 374 w 480"/>
                  <a:gd name="T65" fmla="*/ 202 h 220"/>
                  <a:gd name="T66" fmla="*/ 392 w 480"/>
                  <a:gd name="T67" fmla="*/ 194 h 220"/>
                  <a:gd name="T68" fmla="*/ 410 w 480"/>
                  <a:gd name="T69" fmla="*/ 188 h 220"/>
                  <a:gd name="T70" fmla="*/ 426 w 480"/>
                  <a:gd name="T71" fmla="*/ 180 h 220"/>
                  <a:gd name="T72" fmla="*/ 440 w 480"/>
                  <a:gd name="T73" fmla="*/ 172 h 220"/>
                  <a:gd name="T74" fmla="*/ 452 w 480"/>
                  <a:gd name="T75" fmla="*/ 162 h 220"/>
                  <a:gd name="T76" fmla="*/ 462 w 480"/>
                  <a:gd name="T77" fmla="*/ 152 h 220"/>
                  <a:gd name="T78" fmla="*/ 470 w 480"/>
                  <a:gd name="T79" fmla="*/ 142 h 220"/>
                  <a:gd name="T80" fmla="*/ 476 w 480"/>
                  <a:gd name="T81" fmla="*/ 132 h 220"/>
                  <a:gd name="T82" fmla="*/ 478 w 480"/>
                  <a:gd name="T83" fmla="*/ 122 h 220"/>
                  <a:gd name="T84" fmla="*/ 480 w 480"/>
                  <a:gd name="T85" fmla="*/ 110 h 220"/>
                  <a:gd name="T86" fmla="*/ 480 w 480"/>
                  <a:gd name="T87" fmla="*/ 110 h 220"/>
                  <a:gd name="T88" fmla="*/ 478 w 480"/>
                  <a:gd name="T89" fmla="*/ 100 h 220"/>
                  <a:gd name="T90" fmla="*/ 476 w 480"/>
                  <a:gd name="T91" fmla="*/ 88 h 220"/>
                  <a:gd name="T92" fmla="*/ 470 w 480"/>
                  <a:gd name="T93" fmla="*/ 78 h 220"/>
                  <a:gd name="T94" fmla="*/ 462 w 480"/>
                  <a:gd name="T95" fmla="*/ 68 h 220"/>
                  <a:gd name="T96" fmla="*/ 452 w 480"/>
                  <a:gd name="T97" fmla="*/ 58 h 220"/>
                  <a:gd name="T98" fmla="*/ 440 w 480"/>
                  <a:gd name="T99" fmla="*/ 50 h 220"/>
                  <a:gd name="T100" fmla="*/ 426 w 480"/>
                  <a:gd name="T101" fmla="*/ 40 h 220"/>
                  <a:gd name="T102" fmla="*/ 410 w 480"/>
                  <a:gd name="T103" fmla="*/ 34 h 220"/>
                  <a:gd name="T104" fmla="*/ 392 w 480"/>
                  <a:gd name="T105" fmla="*/ 26 h 220"/>
                  <a:gd name="T106" fmla="*/ 374 w 480"/>
                  <a:gd name="T107" fmla="*/ 20 h 220"/>
                  <a:gd name="T108" fmla="*/ 334 w 480"/>
                  <a:gd name="T109" fmla="*/ 10 h 220"/>
                  <a:gd name="T110" fmla="*/ 288 w 480"/>
                  <a:gd name="T111" fmla="*/ 4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4"/>
                    </a:lnTo>
                    <a:lnTo>
                      <a:pt x="146" y="10"/>
                    </a:lnTo>
                    <a:lnTo>
                      <a:pt x="106" y="20"/>
                    </a:lnTo>
                    <a:lnTo>
                      <a:pt x="88" y="26"/>
                    </a:lnTo>
                    <a:lnTo>
                      <a:pt x="70" y="34"/>
                    </a:lnTo>
                    <a:lnTo>
                      <a:pt x="54" y="40"/>
                    </a:lnTo>
                    <a:lnTo>
                      <a:pt x="42" y="50"/>
                    </a:lnTo>
                    <a:lnTo>
                      <a:pt x="30" y="58"/>
                    </a:lnTo>
                    <a:lnTo>
                      <a:pt x="20" y="68"/>
                    </a:lnTo>
                    <a:lnTo>
                      <a:pt x="10" y="78"/>
                    </a:lnTo>
                    <a:lnTo>
                      <a:pt x="6" y="88"/>
                    </a:lnTo>
                    <a:lnTo>
                      <a:pt x="2" y="100"/>
                    </a:lnTo>
                    <a:lnTo>
                      <a:pt x="0" y="110"/>
                    </a:lnTo>
                    <a:lnTo>
                      <a:pt x="0" y="110"/>
                    </a:lnTo>
                    <a:lnTo>
                      <a:pt x="2" y="122"/>
                    </a:lnTo>
                    <a:lnTo>
                      <a:pt x="6" y="132"/>
                    </a:lnTo>
                    <a:lnTo>
                      <a:pt x="10" y="142"/>
                    </a:lnTo>
                    <a:lnTo>
                      <a:pt x="20" y="152"/>
                    </a:lnTo>
                    <a:lnTo>
                      <a:pt x="30" y="162"/>
                    </a:lnTo>
                    <a:lnTo>
                      <a:pt x="42" y="172"/>
                    </a:lnTo>
                    <a:lnTo>
                      <a:pt x="54" y="180"/>
                    </a:lnTo>
                    <a:lnTo>
                      <a:pt x="70" y="188"/>
                    </a:lnTo>
                    <a:lnTo>
                      <a:pt x="88" y="194"/>
                    </a:lnTo>
                    <a:lnTo>
                      <a:pt x="106" y="202"/>
                    </a:lnTo>
                    <a:lnTo>
                      <a:pt x="146" y="212"/>
                    </a:lnTo>
                    <a:lnTo>
                      <a:pt x="192" y="218"/>
                    </a:lnTo>
                    <a:lnTo>
                      <a:pt x="240" y="220"/>
                    </a:lnTo>
                    <a:lnTo>
                      <a:pt x="240" y="220"/>
                    </a:lnTo>
                    <a:lnTo>
                      <a:pt x="288" y="218"/>
                    </a:lnTo>
                    <a:lnTo>
                      <a:pt x="334" y="212"/>
                    </a:lnTo>
                    <a:lnTo>
                      <a:pt x="374" y="202"/>
                    </a:lnTo>
                    <a:lnTo>
                      <a:pt x="392" y="194"/>
                    </a:lnTo>
                    <a:lnTo>
                      <a:pt x="410" y="188"/>
                    </a:lnTo>
                    <a:lnTo>
                      <a:pt x="426" y="180"/>
                    </a:lnTo>
                    <a:lnTo>
                      <a:pt x="440" y="172"/>
                    </a:lnTo>
                    <a:lnTo>
                      <a:pt x="452" y="162"/>
                    </a:lnTo>
                    <a:lnTo>
                      <a:pt x="462" y="152"/>
                    </a:lnTo>
                    <a:lnTo>
                      <a:pt x="470" y="142"/>
                    </a:lnTo>
                    <a:lnTo>
                      <a:pt x="476" y="132"/>
                    </a:lnTo>
                    <a:lnTo>
                      <a:pt x="478" y="122"/>
                    </a:lnTo>
                    <a:lnTo>
                      <a:pt x="480" y="110"/>
                    </a:lnTo>
                    <a:lnTo>
                      <a:pt x="480" y="110"/>
                    </a:lnTo>
                    <a:lnTo>
                      <a:pt x="478" y="100"/>
                    </a:lnTo>
                    <a:lnTo>
                      <a:pt x="476" y="88"/>
                    </a:lnTo>
                    <a:lnTo>
                      <a:pt x="470" y="78"/>
                    </a:lnTo>
                    <a:lnTo>
                      <a:pt x="462" y="68"/>
                    </a:lnTo>
                    <a:lnTo>
                      <a:pt x="452" y="58"/>
                    </a:lnTo>
                    <a:lnTo>
                      <a:pt x="440" y="50"/>
                    </a:lnTo>
                    <a:lnTo>
                      <a:pt x="426" y="40"/>
                    </a:lnTo>
                    <a:lnTo>
                      <a:pt x="410" y="34"/>
                    </a:lnTo>
                    <a:lnTo>
                      <a:pt x="392" y="26"/>
                    </a:lnTo>
                    <a:lnTo>
                      <a:pt x="374" y="20"/>
                    </a:lnTo>
                    <a:lnTo>
                      <a:pt x="334" y="10"/>
                    </a:lnTo>
                    <a:lnTo>
                      <a:pt x="288" y="4"/>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1" name="Freeform 51"/>
              <p:cNvSpPr/>
              <p:nvPr/>
            </p:nvSpPr>
            <p:spPr bwMode="auto">
              <a:xfrm>
                <a:off x="7761927" y="2552513"/>
                <a:ext cx="664336" cy="240727"/>
              </a:xfrm>
              <a:custGeom>
                <a:avLst/>
                <a:gdLst>
                  <a:gd name="T0" fmla="*/ 200 w 400"/>
                  <a:gd name="T1" fmla="*/ 0 h 162"/>
                  <a:gd name="T2" fmla="*/ 200 w 400"/>
                  <a:gd name="T3" fmla="*/ 0 h 162"/>
                  <a:gd name="T4" fmla="*/ 160 w 400"/>
                  <a:gd name="T5" fmla="*/ 0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48 h 162"/>
                  <a:gd name="T18" fmla="*/ 10 w 400"/>
                  <a:gd name="T19" fmla="*/ 56 h 162"/>
                  <a:gd name="T20" fmla="*/ 4 w 400"/>
                  <a:gd name="T21" fmla="*/ 64 h 162"/>
                  <a:gd name="T22" fmla="*/ 2 w 400"/>
                  <a:gd name="T23" fmla="*/ 72 h 162"/>
                  <a:gd name="T24" fmla="*/ 0 w 400"/>
                  <a:gd name="T25" fmla="*/ 80 h 162"/>
                  <a:gd name="T26" fmla="*/ 0 w 400"/>
                  <a:gd name="T27" fmla="*/ 80 h 162"/>
                  <a:gd name="T28" fmla="*/ 2 w 400"/>
                  <a:gd name="T29" fmla="*/ 88 h 162"/>
                  <a:gd name="T30" fmla="*/ 4 w 400"/>
                  <a:gd name="T31" fmla="*/ 96 h 162"/>
                  <a:gd name="T32" fmla="*/ 10 w 400"/>
                  <a:gd name="T33" fmla="*/ 104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0 h 162"/>
                  <a:gd name="T48" fmla="*/ 200 w 400"/>
                  <a:gd name="T49" fmla="*/ 162 h 162"/>
                  <a:gd name="T50" fmla="*/ 200 w 400"/>
                  <a:gd name="T51" fmla="*/ 162 h 162"/>
                  <a:gd name="T52" fmla="*/ 240 w 400"/>
                  <a:gd name="T53" fmla="*/ 160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4 h 162"/>
                  <a:gd name="T68" fmla="*/ 396 w 400"/>
                  <a:gd name="T69" fmla="*/ 96 h 162"/>
                  <a:gd name="T70" fmla="*/ 400 w 400"/>
                  <a:gd name="T71" fmla="*/ 88 h 162"/>
                  <a:gd name="T72" fmla="*/ 400 w 400"/>
                  <a:gd name="T73" fmla="*/ 80 h 162"/>
                  <a:gd name="T74" fmla="*/ 400 w 400"/>
                  <a:gd name="T75" fmla="*/ 80 h 162"/>
                  <a:gd name="T76" fmla="*/ 400 w 400"/>
                  <a:gd name="T77" fmla="*/ 72 h 162"/>
                  <a:gd name="T78" fmla="*/ 396 w 400"/>
                  <a:gd name="T79" fmla="*/ 64 h 162"/>
                  <a:gd name="T80" fmla="*/ 392 w 400"/>
                  <a:gd name="T81" fmla="*/ 56 h 162"/>
                  <a:gd name="T82" fmla="*/ 384 w 400"/>
                  <a:gd name="T83" fmla="*/ 48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0 h 162"/>
                  <a:gd name="T96" fmla="*/ 200 w 400"/>
                  <a:gd name="T9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2">
                    <a:moveTo>
                      <a:pt x="200" y="0"/>
                    </a:moveTo>
                    <a:lnTo>
                      <a:pt x="200" y="0"/>
                    </a:lnTo>
                    <a:lnTo>
                      <a:pt x="160" y="0"/>
                    </a:lnTo>
                    <a:lnTo>
                      <a:pt x="122" y="6"/>
                    </a:lnTo>
                    <a:lnTo>
                      <a:pt x="88" y="14"/>
                    </a:lnTo>
                    <a:lnTo>
                      <a:pt x="58" y="24"/>
                    </a:lnTo>
                    <a:lnTo>
                      <a:pt x="34" y="36"/>
                    </a:lnTo>
                    <a:lnTo>
                      <a:pt x="24" y="42"/>
                    </a:lnTo>
                    <a:lnTo>
                      <a:pt x="16" y="48"/>
                    </a:lnTo>
                    <a:lnTo>
                      <a:pt x="10" y="56"/>
                    </a:lnTo>
                    <a:lnTo>
                      <a:pt x="4" y="64"/>
                    </a:lnTo>
                    <a:lnTo>
                      <a:pt x="2" y="72"/>
                    </a:lnTo>
                    <a:lnTo>
                      <a:pt x="0" y="80"/>
                    </a:lnTo>
                    <a:lnTo>
                      <a:pt x="0" y="80"/>
                    </a:lnTo>
                    <a:lnTo>
                      <a:pt x="2" y="88"/>
                    </a:lnTo>
                    <a:lnTo>
                      <a:pt x="4" y="96"/>
                    </a:lnTo>
                    <a:lnTo>
                      <a:pt x="10" y="104"/>
                    </a:lnTo>
                    <a:lnTo>
                      <a:pt x="16" y="112"/>
                    </a:lnTo>
                    <a:lnTo>
                      <a:pt x="24" y="120"/>
                    </a:lnTo>
                    <a:lnTo>
                      <a:pt x="34" y="126"/>
                    </a:lnTo>
                    <a:lnTo>
                      <a:pt x="58" y="138"/>
                    </a:lnTo>
                    <a:lnTo>
                      <a:pt x="88" y="148"/>
                    </a:lnTo>
                    <a:lnTo>
                      <a:pt x="122" y="156"/>
                    </a:lnTo>
                    <a:lnTo>
                      <a:pt x="160" y="160"/>
                    </a:lnTo>
                    <a:lnTo>
                      <a:pt x="200" y="162"/>
                    </a:lnTo>
                    <a:lnTo>
                      <a:pt x="200" y="162"/>
                    </a:lnTo>
                    <a:lnTo>
                      <a:pt x="240" y="160"/>
                    </a:lnTo>
                    <a:lnTo>
                      <a:pt x="278" y="156"/>
                    </a:lnTo>
                    <a:lnTo>
                      <a:pt x="312" y="148"/>
                    </a:lnTo>
                    <a:lnTo>
                      <a:pt x="342" y="138"/>
                    </a:lnTo>
                    <a:lnTo>
                      <a:pt x="366" y="126"/>
                    </a:lnTo>
                    <a:lnTo>
                      <a:pt x="376" y="120"/>
                    </a:lnTo>
                    <a:lnTo>
                      <a:pt x="384" y="112"/>
                    </a:lnTo>
                    <a:lnTo>
                      <a:pt x="392" y="104"/>
                    </a:lnTo>
                    <a:lnTo>
                      <a:pt x="396" y="96"/>
                    </a:lnTo>
                    <a:lnTo>
                      <a:pt x="400" y="88"/>
                    </a:lnTo>
                    <a:lnTo>
                      <a:pt x="400" y="80"/>
                    </a:lnTo>
                    <a:lnTo>
                      <a:pt x="400" y="80"/>
                    </a:lnTo>
                    <a:lnTo>
                      <a:pt x="400" y="72"/>
                    </a:lnTo>
                    <a:lnTo>
                      <a:pt x="396" y="64"/>
                    </a:lnTo>
                    <a:lnTo>
                      <a:pt x="392" y="56"/>
                    </a:lnTo>
                    <a:lnTo>
                      <a:pt x="384" y="48"/>
                    </a:lnTo>
                    <a:lnTo>
                      <a:pt x="376" y="42"/>
                    </a:lnTo>
                    <a:lnTo>
                      <a:pt x="366" y="36"/>
                    </a:lnTo>
                    <a:lnTo>
                      <a:pt x="342" y="24"/>
                    </a:lnTo>
                    <a:lnTo>
                      <a:pt x="312" y="14"/>
                    </a:lnTo>
                    <a:lnTo>
                      <a:pt x="278" y="6"/>
                    </a:lnTo>
                    <a:lnTo>
                      <a:pt x="240" y="0"/>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2" name="Freeform 52"/>
              <p:cNvSpPr/>
              <p:nvPr/>
            </p:nvSpPr>
            <p:spPr bwMode="auto">
              <a:xfrm>
                <a:off x="7761927" y="2552513"/>
                <a:ext cx="664336" cy="240727"/>
              </a:xfrm>
              <a:custGeom>
                <a:avLst/>
                <a:gdLst>
                  <a:gd name="T0" fmla="*/ 200 w 400"/>
                  <a:gd name="T1" fmla="*/ 0 h 162"/>
                  <a:gd name="T2" fmla="*/ 200 w 400"/>
                  <a:gd name="T3" fmla="*/ 0 h 162"/>
                  <a:gd name="T4" fmla="*/ 160 w 400"/>
                  <a:gd name="T5" fmla="*/ 0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48 h 162"/>
                  <a:gd name="T18" fmla="*/ 10 w 400"/>
                  <a:gd name="T19" fmla="*/ 56 h 162"/>
                  <a:gd name="T20" fmla="*/ 4 w 400"/>
                  <a:gd name="T21" fmla="*/ 64 h 162"/>
                  <a:gd name="T22" fmla="*/ 2 w 400"/>
                  <a:gd name="T23" fmla="*/ 72 h 162"/>
                  <a:gd name="T24" fmla="*/ 0 w 400"/>
                  <a:gd name="T25" fmla="*/ 80 h 162"/>
                  <a:gd name="T26" fmla="*/ 0 w 400"/>
                  <a:gd name="T27" fmla="*/ 80 h 162"/>
                  <a:gd name="T28" fmla="*/ 2 w 400"/>
                  <a:gd name="T29" fmla="*/ 88 h 162"/>
                  <a:gd name="T30" fmla="*/ 4 w 400"/>
                  <a:gd name="T31" fmla="*/ 96 h 162"/>
                  <a:gd name="T32" fmla="*/ 10 w 400"/>
                  <a:gd name="T33" fmla="*/ 104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0 h 162"/>
                  <a:gd name="T48" fmla="*/ 200 w 400"/>
                  <a:gd name="T49" fmla="*/ 162 h 162"/>
                  <a:gd name="T50" fmla="*/ 200 w 400"/>
                  <a:gd name="T51" fmla="*/ 162 h 162"/>
                  <a:gd name="T52" fmla="*/ 240 w 400"/>
                  <a:gd name="T53" fmla="*/ 160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4 h 162"/>
                  <a:gd name="T68" fmla="*/ 396 w 400"/>
                  <a:gd name="T69" fmla="*/ 96 h 162"/>
                  <a:gd name="T70" fmla="*/ 400 w 400"/>
                  <a:gd name="T71" fmla="*/ 88 h 162"/>
                  <a:gd name="T72" fmla="*/ 400 w 400"/>
                  <a:gd name="T73" fmla="*/ 80 h 162"/>
                  <a:gd name="T74" fmla="*/ 400 w 400"/>
                  <a:gd name="T75" fmla="*/ 80 h 162"/>
                  <a:gd name="T76" fmla="*/ 400 w 400"/>
                  <a:gd name="T77" fmla="*/ 72 h 162"/>
                  <a:gd name="T78" fmla="*/ 396 w 400"/>
                  <a:gd name="T79" fmla="*/ 64 h 162"/>
                  <a:gd name="T80" fmla="*/ 392 w 400"/>
                  <a:gd name="T81" fmla="*/ 56 h 162"/>
                  <a:gd name="T82" fmla="*/ 384 w 400"/>
                  <a:gd name="T83" fmla="*/ 48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0 h 162"/>
                  <a:gd name="T96" fmla="*/ 200 w 400"/>
                  <a:gd name="T9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2">
                    <a:moveTo>
                      <a:pt x="200" y="0"/>
                    </a:moveTo>
                    <a:lnTo>
                      <a:pt x="200" y="0"/>
                    </a:lnTo>
                    <a:lnTo>
                      <a:pt x="160" y="0"/>
                    </a:lnTo>
                    <a:lnTo>
                      <a:pt x="122" y="6"/>
                    </a:lnTo>
                    <a:lnTo>
                      <a:pt x="88" y="14"/>
                    </a:lnTo>
                    <a:lnTo>
                      <a:pt x="58" y="24"/>
                    </a:lnTo>
                    <a:lnTo>
                      <a:pt x="34" y="36"/>
                    </a:lnTo>
                    <a:lnTo>
                      <a:pt x="24" y="42"/>
                    </a:lnTo>
                    <a:lnTo>
                      <a:pt x="16" y="48"/>
                    </a:lnTo>
                    <a:lnTo>
                      <a:pt x="10" y="56"/>
                    </a:lnTo>
                    <a:lnTo>
                      <a:pt x="4" y="64"/>
                    </a:lnTo>
                    <a:lnTo>
                      <a:pt x="2" y="72"/>
                    </a:lnTo>
                    <a:lnTo>
                      <a:pt x="0" y="80"/>
                    </a:lnTo>
                    <a:lnTo>
                      <a:pt x="0" y="80"/>
                    </a:lnTo>
                    <a:lnTo>
                      <a:pt x="2" y="88"/>
                    </a:lnTo>
                    <a:lnTo>
                      <a:pt x="4" y="96"/>
                    </a:lnTo>
                    <a:lnTo>
                      <a:pt x="10" y="104"/>
                    </a:lnTo>
                    <a:lnTo>
                      <a:pt x="16" y="112"/>
                    </a:lnTo>
                    <a:lnTo>
                      <a:pt x="24" y="120"/>
                    </a:lnTo>
                    <a:lnTo>
                      <a:pt x="34" y="126"/>
                    </a:lnTo>
                    <a:lnTo>
                      <a:pt x="58" y="138"/>
                    </a:lnTo>
                    <a:lnTo>
                      <a:pt x="88" y="148"/>
                    </a:lnTo>
                    <a:lnTo>
                      <a:pt x="122" y="156"/>
                    </a:lnTo>
                    <a:lnTo>
                      <a:pt x="160" y="160"/>
                    </a:lnTo>
                    <a:lnTo>
                      <a:pt x="200" y="162"/>
                    </a:lnTo>
                    <a:lnTo>
                      <a:pt x="200" y="162"/>
                    </a:lnTo>
                    <a:lnTo>
                      <a:pt x="240" y="160"/>
                    </a:lnTo>
                    <a:lnTo>
                      <a:pt x="278" y="156"/>
                    </a:lnTo>
                    <a:lnTo>
                      <a:pt x="312" y="148"/>
                    </a:lnTo>
                    <a:lnTo>
                      <a:pt x="342" y="138"/>
                    </a:lnTo>
                    <a:lnTo>
                      <a:pt x="366" y="126"/>
                    </a:lnTo>
                    <a:lnTo>
                      <a:pt x="376" y="120"/>
                    </a:lnTo>
                    <a:lnTo>
                      <a:pt x="384" y="112"/>
                    </a:lnTo>
                    <a:lnTo>
                      <a:pt x="392" y="104"/>
                    </a:lnTo>
                    <a:lnTo>
                      <a:pt x="396" y="96"/>
                    </a:lnTo>
                    <a:lnTo>
                      <a:pt x="400" y="88"/>
                    </a:lnTo>
                    <a:lnTo>
                      <a:pt x="400" y="80"/>
                    </a:lnTo>
                    <a:lnTo>
                      <a:pt x="400" y="80"/>
                    </a:lnTo>
                    <a:lnTo>
                      <a:pt x="400" y="72"/>
                    </a:lnTo>
                    <a:lnTo>
                      <a:pt x="396" y="64"/>
                    </a:lnTo>
                    <a:lnTo>
                      <a:pt x="392" y="56"/>
                    </a:lnTo>
                    <a:lnTo>
                      <a:pt x="384" y="48"/>
                    </a:lnTo>
                    <a:lnTo>
                      <a:pt x="376" y="42"/>
                    </a:lnTo>
                    <a:lnTo>
                      <a:pt x="366" y="36"/>
                    </a:lnTo>
                    <a:lnTo>
                      <a:pt x="342" y="24"/>
                    </a:lnTo>
                    <a:lnTo>
                      <a:pt x="312" y="14"/>
                    </a:lnTo>
                    <a:lnTo>
                      <a:pt x="278" y="6"/>
                    </a:lnTo>
                    <a:lnTo>
                      <a:pt x="240" y="0"/>
                    </a:lnTo>
                    <a:lnTo>
                      <a:pt x="2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3" name="Freeform 53"/>
              <p:cNvSpPr>
                <a:spLocks noEditPoints="1"/>
              </p:cNvSpPr>
              <p:nvPr/>
            </p:nvSpPr>
            <p:spPr bwMode="auto">
              <a:xfrm>
                <a:off x="7758606" y="2549541"/>
                <a:ext cx="670979" cy="246670"/>
              </a:xfrm>
              <a:custGeom>
                <a:avLst/>
                <a:gdLst>
                  <a:gd name="T0" fmla="*/ 212 w 404"/>
                  <a:gd name="T1" fmla="*/ 162 h 166"/>
                  <a:gd name="T2" fmla="*/ 182 w 404"/>
                  <a:gd name="T3" fmla="*/ 166 h 166"/>
                  <a:gd name="T4" fmla="*/ 222 w 404"/>
                  <a:gd name="T5" fmla="*/ 162 h 166"/>
                  <a:gd name="T6" fmla="*/ 172 w 404"/>
                  <a:gd name="T7" fmla="*/ 164 h 166"/>
                  <a:gd name="T8" fmla="*/ 172 w 404"/>
                  <a:gd name="T9" fmla="*/ 164 h 166"/>
                  <a:gd name="T10" fmla="*/ 250 w 404"/>
                  <a:gd name="T11" fmla="*/ 164 h 166"/>
                  <a:gd name="T12" fmla="*/ 144 w 404"/>
                  <a:gd name="T13" fmla="*/ 158 h 166"/>
                  <a:gd name="T14" fmla="*/ 268 w 404"/>
                  <a:gd name="T15" fmla="*/ 158 h 166"/>
                  <a:gd name="T16" fmla="*/ 126 w 404"/>
                  <a:gd name="T17" fmla="*/ 160 h 166"/>
                  <a:gd name="T18" fmla="*/ 278 w 404"/>
                  <a:gd name="T19" fmla="*/ 156 h 166"/>
                  <a:gd name="T20" fmla="*/ 116 w 404"/>
                  <a:gd name="T21" fmla="*/ 158 h 166"/>
                  <a:gd name="T22" fmla="*/ 116 w 404"/>
                  <a:gd name="T23" fmla="*/ 158 h 166"/>
                  <a:gd name="T24" fmla="*/ 308 w 404"/>
                  <a:gd name="T25" fmla="*/ 154 h 166"/>
                  <a:gd name="T26" fmla="*/ 88 w 404"/>
                  <a:gd name="T27" fmla="*/ 148 h 166"/>
                  <a:gd name="T28" fmla="*/ 324 w 404"/>
                  <a:gd name="T29" fmla="*/ 146 h 166"/>
                  <a:gd name="T30" fmla="*/ 68 w 404"/>
                  <a:gd name="T31" fmla="*/ 144 h 166"/>
                  <a:gd name="T32" fmla="*/ 334 w 404"/>
                  <a:gd name="T33" fmla="*/ 142 h 166"/>
                  <a:gd name="T34" fmla="*/ 60 w 404"/>
                  <a:gd name="T35" fmla="*/ 142 h 166"/>
                  <a:gd name="T36" fmla="*/ 60 w 404"/>
                  <a:gd name="T37" fmla="*/ 142 h 166"/>
                  <a:gd name="T38" fmla="*/ 362 w 404"/>
                  <a:gd name="T39" fmla="*/ 134 h 166"/>
                  <a:gd name="T40" fmla="*/ 36 w 404"/>
                  <a:gd name="T41" fmla="*/ 126 h 166"/>
                  <a:gd name="T42" fmla="*/ 376 w 404"/>
                  <a:gd name="T43" fmla="*/ 120 h 166"/>
                  <a:gd name="T44" fmla="*/ 18 w 404"/>
                  <a:gd name="T45" fmla="*/ 116 h 166"/>
                  <a:gd name="T46" fmla="*/ 384 w 404"/>
                  <a:gd name="T47" fmla="*/ 114 h 166"/>
                  <a:gd name="T48" fmla="*/ 12 w 404"/>
                  <a:gd name="T49" fmla="*/ 110 h 166"/>
                  <a:gd name="T50" fmla="*/ 12 w 404"/>
                  <a:gd name="T51" fmla="*/ 110 h 166"/>
                  <a:gd name="T52" fmla="*/ 402 w 404"/>
                  <a:gd name="T53" fmla="*/ 92 h 166"/>
                  <a:gd name="T54" fmla="*/ 4 w 404"/>
                  <a:gd name="T55" fmla="*/ 82 h 166"/>
                  <a:gd name="T56" fmla="*/ 402 w 404"/>
                  <a:gd name="T57" fmla="*/ 82 h 166"/>
                  <a:gd name="T58" fmla="*/ 404 w 404"/>
                  <a:gd name="T59" fmla="*/ 82 h 166"/>
                  <a:gd name="T60" fmla="*/ 8 w 404"/>
                  <a:gd name="T61" fmla="*/ 66 h 166"/>
                  <a:gd name="T62" fmla="*/ 392 w 404"/>
                  <a:gd name="T63" fmla="*/ 56 h 166"/>
                  <a:gd name="T64" fmla="*/ 12 w 404"/>
                  <a:gd name="T65" fmla="*/ 56 h 166"/>
                  <a:gd name="T66" fmla="*/ 384 w 404"/>
                  <a:gd name="T67" fmla="*/ 50 h 166"/>
                  <a:gd name="T68" fmla="*/ 28 w 404"/>
                  <a:gd name="T69" fmla="*/ 44 h 166"/>
                  <a:gd name="T70" fmla="*/ 28 w 404"/>
                  <a:gd name="T71" fmla="*/ 44 h 166"/>
                  <a:gd name="T72" fmla="*/ 370 w 404"/>
                  <a:gd name="T73" fmla="*/ 36 h 166"/>
                  <a:gd name="T74" fmla="*/ 52 w 404"/>
                  <a:gd name="T75" fmla="*/ 30 h 166"/>
                  <a:gd name="T76" fmla="*/ 344 w 404"/>
                  <a:gd name="T77" fmla="*/ 24 h 166"/>
                  <a:gd name="T78" fmla="*/ 60 w 404"/>
                  <a:gd name="T79" fmla="*/ 24 h 166"/>
                  <a:gd name="T80" fmla="*/ 334 w 404"/>
                  <a:gd name="T81" fmla="*/ 24 h 166"/>
                  <a:gd name="T82" fmla="*/ 80 w 404"/>
                  <a:gd name="T83" fmla="*/ 20 h 166"/>
                  <a:gd name="T84" fmla="*/ 80 w 404"/>
                  <a:gd name="T85" fmla="*/ 20 h 166"/>
                  <a:gd name="T86" fmla="*/ 318 w 404"/>
                  <a:gd name="T87" fmla="*/ 14 h 166"/>
                  <a:gd name="T88" fmla="*/ 106 w 404"/>
                  <a:gd name="T89" fmla="*/ 12 h 166"/>
                  <a:gd name="T90" fmla="*/ 288 w 404"/>
                  <a:gd name="T91" fmla="*/ 8 h 166"/>
                  <a:gd name="T92" fmla="*/ 116 w 404"/>
                  <a:gd name="T93" fmla="*/ 8 h 166"/>
                  <a:gd name="T94" fmla="*/ 278 w 404"/>
                  <a:gd name="T95" fmla="*/ 10 h 166"/>
                  <a:gd name="T96" fmla="*/ 136 w 404"/>
                  <a:gd name="T97" fmla="*/ 8 h 166"/>
                  <a:gd name="T98" fmla="*/ 136 w 404"/>
                  <a:gd name="T99" fmla="*/ 8 h 166"/>
                  <a:gd name="T100" fmla="*/ 260 w 404"/>
                  <a:gd name="T101" fmla="*/ 4 h 166"/>
                  <a:gd name="T102" fmla="*/ 164 w 404"/>
                  <a:gd name="T103" fmla="*/ 4 h 166"/>
                  <a:gd name="T104" fmla="*/ 232 w 404"/>
                  <a:gd name="T105" fmla="*/ 0 h 166"/>
                  <a:gd name="T106" fmla="*/ 174 w 404"/>
                  <a:gd name="T107" fmla="*/ 0 h 166"/>
                  <a:gd name="T108" fmla="*/ 222 w 404"/>
                  <a:gd name="T109" fmla="*/ 4 h 166"/>
                  <a:gd name="T110" fmla="*/ 192 w 404"/>
                  <a:gd name="T111" fmla="*/ 2 h 166"/>
                  <a:gd name="T112" fmla="*/ 202 w 404"/>
                  <a:gd name="T113"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4" h="166">
                    <a:moveTo>
                      <a:pt x="202" y="166"/>
                    </a:moveTo>
                    <a:lnTo>
                      <a:pt x="202" y="164"/>
                    </a:lnTo>
                    <a:lnTo>
                      <a:pt x="202" y="162"/>
                    </a:lnTo>
                    <a:lnTo>
                      <a:pt x="202" y="162"/>
                    </a:lnTo>
                    <a:lnTo>
                      <a:pt x="202" y="162"/>
                    </a:lnTo>
                    <a:lnTo>
                      <a:pt x="212" y="162"/>
                    </a:lnTo>
                    <a:lnTo>
                      <a:pt x="212" y="166"/>
                    </a:lnTo>
                    <a:lnTo>
                      <a:pt x="212" y="166"/>
                    </a:lnTo>
                    <a:lnTo>
                      <a:pt x="202" y="166"/>
                    </a:lnTo>
                    <a:close/>
                    <a:moveTo>
                      <a:pt x="192" y="166"/>
                    </a:moveTo>
                    <a:lnTo>
                      <a:pt x="192" y="166"/>
                    </a:lnTo>
                    <a:lnTo>
                      <a:pt x="182" y="166"/>
                    </a:lnTo>
                    <a:lnTo>
                      <a:pt x="182" y="162"/>
                    </a:lnTo>
                    <a:lnTo>
                      <a:pt x="182" y="162"/>
                    </a:lnTo>
                    <a:lnTo>
                      <a:pt x="192" y="162"/>
                    </a:lnTo>
                    <a:lnTo>
                      <a:pt x="192" y="166"/>
                    </a:lnTo>
                    <a:close/>
                    <a:moveTo>
                      <a:pt x="222" y="166"/>
                    </a:moveTo>
                    <a:lnTo>
                      <a:pt x="222" y="162"/>
                    </a:lnTo>
                    <a:lnTo>
                      <a:pt x="222" y="162"/>
                    </a:lnTo>
                    <a:lnTo>
                      <a:pt x="230" y="162"/>
                    </a:lnTo>
                    <a:lnTo>
                      <a:pt x="230" y="164"/>
                    </a:lnTo>
                    <a:lnTo>
                      <a:pt x="230" y="164"/>
                    </a:lnTo>
                    <a:lnTo>
                      <a:pt x="222" y="166"/>
                    </a:lnTo>
                    <a:close/>
                    <a:moveTo>
                      <a:pt x="172" y="164"/>
                    </a:moveTo>
                    <a:lnTo>
                      <a:pt x="172" y="164"/>
                    </a:lnTo>
                    <a:lnTo>
                      <a:pt x="164" y="164"/>
                    </a:lnTo>
                    <a:lnTo>
                      <a:pt x="164" y="160"/>
                    </a:lnTo>
                    <a:lnTo>
                      <a:pt x="164" y="160"/>
                    </a:lnTo>
                    <a:lnTo>
                      <a:pt x="174" y="162"/>
                    </a:lnTo>
                    <a:lnTo>
                      <a:pt x="172" y="164"/>
                    </a:lnTo>
                    <a:close/>
                    <a:moveTo>
                      <a:pt x="240" y="164"/>
                    </a:moveTo>
                    <a:lnTo>
                      <a:pt x="240" y="160"/>
                    </a:lnTo>
                    <a:lnTo>
                      <a:pt x="240" y="160"/>
                    </a:lnTo>
                    <a:lnTo>
                      <a:pt x="250" y="160"/>
                    </a:lnTo>
                    <a:lnTo>
                      <a:pt x="250" y="164"/>
                    </a:lnTo>
                    <a:lnTo>
                      <a:pt x="250" y="164"/>
                    </a:lnTo>
                    <a:lnTo>
                      <a:pt x="240" y="164"/>
                    </a:lnTo>
                    <a:close/>
                    <a:moveTo>
                      <a:pt x="154" y="164"/>
                    </a:moveTo>
                    <a:lnTo>
                      <a:pt x="154" y="164"/>
                    </a:lnTo>
                    <a:lnTo>
                      <a:pt x="144" y="162"/>
                    </a:lnTo>
                    <a:lnTo>
                      <a:pt x="144" y="158"/>
                    </a:lnTo>
                    <a:lnTo>
                      <a:pt x="144" y="158"/>
                    </a:lnTo>
                    <a:lnTo>
                      <a:pt x="154" y="160"/>
                    </a:lnTo>
                    <a:lnTo>
                      <a:pt x="154" y="164"/>
                    </a:lnTo>
                    <a:close/>
                    <a:moveTo>
                      <a:pt x="260" y="162"/>
                    </a:moveTo>
                    <a:lnTo>
                      <a:pt x="260" y="158"/>
                    </a:lnTo>
                    <a:lnTo>
                      <a:pt x="260" y="158"/>
                    </a:lnTo>
                    <a:lnTo>
                      <a:pt x="268" y="158"/>
                    </a:lnTo>
                    <a:lnTo>
                      <a:pt x="270" y="160"/>
                    </a:lnTo>
                    <a:lnTo>
                      <a:pt x="270" y="160"/>
                    </a:lnTo>
                    <a:lnTo>
                      <a:pt x="260" y="162"/>
                    </a:lnTo>
                    <a:close/>
                    <a:moveTo>
                      <a:pt x="134" y="160"/>
                    </a:moveTo>
                    <a:lnTo>
                      <a:pt x="134" y="160"/>
                    </a:lnTo>
                    <a:lnTo>
                      <a:pt x="126" y="160"/>
                    </a:lnTo>
                    <a:lnTo>
                      <a:pt x="126" y="156"/>
                    </a:lnTo>
                    <a:lnTo>
                      <a:pt x="126" y="156"/>
                    </a:lnTo>
                    <a:lnTo>
                      <a:pt x="136" y="158"/>
                    </a:lnTo>
                    <a:lnTo>
                      <a:pt x="134" y="160"/>
                    </a:lnTo>
                    <a:close/>
                    <a:moveTo>
                      <a:pt x="278" y="160"/>
                    </a:moveTo>
                    <a:lnTo>
                      <a:pt x="278" y="156"/>
                    </a:lnTo>
                    <a:lnTo>
                      <a:pt x="278" y="156"/>
                    </a:lnTo>
                    <a:lnTo>
                      <a:pt x="288" y="154"/>
                    </a:lnTo>
                    <a:lnTo>
                      <a:pt x="288" y="158"/>
                    </a:lnTo>
                    <a:lnTo>
                      <a:pt x="288" y="158"/>
                    </a:lnTo>
                    <a:lnTo>
                      <a:pt x="278" y="160"/>
                    </a:lnTo>
                    <a:close/>
                    <a:moveTo>
                      <a:pt x="116" y="158"/>
                    </a:moveTo>
                    <a:lnTo>
                      <a:pt x="116" y="158"/>
                    </a:lnTo>
                    <a:lnTo>
                      <a:pt x="106" y="156"/>
                    </a:lnTo>
                    <a:lnTo>
                      <a:pt x="106" y="152"/>
                    </a:lnTo>
                    <a:lnTo>
                      <a:pt x="106" y="152"/>
                    </a:lnTo>
                    <a:lnTo>
                      <a:pt x="116" y="154"/>
                    </a:lnTo>
                    <a:lnTo>
                      <a:pt x="116" y="158"/>
                    </a:lnTo>
                    <a:close/>
                    <a:moveTo>
                      <a:pt x="298" y="156"/>
                    </a:moveTo>
                    <a:lnTo>
                      <a:pt x="298" y="152"/>
                    </a:lnTo>
                    <a:lnTo>
                      <a:pt x="298" y="152"/>
                    </a:lnTo>
                    <a:lnTo>
                      <a:pt x="306" y="150"/>
                    </a:lnTo>
                    <a:lnTo>
                      <a:pt x="308" y="154"/>
                    </a:lnTo>
                    <a:lnTo>
                      <a:pt x="308" y="154"/>
                    </a:lnTo>
                    <a:lnTo>
                      <a:pt x="298" y="156"/>
                    </a:lnTo>
                    <a:close/>
                    <a:moveTo>
                      <a:pt x="96" y="154"/>
                    </a:moveTo>
                    <a:lnTo>
                      <a:pt x="96" y="154"/>
                    </a:lnTo>
                    <a:lnTo>
                      <a:pt x="88" y="150"/>
                    </a:lnTo>
                    <a:lnTo>
                      <a:pt x="88" y="148"/>
                    </a:lnTo>
                    <a:lnTo>
                      <a:pt x="88" y="148"/>
                    </a:lnTo>
                    <a:lnTo>
                      <a:pt x="98" y="150"/>
                    </a:lnTo>
                    <a:lnTo>
                      <a:pt x="96" y="154"/>
                    </a:lnTo>
                    <a:close/>
                    <a:moveTo>
                      <a:pt x="316" y="150"/>
                    </a:moveTo>
                    <a:lnTo>
                      <a:pt x="316" y="148"/>
                    </a:lnTo>
                    <a:lnTo>
                      <a:pt x="316" y="148"/>
                    </a:lnTo>
                    <a:lnTo>
                      <a:pt x="324" y="146"/>
                    </a:lnTo>
                    <a:lnTo>
                      <a:pt x="326" y="148"/>
                    </a:lnTo>
                    <a:lnTo>
                      <a:pt x="326" y="148"/>
                    </a:lnTo>
                    <a:lnTo>
                      <a:pt x="316" y="150"/>
                    </a:lnTo>
                    <a:close/>
                    <a:moveTo>
                      <a:pt x="78" y="148"/>
                    </a:moveTo>
                    <a:lnTo>
                      <a:pt x="78" y="148"/>
                    </a:lnTo>
                    <a:lnTo>
                      <a:pt x="68" y="144"/>
                    </a:lnTo>
                    <a:lnTo>
                      <a:pt x="70" y="142"/>
                    </a:lnTo>
                    <a:lnTo>
                      <a:pt x="70" y="142"/>
                    </a:lnTo>
                    <a:lnTo>
                      <a:pt x="80" y="146"/>
                    </a:lnTo>
                    <a:lnTo>
                      <a:pt x="78" y="148"/>
                    </a:lnTo>
                    <a:close/>
                    <a:moveTo>
                      <a:pt x="334" y="146"/>
                    </a:moveTo>
                    <a:lnTo>
                      <a:pt x="334" y="142"/>
                    </a:lnTo>
                    <a:lnTo>
                      <a:pt x="334" y="142"/>
                    </a:lnTo>
                    <a:lnTo>
                      <a:pt x="342" y="138"/>
                    </a:lnTo>
                    <a:lnTo>
                      <a:pt x="344" y="142"/>
                    </a:lnTo>
                    <a:lnTo>
                      <a:pt x="344" y="142"/>
                    </a:lnTo>
                    <a:lnTo>
                      <a:pt x="334" y="146"/>
                    </a:lnTo>
                    <a:close/>
                    <a:moveTo>
                      <a:pt x="60" y="142"/>
                    </a:moveTo>
                    <a:lnTo>
                      <a:pt x="60" y="142"/>
                    </a:lnTo>
                    <a:lnTo>
                      <a:pt x="50" y="138"/>
                    </a:lnTo>
                    <a:lnTo>
                      <a:pt x="52" y="134"/>
                    </a:lnTo>
                    <a:lnTo>
                      <a:pt x="52" y="134"/>
                    </a:lnTo>
                    <a:lnTo>
                      <a:pt x="62" y="138"/>
                    </a:lnTo>
                    <a:lnTo>
                      <a:pt x="60" y="142"/>
                    </a:lnTo>
                    <a:close/>
                    <a:moveTo>
                      <a:pt x="352" y="138"/>
                    </a:moveTo>
                    <a:lnTo>
                      <a:pt x="352" y="134"/>
                    </a:lnTo>
                    <a:lnTo>
                      <a:pt x="352" y="134"/>
                    </a:lnTo>
                    <a:lnTo>
                      <a:pt x="360" y="130"/>
                    </a:lnTo>
                    <a:lnTo>
                      <a:pt x="362" y="134"/>
                    </a:lnTo>
                    <a:lnTo>
                      <a:pt x="362" y="134"/>
                    </a:lnTo>
                    <a:lnTo>
                      <a:pt x="352" y="138"/>
                    </a:lnTo>
                    <a:close/>
                    <a:moveTo>
                      <a:pt x="42" y="134"/>
                    </a:moveTo>
                    <a:lnTo>
                      <a:pt x="42" y="134"/>
                    </a:lnTo>
                    <a:lnTo>
                      <a:pt x="34" y="128"/>
                    </a:lnTo>
                    <a:lnTo>
                      <a:pt x="36" y="126"/>
                    </a:lnTo>
                    <a:lnTo>
                      <a:pt x="36" y="126"/>
                    </a:lnTo>
                    <a:lnTo>
                      <a:pt x="44" y="130"/>
                    </a:lnTo>
                    <a:lnTo>
                      <a:pt x="42" y="134"/>
                    </a:lnTo>
                    <a:close/>
                    <a:moveTo>
                      <a:pt x="370" y="128"/>
                    </a:moveTo>
                    <a:lnTo>
                      <a:pt x="368" y="126"/>
                    </a:lnTo>
                    <a:lnTo>
                      <a:pt x="368" y="126"/>
                    </a:lnTo>
                    <a:lnTo>
                      <a:pt x="376" y="120"/>
                    </a:lnTo>
                    <a:lnTo>
                      <a:pt x="378" y="124"/>
                    </a:lnTo>
                    <a:lnTo>
                      <a:pt x="378" y="124"/>
                    </a:lnTo>
                    <a:lnTo>
                      <a:pt x="370" y="128"/>
                    </a:lnTo>
                    <a:close/>
                    <a:moveTo>
                      <a:pt x="26" y="122"/>
                    </a:moveTo>
                    <a:lnTo>
                      <a:pt x="26" y="122"/>
                    </a:lnTo>
                    <a:lnTo>
                      <a:pt x="18" y="116"/>
                    </a:lnTo>
                    <a:lnTo>
                      <a:pt x="20" y="114"/>
                    </a:lnTo>
                    <a:lnTo>
                      <a:pt x="20" y="114"/>
                    </a:lnTo>
                    <a:lnTo>
                      <a:pt x="28" y="120"/>
                    </a:lnTo>
                    <a:lnTo>
                      <a:pt x="26" y="122"/>
                    </a:lnTo>
                    <a:close/>
                    <a:moveTo>
                      <a:pt x="386" y="118"/>
                    </a:moveTo>
                    <a:lnTo>
                      <a:pt x="384" y="114"/>
                    </a:lnTo>
                    <a:lnTo>
                      <a:pt x="384" y="114"/>
                    </a:lnTo>
                    <a:lnTo>
                      <a:pt x="390" y="108"/>
                    </a:lnTo>
                    <a:lnTo>
                      <a:pt x="392" y="110"/>
                    </a:lnTo>
                    <a:lnTo>
                      <a:pt x="392" y="110"/>
                    </a:lnTo>
                    <a:lnTo>
                      <a:pt x="386" y="118"/>
                    </a:lnTo>
                    <a:close/>
                    <a:moveTo>
                      <a:pt x="12" y="110"/>
                    </a:moveTo>
                    <a:lnTo>
                      <a:pt x="12" y="110"/>
                    </a:lnTo>
                    <a:lnTo>
                      <a:pt x="6" y="102"/>
                    </a:lnTo>
                    <a:lnTo>
                      <a:pt x="8" y="100"/>
                    </a:lnTo>
                    <a:lnTo>
                      <a:pt x="8" y="100"/>
                    </a:lnTo>
                    <a:lnTo>
                      <a:pt x="14" y="108"/>
                    </a:lnTo>
                    <a:lnTo>
                      <a:pt x="12" y="110"/>
                    </a:lnTo>
                    <a:close/>
                    <a:moveTo>
                      <a:pt x="398" y="102"/>
                    </a:moveTo>
                    <a:lnTo>
                      <a:pt x="396" y="100"/>
                    </a:lnTo>
                    <a:lnTo>
                      <a:pt x="396" y="100"/>
                    </a:lnTo>
                    <a:lnTo>
                      <a:pt x="400" y="92"/>
                    </a:lnTo>
                    <a:lnTo>
                      <a:pt x="402" y="92"/>
                    </a:lnTo>
                    <a:lnTo>
                      <a:pt x="402" y="92"/>
                    </a:lnTo>
                    <a:lnTo>
                      <a:pt x="398" y="102"/>
                    </a:lnTo>
                    <a:close/>
                    <a:moveTo>
                      <a:pt x="2" y="92"/>
                    </a:moveTo>
                    <a:lnTo>
                      <a:pt x="2" y="92"/>
                    </a:lnTo>
                    <a:lnTo>
                      <a:pt x="0" y="82"/>
                    </a:lnTo>
                    <a:lnTo>
                      <a:pt x="4" y="82"/>
                    </a:lnTo>
                    <a:lnTo>
                      <a:pt x="4" y="82"/>
                    </a:lnTo>
                    <a:lnTo>
                      <a:pt x="4" y="82"/>
                    </a:lnTo>
                    <a:lnTo>
                      <a:pt x="6" y="92"/>
                    </a:lnTo>
                    <a:lnTo>
                      <a:pt x="2" y="92"/>
                    </a:lnTo>
                    <a:close/>
                    <a:moveTo>
                      <a:pt x="404" y="82"/>
                    </a:moveTo>
                    <a:lnTo>
                      <a:pt x="400" y="82"/>
                    </a:lnTo>
                    <a:lnTo>
                      <a:pt x="402" y="82"/>
                    </a:lnTo>
                    <a:lnTo>
                      <a:pt x="400" y="82"/>
                    </a:lnTo>
                    <a:lnTo>
                      <a:pt x="400" y="82"/>
                    </a:lnTo>
                    <a:lnTo>
                      <a:pt x="400" y="74"/>
                    </a:lnTo>
                    <a:lnTo>
                      <a:pt x="402" y="72"/>
                    </a:lnTo>
                    <a:lnTo>
                      <a:pt x="402" y="72"/>
                    </a:lnTo>
                    <a:lnTo>
                      <a:pt x="404" y="82"/>
                    </a:lnTo>
                    <a:lnTo>
                      <a:pt x="404" y="82"/>
                    </a:lnTo>
                    <a:close/>
                    <a:moveTo>
                      <a:pt x="6" y="74"/>
                    </a:moveTo>
                    <a:lnTo>
                      <a:pt x="2" y="72"/>
                    </a:lnTo>
                    <a:lnTo>
                      <a:pt x="2" y="72"/>
                    </a:lnTo>
                    <a:lnTo>
                      <a:pt x="6" y="64"/>
                    </a:lnTo>
                    <a:lnTo>
                      <a:pt x="8" y="66"/>
                    </a:lnTo>
                    <a:lnTo>
                      <a:pt x="8" y="66"/>
                    </a:lnTo>
                    <a:lnTo>
                      <a:pt x="6" y="74"/>
                    </a:lnTo>
                    <a:close/>
                    <a:moveTo>
                      <a:pt x="396" y="66"/>
                    </a:moveTo>
                    <a:lnTo>
                      <a:pt x="396" y="66"/>
                    </a:lnTo>
                    <a:lnTo>
                      <a:pt x="390" y="58"/>
                    </a:lnTo>
                    <a:lnTo>
                      <a:pt x="392" y="56"/>
                    </a:lnTo>
                    <a:lnTo>
                      <a:pt x="392" y="56"/>
                    </a:lnTo>
                    <a:lnTo>
                      <a:pt x="398" y="64"/>
                    </a:lnTo>
                    <a:lnTo>
                      <a:pt x="396" y="66"/>
                    </a:lnTo>
                    <a:close/>
                    <a:moveTo>
                      <a:pt x="14" y="58"/>
                    </a:moveTo>
                    <a:lnTo>
                      <a:pt x="12" y="56"/>
                    </a:lnTo>
                    <a:lnTo>
                      <a:pt x="12" y="56"/>
                    </a:lnTo>
                    <a:lnTo>
                      <a:pt x="18" y="48"/>
                    </a:lnTo>
                    <a:lnTo>
                      <a:pt x="20" y="50"/>
                    </a:lnTo>
                    <a:lnTo>
                      <a:pt x="20" y="50"/>
                    </a:lnTo>
                    <a:lnTo>
                      <a:pt x="14" y="58"/>
                    </a:lnTo>
                    <a:close/>
                    <a:moveTo>
                      <a:pt x="384" y="50"/>
                    </a:moveTo>
                    <a:lnTo>
                      <a:pt x="384" y="50"/>
                    </a:lnTo>
                    <a:lnTo>
                      <a:pt x="376" y="44"/>
                    </a:lnTo>
                    <a:lnTo>
                      <a:pt x="378" y="42"/>
                    </a:lnTo>
                    <a:lnTo>
                      <a:pt x="378" y="42"/>
                    </a:lnTo>
                    <a:lnTo>
                      <a:pt x="386" y="48"/>
                    </a:lnTo>
                    <a:lnTo>
                      <a:pt x="384" y="50"/>
                    </a:lnTo>
                    <a:close/>
                    <a:moveTo>
                      <a:pt x="28" y="44"/>
                    </a:moveTo>
                    <a:lnTo>
                      <a:pt x="26" y="42"/>
                    </a:lnTo>
                    <a:lnTo>
                      <a:pt x="26" y="42"/>
                    </a:lnTo>
                    <a:lnTo>
                      <a:pt x="34" y="36"/>
                    </a:lnTo>
                    <a:lnTo>
                      <a:pt x="36" y="40"/>
                    </a:lnTo>
                    <a:lnTo>
                      <a:pt x="36" y="40"/>
                    </a:lnTo>
                    <a:lnTo>
                      <a:pt x="28" y="44"/>
                    </a:lnTo>
                    <a:close/>
                    <a:moveTo>
                      <a:pt x="368" y="40"/>
                    </a:moveTo>
                    <a:lnTo>
                      <a:pt x="368" y="40"/>
                    </a:lnTo>
                    <a:lnTo>
                      <a:pt x="360" y="34"/>
                    </a:lnTo>
                    <a:lnTo>
                      <a:pt x="362" y="32"/>
                    </a:lnTo>
                    <a:lnTo>
                      <a:pt x="362" y="32"/>
                    </a:lnTo>
                    <a:lnTo>
                      <a:pt x="370" y="36"/>
                    </a:lnTo>
                    <a:lnTo>
                      <a:pt x="368" y="40"/>
                    </a:lnTo>
                    <a:close/>
                    <a:moveTo>
                      <a:pt x="44" y="34"/>
                    </a:moveTo>
                    <a:lnTo>
                      <a:pt x="42" y="32"/>
                    </a:lnTo>
                    <a:lnTo>
                      <a:pt x="42" y="32"/>
                    </a:lnTo>
                    <a:lnTo>
                      <a:pt x="52" y="28"/>
                    </a:lnTo>
                    <a:lnTo>
                      <a:pt x="52" y="30"/>
                    </a:lnTo>
                    <a:lnTo>
                      <a:pt x="52" y="30"/>
                    </a:lnTo>
                    <a:lnTo>
                      <a:pt x="44" y="34"/>
                    </a:lnTo>
                    <a:close/>
                    <a:moveTo>
                      <a:pt x="352" y="30"/>
                    </a:moveTo>
                    <a:lnTo>
                      <a:pt x="352" y="30"/>
                    </a:lnTo>
                    <a:lnTo>
                      <a:pt x="344" y="26"/>
                    </a:lnTo>
                    <a:lnTo>
                      <a:pt x="344" y="24"/>
                    </a:lnTo>
                    <a:lnTo>
                      <a:pt x="344" y="24"/>
                    </a:lnTo>
                    <a:lnTo>
                      <a:pt x="354" y="28"/>
                    </a:lnTo>
                    <a:lnTo>
                      <a:pt x="352" y="30"/>
                    </a:lnTo>
                    <a:close/>
                    <a:moveTo>
                      <a:pt x="62" y="26"/>
                    </a:moveTo>
                    <a:lnTo>
                      <a:pt x="60" y="24"/>
                    </a:lnTo>
                    <a:lnTo>
                      <a:pt x="60" y="24"/>
                    </a:lnTo>
                    <a:lnTo>
                      <a:pt x="70" y="20"/>
                    </a:lnTo>
                    <a:lnTo>
                      <a:pt x="70" y="24"/>
                    </a:lnTo>
                    <a:lnTo>
                      <a:pt x="70" y="24"/>
                    </a:lnTo>
                    <a:lnTo>
                      <a:pt x="62" y="26"/>
                    </a:lnTo>
                    <a:close/>
                    <a:moveTo>
                      <a:pt x="334" y="24"/>
                    </a:moveTo>
                    <a:lnTo>
                      <a:pt x="334" y="24"/>
                    </a:lnTo>
                    <a:lnTo>
                      <a:pt x="326" y="20"/>
                    </a:lnTo>
                    <a:lnTo>
                      <a:pt x="326" y="18"/>
                    </a:lnTo>
                    <a:lnTo>
                      <a:pt x="326" y="18"/>
                    </a:lnTo>
                    <a:lnTo>
                      <a:pt x="336" y="20"/>
                    </a:lnTo>
                    <a:lnTo>
                      <a:pt x="334" y="24"/>
                    </a:lnTo>
                    <a:close/>
                    <a:moveTo>
                      <a:pt x="80" y="20"/>
                    </a:moveTo>
                    <a:lnTo>
                      <a:pt x="78" y="18"/>
                    </a:lnTo>
                    <a:lnTo>
                      <a:pt x="78" y="18"/>
                    </a:lnTo>
                    <a:lnTo>
                      <a:pt x="88" y="14"/>
                    </a:lnTo>
                    <a:lnTo>
                      <a:pt x="88" y="18"/>
                    </a:lnTo>
                    <a:lnTo>
                      <a:pt x="88" y="18"/>
                    </a:lnTo>
                    <a:lnTo>
                      <a:pt x="80" y="20"/>
                    </a:lnTo>
                    <a:close/>
                    <a:moveTo>
                      <a:pt x="316" y="18"/>
                    </a:moveTo>
                    <a:lnTo>
                      <a:pt x="316" y="18"/>
                    </a:lnTo>
                    <a:lnTo>
                      <a:pt x="306" y="14"/>
                    </a:lnTo>
                    <a:lnTo>
                      <a:pt x="308" y="12"/>
                    </a:lnTo>
                    <a:lnTo>
                      <a:pt x="308" y="12"/>
                    </a:lnTo>
                    <a:lnTo>
                      <a:pt x="318" y="14"/>
                    </a:lnTo>
                    <a:lnTo>
                      <a:pt x="316" y="18"/>
                    </a:lnTo>
                    <a:close/>
                    <a:moveTo>
                      <a:pt x="98" y="14"/>
                    </a:moveTo>
                    <a:lnTo>
                      <a:pt x="96" y="12"/>
                    </a:lnTo>
                    <a:lnTo>
                      <a:pt x="96" y="12"/>
                    </a:lnTo>
                    <a:lnTo>
                      <a:pt x="106" y="10"/>
                    </a:lnTo>
                    <a:lnTo>
                      <a:pt x="106" y="12"/>
                    </a:lnTo>
                    <a:lnTo>
                      <a:pt x="106" y="12"/>
                    </a:lnTo>
                    <a:lnTo>
                      <a:pt x="98" y="14"/>
                    </a:lnTo>
                    <a:close/>
                    <a:moveTo>
                      <a:pt x="298" y="12"/>
                    </a:moveTo>
                    <a:lnTo>
                      <a:pt x="298" y="12"/>
                    </a:lnTo>
                    <a:lnTo>
                      <a:pt x="288" y="10"/>
                    </a:lnTo>
                    <a:lnTo>
                      <a:pt x="288" y="8"/>
                    </a:lnTo>
                    <a:lnTo>
                      <a:pt x="288" y="8"/>
                    </a:lnTo>
                    <a:lnTo>
                      <a:pt x="298" y="10"/>
                    </a:lnTo>
                    <a:lnTo>
                      <a:pt x="298" y="12"/>
                    </a:lnTo>
                    <a:close/>
                    <a:moveTo>
                      <a:pt x="116" y="10"/>
                    </a:moveTo>
                    <a:lnTo>
                      <a:pt x="116" y="8"/>
                    </a:lnTo>
                    <a:lnTo>
                      <a:pt x="116" y="8"/>
                    </a:lnTo>
                    <a:lnTo>
                      <a:pt x="126" y="6"/>
                    </a:lnTo>
                    <a:lnTo>
                      <a:pt x="126" y="8"/>
                    </a:lnTo>
                    <a:lnTo>
                      <a:pt x="126" y="8"/>
                    </a:lnTo>
                    <a:lnTo>
                      <a:pt x="116" y="10"/>
                    </a:lnTo>
                    <a:close/>
                    <a:moveTo>
                      <a:pt x="278" y="10"/>
                    </a:moveTo>
                    <a:lnTo>
                      <a:pt x="278" y="10"/>
                    </a:lnTo>
                    <a:lnTo>
                      <a:pt x="270" y="8"/>
                    </a:lnTo>
                    <a:lnTo>
                      <a:pt x="270" y="4"/>
                    </a:lnTo>
                    <a:lnTo>
                      <a:pt x="270" y="4"/>
                    </a:lnTo>
                    <a:lnTo>
                      <a:pt x="280" y="6"/>
                    </a:lnTo>
                    <a:lnTo>
                      <a:pt x="278" y="10"/>
                    </a:lnTo>
                    <a:close/>
                    <a:moveTo>
                      <a:pt x="136" y="8"/>
                    </a:moveTo>
                    <a:lnTo>
                      <a:pt x="134" y="4"/>
                    </a:lnTo>
                    <a:lnTo>
                      <a:pt x="134" y="4"/>
                    </a:lnTo>
                    <a:lnTo>
                      <a:pt x="144" y="4"/>
                    </a:lnTo>
                    <a:lnTo>
                      <a:pt x="144" y="6"/>
                    </a:lnTo>
                    <a:lnTo>
                      <a:pt x="144" y="6"/>
                    </a:lnTo>
                    <a:lnTo>
                      <a:pt x="136" y="8"/>
                    </a:lnTo>
                    <a:close/>
                    <a:moveTo>
                      <a:pt x="260" y="6"/>
                    </a:moveTo>
                    <a:lnTo>
                      <a:pt x="260" y="6"/>
                    </a:lnTo>
                    <a:lnTo>
                      <a:pt x="250" y="6"/>
                    </a:lnTo>
                    <a:lnTo>
                      <a:pt x="250" y="2"/>
                    </a:lnTo>
                    <a:lnTo>
                      <a:pt x="250" y="2"/>
                    </a:lnTo>
                    <a:lnTo>
                      <a:pt x="260" y="4"/>
                    </a:lnTo>
                    <a:lnTo>
                      <a:pt x="260" y="6"/>
                    </a:lnTo>
                    <a:close/>
                    <a:moveTo>
                      <a:pt x="154" y="6"/>
                    </a:moveTo>
                    <a:lnTo>
                      <a:pt x="154" y="2"/>
                    </a:lnTo>
                    <a:lnTo>
                      <a:pt x="154" y="2"/>
                    </a:lnTo>
                    <a:lnTo>
                      <a:pt x="164" y="2"/>
                    </a:lnTo>
                    <a:lnTo>
                      <a:pt x="164" y="4"/>
                    </a:lnTo>
                    <a:lnTo>
                      <a:pt x="164" y="4"/>
                    </a:lnTo>
                    <a:lnTo>
                      <a:pt x="154" y="6"/>
                    </a:lnTo>
                    <a:close/>
                    <a:moveTo>
                      <a:pt x="240" y="4"/>
                    </a:moveTo>
                    <a:lnTo>
                      <a:pt x="240" y="4"/>
                    </a:lnTo>
                    <a:lnTo>
                      <a:pt x="232" y="4"/>
                    </a:lnTo>
                    <a:lnTo>
                      <a:pt x="232" y="0"/>
                    </a:lnTo>
                    <a:lnTo>
                      <a:pt x="232" y="0"/>
                    </a:lnTo>
                    <a:lnTo>
                      <a:pt x="242" y="2"/>
                    </a:lnTo>
                    <a:lnTo>
                      <a:pt x="240" y="4"/>
                    </a:lnTo>
                    <a:close/>
                    <a:moveTo>
                      <a:pt x="174" y="4"/>
                    </a:moveTo>
                    <a:lnTo>
                      <a:pt x="174" y="0"/>
                    </a:lnTo>
                    <a:lnTo>
                      <a:pt x="174" y="0"/>
                    </a:lnTo>
                    <a:lnTo>
                      <a:pt x="182" y="0"/>
                    </a:lnTo>
                    <a:lnTo>
                      <a:pt x="182" y="4"/>
                    </a:lnTo>
                    <a:lnTo>
                      <a:pt x="182" y="4"/>
                    </a:lnTo>
                    <a:lnTo>
                      <a:pt x="174" y="4"/>
                    </a:lnTo>
                    <a:close/>
                    <a:moveTo>
                      <a:pt x="222" y="4"/>
                    </a:moveTo>
                    <a:lnTo>
                      <a:pt x="222" y="4"/>
                    </a:lnTo>
                    <a:lnTo>
                      <a:pt x="212" y="2"/>
                    </a:lnTo>
                    <a:lnTo>
                      <a:pt x="212" y="0"/>
                    </a:lnTo>
                    <a:lnTo>
                      <a:pt x="212" y="0"/>
                    </a:lnTo>
                    <a:lnTo>
                      <a:pt x="222" y="0"/>
                    </a:lnTo>
                    <a:lnTo>
                      <a:pt x="222" y="4"/>
                    </a:lnTo>
                    <a:close/>
                    <a:moveTo>
                      <a:pt x="192" y="2"/>
                    </a:moveTo>
                    <a:lnTo>
                      <a:pt x="192" y="0"/>
                    </a:lnTo>
                    <a:lnTo>
                      <a:pt x="192" y="0"/>
                    </a:lnTo>
                    <a:lnTo>
                      <a:pt x="202" y="0"/>
                    </a:lnTo>
                    <a:lnTo>
                      <a:pt x="202" y="0"/>
                    </a:lnTo>
                    <a:lnTo>
                      <a:pt x="202" y="2"/>
                    </a:lnTo>
                    <a:lnTo>
                      <a:pt x="202" y="2"/>
                    </a:lnTo>
                    <a:lnTo>
                      <a:pt x="202" y="2"/>
                    </a:lnTo>
                    <a:lnTo>
                      <a:pt x="192" y="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4" name="Freeform 54"/>
              <p:cNvSpPr/>
              <p:nvPr/>
            </p:nvSpPr>
            <p:spPr bwMode="auto">
              <a:xfrm>
                <a:off x="8094095" y="2790267"/>
                <a:ext cx="16608" cy="5944"/>
              </a:xfrm>
              <a:custGeom>
                <a:avLst/>
                <a:gdLst>
                  <a:gd name="T0" fmla="*/ 0 w 10"/>
                  <a:gd name="T1" fmla="*/ 4 h 4"/>
                  <a:gd name="T2" fmla="*/ 0 w 10"/>
                  <a:gd name="T3" fmla="*/ 2 h 4"/>
                  <a:gd name="T4" fmla="*/ 0 w 10"/>
                  <a:gd name="T5" fmla="*/ 0 h 4"/>
                  <a:gd name="T6" fmla="*/ 0 w 10"/>
                  <a:gd name="T7" fmla="*/ 0 h 4"/>
                  <a:gd name="T8" fmla="*/ 0 w 10"/>
                  <a:gd name="T9" fmla="*/ 0 h 4"/>
                  <a:gd name="T10" fmla="*/ 10 w 10"/>
                  <a:gd name="T11" fmla="*/ 0 h 4"/>
                  <a:gd name="T12" fmla="*/ 10 w 10"/>
                  <a:gd name="T13" fmla="*/ 4 h 4"/>
                  <a:gd name="T14" fmla="*/ 10 w 10"/>
                  <a:gd name="T15" fmla="*/ 4 h 4"/>
                  <a:gd name="T16" fmla="*/ 0 w 10"/>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
                    <a:moveTo>
                      <a:pt x="0" y="4"/>
                    </a:moveTo>
                    <a:lnTo>
                      <a:pt x="0" y="2"/>
                    </a:lnTo>
                    <a:lnTo>
                      <a:pt x="0" y="0"/>
                    </a:lnTo>
                    <a:lnTo>
                      <a:pt x="0" y="0"/>
                    </a:lnTo>
                    <a:lnTo>
                      <a:pt x="0" y="0"/>
                    </a:lnTo>
                    <a:lnTo>
                      <a:pt x="10" y="0"/>
                    </a:lnTo>
                    <a:lnTo>
                      <a:pt x="10" y="4"/>
                    </a:lnTo>
                    <a:lnTo>
                      <a:pt x="1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5" name="Freeform 55"/>
              <p:cNvSpPr/>
              <p:nvPr/>
            </p:nvSpPr>
            <p:spPr bwMode="auto">
              <a:xfrm>
                <a:off x="8060879" y="2790267"/>
                <a:ext cx="16608" cy="5944"/>
              </a:xfrm>
              <a:custGeom>
                <a:avLst/>
                <a:gdLst>
                  <a:gd name="T0" fmla="*/ 10 w 10"/>
                  <a:gd name="T1" fmla="*/ 4 h 4"/>
                  <a:gd name="T2" fmla="*/ 10 w 10"/>
                  <a:gd name="T3" fmla="*/ 4 h 4"/>
                  <a:gd name="T4" fmla="*/ 0 w 10"/>
                  <a:gd name="T5" fmla="*/ 4 h 4"/>
                  <a:gd name="T6" fmla="*/ 0 w 10"/>
                  <a:gd name="T7" fmla="*/ 0 h 4"/>
                  <a:gd name="T8" fmla="*/ 0 w 10"/>
                  <a:gd name="T9" fmla="*/ 0 h 4"/>
                  <a:gd name="T10" fmla="*/ 10 w 10"/>
                  <a:gd name="T11" fmla="*/ 0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4"/>
                    </a:lnTo>
                    <a:lnTo>
                      <a:pt x="0" y="0"/>
                    </a:lnTo>
                    <a:lnTo>
                      <a:pt x="0" y="0"/>
                    </a:lnTo>
                    <a:lnTo>
                      <a:pt x="10" y="0"/>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6" name="Freeform 56"/>
              <p:cNvSpPr/>
              <p:nvPr/>
            </p:nvSpPr>
            <p:spPr bwMode="auto">
              <a:xfrm>
                <a:off x="8127312" y="2790267"/>
                <a:ext cx="13287" cy="5944"/>
              </a:xfrm>
              <a:custGeom>
                <a:avLst/>
                <a:gdLst>
                  <a:gd name="T0" fmla="*/ 0 w 8"/>
                  <a:gd name="T1" fmla="*/ 4 h 4"/>
                  <a:gd name="T2" fmla="*/ 0 w 8"/>
                  <a:gd name="T3" fmla="*/ 0 h 4"/>
                  <a:gd name="T4" fmla="*/ 0 w 8"/>
                  <a:gd name="T5" fmla="*/ 0 h 4"/>
                  <a:gd name="T6" fmla="*/ 8 w 8"/>
                  <a:gd name="T7" fmla="*/ 0 h 4"/>
                  <a:gd name="T8" fmla="*/ 8 w 8"/>
                  <a:gd name="T9" fmla="*/ 2 h 4"/>
                  <a:gd name="T10" fmla="*/ 8 w 8"/>
                  <a:gd name="T11" fmla="*/ 2 h 4"/>
                  <a:gd name="T12" fmla="*/ 0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0" y="4"/>
                    </a:moveTo>
                    <a:lnTo>
                      <a:pt x="0" y="0"/>
                    </a:lnTo>
                    <a:lnTo>
                      <a:pt x="0" y="0"/>
                    </a:lnTo>
                    <a:lnTo>
                      <a:pt x="8" y="0"/>
                    </a:lnTo>
                    <a:lnTo>
                      <a:pt x="8" y="2"/>
                    </a:lnTo>
                    <a:lnTo>
                      <a:pt x="8"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7" name="Freeform 57"/>
              <p:cNvSpPr/>
              <p:nvPr/>
            </p:nvSpPr>
            <p:spPr bwMode="auto">
              <a:xfrm>
                <a:off x="8030983" y="2787295"/>
                <a:ext cx="16608" cy="5944"/>
              </a:xfrm>
              <a:custGeom>
                <a:avLst/>
                <a:gdLst>
                  <a:gd name="T0" fmla="*/ 8 w 10"/>
                  <a:gd name="T1" fmla="*/ 4 h 4"/>
                  <a:gd name="T2" fmla="*/ 8 w 10"/>
                  <a:gd name="T3" fmla="*/ 4 h 4"/>
                  <a:gd name="T4" fmla="*/ 0 w 10"/>
                  <a:gd name="T5" fmla="*/ 4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4"/>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8" name="Freeform 58"/>
              <p:cNvSpPr/>
              <p:nvPr/>
            </p:nvSpPr>
            <p:spPr bwMode="auto">
              <a:xfrm>
                <a:off x="8157207" y="2787295"/>
                <a:ext cx="16608" cy="5944"/>
              </a:xfrm>
              <a:custGeom>
                <a:avLst/>
                <a:gdLst>
                  <a:gd name="T0" fmla="*/ 0 w 10"/>
                  <a:gd name="T1" fmla="*/ 4 h 4"/>
                  <a:gd name="T2" fmla="*/ 0 w 10"/>
                  <a:gd name="T3" fmla="*/ 0 h 4"/>
                  <a:gd name="T4" fmla="*/ 0 w 10"/>
                  <a:gd name="T5" fmla="*/ 0 h 4"/>
                  <a:gd name="T6" fmla="*/ 10 w 10"/>
                  <a:gd name="T7" fmla="*/ 0 h 4"/>
                  <a:gd name="T8" fmla="*/ 10 w 10"/>
                  <a:gd name="T9" fmla="*/ 4 h 4"/>
                  <a:gd name="T10" fmla="*/ 10 w 10"/>
                  <a:gd name="T11" fmla="*/ 4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10" y="0"/>
                    </a:lnTo>
                    <a:lnTo>
                      <a:pt x="10" y="4"/>
                    </a:lnTo>
                    <a:lnTo>
                      <a:pt x="1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99" name="Freeform 59"/>
              <p:cNvSpPr/>
              <p:nvPr/>
            </p:nvSpPr>
            <p:spPr bwMode="auto">
              <a:xfrm>
                <a:off x="7997767" y="2784323"/>
                <a:ext cx="16608" cy="8916"/>
              </a:xfrm>
              <a:custGeom>
                <a:avLst/>
                <a:gdLst>
                  <a:gd name="T0" fmla="*/ 10 w 10"/>
                  <a:gd name="T1" fmla="*/ 6 h 6"/>
                  <a:gd name="T2" fmla="*/ 10 w 10"/>
                  <a:gd name="T3" fmla="*/ 6 h 6"/>
                  <a:gd name="T4" fmla="*/ 0 w 10"/>
                  <a:gd name="T5" fmla="*/ 4 h 6"/>
                  <a:gd name="T6" fmla="*/ 0 w 10"/>
                  <a:gd name="T7" fmla="*/ 0 h 6"/>
                  <a:gd name="T8" fmla="*/ 0 w 10"/>
                  <a:gd name="T9" fmla="*/ 0 h 6"/>
                  <a:gd name="T10" fmla="*/ 10 w 10"/>
                  <a:gd name="T11" fmla="*/ 2 h 6"/>
                  <a:gd name="T12" fmla="*/ 1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6"/>
                    </a:moveTo>
                    <a:lnTo>
                      <a:pt x="10" y="6"/>
                    </a:lnTo>
                    <a:lnTo>
                      <a:pt x="0" y="4"/>
                    </a:lnTo>
                    <a:lnTo>
                      <a:pt x="0" y="0"/>
                    </a:lnTo>
                    <a:lnTo>
                      <a:pt x="0" y="0"/>
                    </a:lnTo>
                    <a:lnTo>
                      <a:pt x="10" y="2"/>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0" name="Freeform 60"/>
              <p:cNvSpPr/>
              <p:nvPr/>
            </p:nvSpPr>
            <p:spPr bwMode="auto">
              <a:xfrm>
                <a:off x="8190424" y="2784323"/>
                <a:ext cx="16608" cy="5944"/>
              </a:xfrm>
              <a:custGeom>
                <a:avLst/>
                <a:gdLst>
                  <a:gd name="T0" fmla="*/ 0 w 10"/>
                  <a:gd name="T1" fmla="*/ 4 h 4"/>
                  <a:gd name="T2" fmla="*/ 0 w 10"/>
                  <a:gd name="T3" fmla="*/ 0 h 4"/>
                  <a:gd name="T4" fmla="*/ 0 w 10"/>
                  <a:gd name="T5" fmla="*/ 0 h 4"/>
                  <a:gd name="T6" fmla="*/ 8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8"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1" name="Freeform 61"/>
              <p:cNvSpPr/>
              <p:nvPr/>
            </p:nvSpPr>
            <p:spPr bwMode="auto">
              <a:xfrm>
                <a:off x="7967872" y="2781351"/>
                <a:ext cx="16608" cy="5944"/>
              </a:xfrm>
              <a:custGeom>
                <a:avLst/>
                <a:gdLst>
                  <a:gd name="T0" fmla="*/ 8 w 10"/>
                  <a:gd name="T1" fmla="*/ 4 h 4"/>
                  <a:gd name="T2" fmla="*/ 8 w 10"/>
                  <a:gd name="T3" fmla="*/ 4 h 4"/>
                  <a:gd name="T4" fmla="*/ 0 w 10"/>
                  <a:gd name="T5" fmla="*/ 4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4"/>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2" name="Freeform 62"/>
              <p:cNvSpPr/>
              <p:nvPr/>
            </p:nvSpPr>
            <p:spPr bwMode="auto">
              <a:xfrm>
                <a:off x="8220319" y="2778380"/>
                <a:ext cx="16608" cy="8916"/>
              </a:xfrm>
              <a:custGeom>
                <a:avLst/>
                <a:gdLst>
                  <a:gd name="T0" fmla="*/ 0 w 10"/>
                  <a:gd name="T1" fmla="*/ 6 h 6"/>
                  <a:gd name="T2" fmla="*/ 0 w 10"/>
                  <a:gd name="T3" fmla="*/ 2 h 6"/>
                  <a:gd name="T4" fmla="*/ 0 w 10"/>
                  <a:gd name="T5" fmla="*/ 2 h 6"/>
                  <a:gd name="T6" fmla="*/ 10 w 10"/>
                  <a:gd name="T7" fmla="*/ 0 h 6"/>
                  <a:gd name="T8" fmla="*/ 10 w 10"/>
                  <a:gd name="T9" fmla="*/ 4 h 6"/>
                  <a:gd name="T10" fmla="*/ 10 w 10"/>
                  <a:gd name="T11" fmla="*/ 4 h 6"/>
                  <a:gd name="T12" fmla="*/ 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0" y="6"/>
                    </a:moveTo>
                    <a:lnTo>
                      <a:pt x="0" y="2"/>
                    </a:lnTo>
                    <a:lnTo>
                      <a:pt x="0" y="2"/>
                    </a:lnTo>
                    <a:lnTo>
                      <a:pt x="10" y="0"/>
                    </a:lnTo>
                    <a:lnTo>
                      <a:pt x="10" y="4"/>
                    </a:lnTo>
                    <a:lnTo>
                      <a:pt x="10"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3" name="Freeform 63"/>
              <p:cNvSpPr/>
              <p:nvPr/>
            </p:nvSpPr>
            <p:spPr bwMode="auto">
              <a:xfrm>
                <a:off x="7934655" y="2775408"/>
                <a:ext cx="16608" cy="8916"/>
              </a:xfrm>
              <a:custGeom>
                <a:avLst/>
                <a:gdLst>
                  <a:gd name="T0" fmla="*/ 10 w 10"/>
                  <a:gd name="T1" fmla="*/ 6 h 6"/>
                  <a:gd name="T2" fmla="*/ 10 w 10"/>
                  <a:gd name="T3" fmla="*/ 6 h 6"/>
                  <a:gd name="T4" fmla="*/ 0 w 10"/>
                  <a:gd name="T5" fmla="*/ 4 h 6"/>
                  <a:gd name="T6" fmla="*/ 0 w 10"/>
                  <a:gd name="T7" fmla="*/ 0 h 6"/>
                  <a:gd name="T8" fmla="*/ 0 w 10"/>
                  <a:gd name="T9" fmla="*/ 0 h 6"/>
                  <a:gd name="T10" fmla="*/ 10 w 10"/>
                  <a:gd name="T11" fmla="*/ 2 h 6"/>
                  <a:gd name="T12" fmla="*/ 1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6"/>
                    </a:moveTo>
                    <a:lnTo>
                      <a:pt x="10" y="6"/>
                    </a:lnTo>
                    <a:lnTo>
                      <a:pt x="0" y="4"/>
                    </a:lnTo>
                    <a:lnTo>
                      <a:pt x="0" y="0"/>
                    </a:lnTo>
                    <a:lnTo>
                      <a:pt x="0" y="0"/>
                    </a:lnTo>
                    <a:lnTo>
                      <a:pt x="10" y="2"/>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4" name="Freeform 64"/>
              <p:cNvSpPr/>
              <p:nvPr/>
            </p:nvSpPr>
            <p:spPr bwMode="auto">
              <a:xfrm>
                <a:off x="8253536" y="2772436"/>
                <a:ext cx="16608" cy="8916"/>
              </a:xfrm>
              <a:custGeom>
                <a:avLst/>
                <a:gdLst>
                  <a:gd name="T0" fmla="*/ 0 w 10"/>
                  <a:gd name="T1" fmla="*/ 6 h 6"/>
                  <a:gd name="T2" fmla="*/ 0 w 10"/>
                  <a:gd name="T3" fmla="*/ 2 h 6"/>
                  <a:gd name="T4" fmla="*/ 0 w 10"/>
                  <a:gd name="T5" fmla="*/ 2 h 6"/>
                  <a:gd name="T6" fmla="*/ 8 w 10"/>
                  <a:gd name="T7" fmla="*/ 0 h 6"/>
                  <a:gd name="T8" fmla="*/ 10 w 10"/>
                  <a:gd name="T9" fmla="*/ 4 h 6"/>
                  <a:gd name="T10" fmla="*/ 10 w 10"/>
                  <a:gd name="T11" fmla="*/ 4 h 6"/>
                  <a:gd name="T12" fmla="*/ 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0" y="6"/>
                    </a:moveTo>
                    <a:lnTo>
                      <a:pt x="0" y="2"/>
                    </a:lnTo>
                    <a:lnTo>
                      <a:pt x="0" y="2"/>
                    </a:lnTo>
                    <a:lnTo>
                      <a:pt x="8" y="0"/>
                    </a:lnTo>
                    <a:lnTo>
                      <a:pt x="10" y="4"/>
                    </a:lnTo>
                    <a:lnTo>
                      <a:pt x="10"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5" name="Freeform 65"/>
              <p:cNvSpPr/>
              <p:nvPr/>
            </p:nvSpPr>
            <p:spPr bwMode="auto">
              <a:xfrm>
                <a:off x="7904760" y="2769464"/>
                <a:ext cx="16608" cy="8916"/>
              </a:xfrm>
              <a:custGeom>
                <a:avLst/>
                <a:gdLst>
                  <a:gd name="T0" fmla="*/ 8 w 10"/>
                  <a:gd name="T1" fmla="*/ 6 h 6"/>
                  <a:gd name="T2" fmla="*/ 8 w 10"/>
                  <a:gd name="T3" fmla="*/ 6 h 6"/>
                  <a:gd name="T4" fmla="*/ 0 w 10"/>
                  <a:gd name="T5" fmla="*/ 2 h 6"/>
                  <a:gd name="T6" fmla="*/ 0 w 10"/>
                  <a:gd name="T7" fmla="*/ 0 h 6"/>
                  <a:gd name="T8" fmla="*/ 0 w 10"/>
                  <a:gd name="T9" fmla="*/ 0 h 6"/>
                  <a:gd name="T10" fmla="*/ 10 w 10"/>
                  <a:gd name="T11" fmla="*/ 2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0" y="0"/>
                    </a:lnTo>
                    <a:lnTo>
                      <a:pt x="0" y="0"/>
                    </a:lnTo>
                    <a:lnTo>
                      <a:pt x="10" y="2"/>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6" name="Freeform 66"/>
              <p:cNvSpPr/>
              <p:nvPr/>
            </p:nvSpPr>
            <p:spPr bwMode="auto">
              <a:xfrm>
                <a:off x="8283431" y="2766492"/>
                <a:ext cx="16608" cy="5944"/>
              </a:xfrm>
              <a:custGeom>
                <a:avLst/>
                <a:gdLst>
                  <a:gd name="T0" fmla="*/ 0 w 10"/>
                  <a:gd name="T1" fmla="*/ 4 h 4"/>
                  <a:gd name="T2" fmla="*/ 0 w 10"/>
                  <a:gd name="T3" fmla="*/ 2 h 4"/>
                  <a:gd name="T4" fmla="*/ 0 w 10"/>
                  <a:gd name="T5" fmla="*/ 2 h 4"/>
                  <a:gd name="T6" fmla="*/ 8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2"/>
                    </a:lnTo>
                    <a:lnTo>
                      <a:pt x="0" y="2"/>
                    </a:lnTo>
                    <a:lnTo>
                      <a:pt x="8"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7" name="Freeform 67"/>
              <p:cNvSpPr/>
              <p:nvPr/>
            </p:nvSpPr>
            <p:spPr bwMode="auto">
              <a:xfrm>
                <a:off x="7871543" y="2760548"/>
                <a:ext cx="19930" cy="8916"/>
              </a:xfrm>
              <a:custGeom>
                <a:avLst/>
                <a:gdLst>
                  <a:gd name="T0" fmla="*/ 10 w 12"/>
                  <a:gd name="T1" fmla="*/ 6 h 6"/>
                  <a:gd name="T2" fmla="*/ 10 w 12"/>
                  <a:gd name="T3" fmla="*/ 6 h 6"/>
                  <a:gd name="T4" fmla="*/ 0 w 12"/>
                  <a:gd name="T5" fmla="*/ 2 h 6"/>
                  <a:gd name="T6" fmla="*/ 2 w 12"/>
                  <a:gd name="T7" fmla="*/ 0 h 6"/>
                  <a:gd name="T8" fmla="*/ 2 w 12"/>
                  <a:gd name="T9" fmla="*/ 0 h 6"/>
                  <a:gd name="T10" fmla="*/ 12 w 12"/>
                  <a:gd name="T11" fmla="*/ 4 h 6"/>
                  <a:gd name="T12" fmla="*/ 10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0" y="6"/>
                    </a:moveTo>
                    <a:lnTo>
                      <a:pt x="10" y="6"/>
                    </a:lnTo>
                    <a:lnTo>
                      <a:pt x="0" y="2"/>
                    </a:lnTo>
                    <a:lnTo>
                      <a:pt x="2" y="0"/>
                    </a:lnTo>
                    <a:lnTo>
                      <a:pt x="2" y="0"/>
                    </a:lnTo>
                    <a:lnTo>
                      <a:pt x="12" y="4"/>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8" name="Freeform 68"/>
              <p:cNvSpPr/>
              <p:nvPr/>
            </p:nvSpPr>
            <p:spPr bwMode="auto">
              <a:xfrm>
                <a:off x="8313326" y="2754604"/>
                <a:ext cx="16608" cy="11888"/>
              </a:xfrm>
              <a:custGeom>
                <a:avLst/>
                <a:gdLst>
                  <a:gd name="T0" fmla="*/ 0 w 10"/>
                  <a:gd name="T1" fmla="*/ 8 h 8"/>
                  <a:gd name="T2" fmla="*/ 0 w 10"/>
                  <a:gd name="T3" fmla="*/ 4 h 8"/>
                  <a:gd name="T4" fmla="*/ 0 w 10"/>
                  <a:gd name="T5" fmla="*/ 4 h 8"/>
                  <a:gd name="T6" fmla="*/ 8 w 10"/>
                  <a:gd name="T7" fmla="*/ 0 h 8"/>
                  <a:gd name="T8" fmla="*/ 10 w 10"/>
                  <a:gd name="T9" fmla="*/ 4 h 8"/>
                  <a:gd name="T10" fmla="*/ 10 w 10"/>
                  <a:gd name="T11" fmla="*/ 4 h 8"/>
                  <a:gd name="T12" fmla="*/ 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0" y="8"/>
                    </a:moveTo>
                    <a:lnTo>
                      <a:pt x="0" y="4"/>
                    </a:lnTo>
                    <a:lnTo>
                      <a:pt x="0" y="4"/>
                    </a:lnTo>
                    <a:lnTo>
                      <a:pt x="8" y="0"/>
                    </a:lnTo>
                    <a:lnTo>
                      <a:pt x="10" y="4"/>
                    </a:lnTo>
                    <a:lnTo>
                      <a:pt x="10" y="4"/>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09" name="Freeform 69"/>
              <p:cNvSpPr/>
              <p:nvPr/>
            </p:nvSpPr>
            <p:spPr bwMode="auto">
              <a:xfrm>
                <a:off x="7841648" y="2748660"/>
                <a:ext cx="19930" cy="11888"/>
              </a:xfrm>
              <a:custGeom>
                <a:avLst/>
                <a:gdLst>
                  <a:gd name="T0" fmla="*/ 10 w 12"/>
                  <a:gd name="T1" fmla="*/ 8 h 8"/>
                  <a:gd name="T2" fmla="*/ 10 w 12"/>
                  <a:gd name="T3" fmla="*/ 8 h 8"/>
                  <a:gd name="T4" fmla="*/ 0 w 12"/>
                  <a:gd name="T5" fmla="*/ 4 h 8"/>
                  <a:gd name="T6" fmla="*/ 2 w 12"/>
                  <a:gd name="T7" fmla="*/ 0 h 8"/>
                  <a:gd name="T8" fmla="*/ 2 w 12"/>
                  <a:gd name="T9" fmla="*/ 0 h 8"/>
                  <a:gd name="T10" fmla="*/ 12 w 12"/>
                  <a:gd name="T11" fmla="*/ 4 h 8"/>
                  <a:gd name="T12" fmla="*/ 10 w 1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2" h="8">
                    <a:moveTo>
                      <a:pt x="10" y="8"/>
                    </a:moveTo>
                    <a:lnTo>
                      <a:pt x="10" y="8"/>
                    </a:lnTo>
                    <a:lnTo>
                      <a:pt x="0" y="4"/>
                    </a:lnTo>
                    <a:lnTo>
                      <a:pt x="2" y="0"/>
                    </a:lnTo>
                    <a:lnTo>
                      <a:pt x="2" y="0"/>
                    </a:lnTo>
                    <a:lnTo>
                      <a:pt x="12" y="4"/>
                    </a:lnTo>
                    <a:lnTo>
                      <a:pt x="1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0" name="Freeform 70"/>
              <p:cNvSpPr/>
              <p:nvPr/>
            </p:nvSpPr>
            <p:spPr bwMode="auto">
              <a:xfrm>
                <a:off x="8343221" y="2742716"/>
                <a:ext cx="16608" cy="11888"/>
              </a:xfrm>
              <a:custGeom>
                <a:avLst/>
                <a:gdLst>
                  <a:gd name="T0" fmla="*/ 0 w 10"/>
                  <a:gd name="T1" fmla="*/ 8 h 8"/>
                  <a:gd name="T2" fmla="*/ 0 w 10"/>
                  <a:gd name="T3" fmla="*/ 4 h 8"/>
                  <a:gd name="T4" fmla="*/ 0 w 10"/>
                  <a:gd name="T5" fmla="*/ 4 h 8"/>
                  <a:gd name="T6" fmla="*/ 8 w 10"/>
                  <a:gd name="T7" fmla="*/ 0 h 8"/>
                  <a:gd name="T8" fmla="*/ 10 w 10"/>
                  <a:gd name="T9" fmla="*/ 4 h 8"/>
                  <a:gd name="T10" fmla="*/ 10 w 10"/>
                  <a:gd name="T11" fmla="*/ 4 h 8"/>
                  <a:gd name="T12" fmla="*/ 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0" y="8"/>
                    </a:moveTo>
                    <a:lnTo>
                      <a:pt x="0" y="4"/>
                    </a:lnTo>
                    <a:lnTo>
                      <a:pt x="0" y="4"/>
                    </a:lnTo>
                    <a:lnTo>
                      <a:pt x="8" y="0"/>
                    </a:lnTo>
                    <a:lnTo>
                      <a:pt x="10" y="4"/>
                    </a:lnTo>
                    <a:lnTo>
                      <a:pt x="10" y="4"/>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1" name="Freeform 71"/>
              <p:cNvSpPr/>
              <p:nvPr/>
            </p:nvSpPr>
            <p:spPr bwMode="auto">
              <a:xfrm>
                <a:off x="7815074" y="2736772"/>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4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4"/>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2" name="Freeform 72"/>
              <p:cNvSpPr/>
              <p:nvPr/>
            </p:nvSpPr>
            <p:spPr bwMode="auto">
              <a:xfrm>
                <a:off x="8369795" y="2727857"/>
                <a:ext cx="16608" cy="11888"/>
              </a:xfrm>
              <a:custGeom>
                <a:avLst/>
                <a:gdLst>
                  <a:gd name="T0" fmla="*/ 2 w 10"/>
                  <a:gd name="T1" fmla="*/ 8 h 8"/>
                  <a:gd name="T2" fmla="*/ 0 w 10"/>
                  <a:gd name="T3" fmla="*/ 6 h 8"/>
                  <a:gd name="T4" fmla="*/ 0 w 10"/>
                  <a:gd name="T5" fmla="*/ 6 h 8"/>
                  <a:gd name="T6" fmla="*/ 8 w 10"/>
                  <a:gd name="T7" fmla="*/ 0 h 8"/>
                  <a:gd name="T8" fmla="*/ 10 w 10"/>
                  <a:gd name="T9" fmla="*/ 4 h 8"/>
                  <a:gd name="T10" fmla="*/ 10 w 10"/>
                  <a:gd name="T11" fmla="*/ 4 h 8"/>
                  <a:gd name="T12" fmla="*/ 2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8"/>
                    </a:moveTo>
                    <a:lnTo>
                      <a:pt x="0" y="6"/>
                    </a:lnTo>
                    <a:lnTo>
                      <a:pt x="0" y="6"/>
                    </a:lnTo>
                    <a:lnTo>
                      <a:pt x="8" y="0"/>
                    </a:lnTo>
                    <a:lnTo>
                      <a:pt x="10" y="4"/>
                    </a:lnTo>
                    <a:lnTo>
                      <a:pt x="10" y="4"/>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3" name="Freeform 73"/>
              <p:cNvSpPr/>
              <p:nvPr/>
            </p:nvSpPr>
            <p:spPr bwMode="auto">
              <a:xfrm>
                <a:off x="7788501" y="2718941"/>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6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6"/>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4" name="Freeform 74"/>
              <p:cNvSpPr/>
              <p:nvPr/>
            </p:nvSpPr>
            <p:spPr bwMode="auto">
              <a:xfrm>
                <a:off x="8396368" y="2710025"/>
                <a:ext cx="13287" cy="14860"/>
              </a:xfrm>
              <a:custGeom>
                <a:avLst/>
                <a:gdLst>
                  <a:gd name="T0" fmla="*/ 2 w 8"/>
                  <a:gd name="T1" fmla="*/ 10 h 10"/>
                  <a:gd name="T2" fmla="*/ 0 w 8"/>
                  <a:gd name="T3" fmla="*/ 6 h 10"/>
                  <a:gd name="T4" fmla="*/ 0 w 8"/>
                  <a:gd name="T5" fmla="*/ 6 h 10"/>
                  <a:gd name="T6" fmla="*/ 6 w 8"/>
                  <a:gd name="T7" fmla="*/ 0 h 10"/>
                  <a:gd name="T8" fmla="*/ 8 w 8"/>
                  <a:gd name="T9" fmla="*/ 2 h 10"/>
                  <a:gd name="T10" fmla="*/ 8 w 8"/>
                  <a:gd name="T11" fmla="*/ 2 h 10"/>
                  <a:gd name="T12" fmla="*/ 2 w 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2" y="10"/>
                    </a:moveTo>
                    <a:lnTo>
                      <a:pt x="0" y="6"/>
                    </a:lnTo>
                    <a:lnTo>
                      <a:pt x="0" y="6"/>
                    </a:lnTo>
                    <a:lnTo>
                      <a:pt x="6" y="0"/>
                    </a:lnTo>
                    <a:lnTo>
                      <a:pt x="8" y="2"/>
                    </a:lnTo>
                    <a:lnTo>
                      <a:pt x="8" y="2"/>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5" name="Freeform 75"/>
              <p:cNvSpPr/>
              <p:nvPr/>
            </p:nvSpPr>
            <p:spPr bwMode="auto">
              <a:xfrm>
                <a:off x="7768571" y="2698137"/>
                <a:ext cx="13287" cy="14860"/>
              </a:xfrm>
              <a:custGeom>
                <a:avLst/>
                <a:gdLst>
                  <a:gd name="T0" fmla="*/ 6 w 8"/>
                  <a:gd name="T1" fmla="*/ 10 h 10"/>
                  <a:gd name="T2" fmla="*/ 6 w 8"/>
                  <a:gd name="T3" fmla="*/ 10 h 10"/>
                  <a:gd name="T4" fmla="*/ 0 w 8"/>
                  <a:gd name="T5" fmla="*/ 2 h 10"/>
                  <a:gd name="T6" fmla="*/ 2 w 8"/>
                  <a:gd name="T7" fmla="*/ 0 h 10"/>
                  <a:gd name="T8" fmla="*/ 2 w 8"/>
                  <a:gd name="T9" fmla="*/ 0 h 10"/>
                  <a:gd name="T10" fmla="*/ 8 w 8"/>
                  <a:gd name="T11" fmla="*/ 8 h 10"/>
                  <a:gd name="T12" fmla="*/ 6 w 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6" y="10"/>
                    </a:moveTo>
                    <a:lnTo>
                      <a:pt x="6" y="10"/>
                    </a:lnTo>
                    <a:lnTo>
                      <a:pt x="0" y="2"/>
                    </a:lnTo>
                    <a:lnTo>
                      <a:pt x="2" y="0"/>
                    </a:lnTo>
                    <a:lnTo>
                      <a:pt x="2" y="0"/>
                    </a:lnTo>
                    <a:lnTo>
                      <a:pt x="8" y="8"/>
                    </a:lnTo>
                    <a:lnTo>
                      <a:pt x="6"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6" name="Freeform 76"/>
              <p:cNvSpPr/>
              <p:nvPr/>
            </p:nvSpPr>
            <p:spPr bwMode="auto">
              <a:xfrm>
                <a:off x="8416298" y="2686250"/>
                <a:ext cx="9965" cy="14860"/>
              </a:xfrm>
              <a:custGeom>
                <a:avLst/>
                <a:gdLst>
                  <a:gd name="T0" fmla="*/ 2 w 6"/>
                  <a:gd name="T1" fmla="*/ 10 h 10"/>
                  <a:gd name="T2" fmla="*/ 0 w 6"/>
                  <a:gd name="T3" fmla="*/ 8 h 10"/>
                  <a:gd name="T4" fmla="*/ 0 w 6"/>
                  <a:gd name="T5" fmla="*/ 8 h 10"/>
                  <a:gd name="T6" fmla="*/ 4 w 6"/>
                  <a:gd name="T7" fmla="*/ 0 h 10"/>
                  <a:gd name="T8" fmla="*/ 6 w 6"/>
                  <a:gd name="T9" fmla="*/ 0 h 10"/>
                  <a:gd name="T10" fmla="*/ 6 w 6"/>
                  <a:gd name="T11" fmla="*/ 0 h 10"/>
                  <a:gd name="T12" fmla="*/ 2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2" y="10"/>
                    </a:moveTo>
                    <a:lnTo>
                      <a:pt x="0" y="8"/>
                    </a:lnTo>
                    <a:lnTo>
                      <a:pt x="0" y="8"/>
                    </a:lnTo>
                    <a:lnTo>
                      <a:pt x="4" y="0"/>
                    </a:lnTo>
                    <a:lnTo>
                      <a:pt x="6" y="0"/>
                    </a:lnTo>
                    <a:lnTo>
                      <a:pt x="6" y="0"/>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7" name="Freeform 77"/>
              <p:cNvSpPr/>
              <p:nvPr/>
            </p:nvSpPr>
            <p:spPr bwMode="auto">
              <a:xfrm>
                <a:off x="7758606" y="2671390"/>
                <a:ext cx="9965" cy="14860"/>
              </a:xfrm>
              <a:custGeom>
                <a:avLst/>
                <a:gdLst>
                  <a:gd name="T0" fmla="*/ 2 w 6"/>
                  <a:gd name="T1" fmla="*/ 10 h 10"/>
                  <a:gd name="T2" fmla="*/ 2 w 6"/>
                  <a:gd name="T3" fmla="*/ 10 h 10"/>
                  <a:gd name="T4" fmla="*/ 0 w 6"/>
                  <a:gd name="T5" fmla="*/ 0 h 10"/>
                  <a:gd name="T6" fmla="*/ 4 w 6"/>
                  <a:gd name="T7" fmla="*/ 0 h 10"/>
                  <a:gd name="T8" fmla="*/ 4 w 6"/>
                  <a:gd name="T9" fmla="*/ 0 h 10"/>
                  <a:gd name="T10" fmla="*/ 4 w 6"/>
                  <a:gd name="T11" fmla="*/ 0 h 10"/>
                  <a:gd name="T12" fmla="*/ 6 w 6"/>
                  <a:gd name="T13" fmla="*/ 10 h 10"/>
                  <a:gd name="T14" fmla="*/ 2 w 6"/>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2" y="10"/>
                    </a:moveTo>
                    <a:lnTo>
                      <a:pt x="2" y="10"/>
                    </a:lnTo>
                    <a:lnTo>
                      <a:pt x="0" y="0"/>
                    </a:lnTo>
                    <a:lnTo>
                      <a:pt x="4" y="0"/>
                    </a:lnTo>
                    <a:lnTo>
                      <a:pt x="4" y="0"/>
                    </a:lnTo>
                    <a:lnTo>
                      <a:pt x="4" y="0"/>
                    </a:lnTo>
                    <a:lnTo>
                      <a:pt x="6" y="10"/>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8" name="Freeform 78"/>
              <p:cNvSpPr/>
              <p:nvPr/>
            </p:nvSpPr>
            <p:spPr bwMode="auto">
              <a:xfrm>
                <a:off x="8422942" y="2656530"/>
                <a:ext cx="6643" cy="14860"/>
              </a:xfrm>
              <a:custGeom>
                <a:avLst/>
                <a:gdLst>
                  <a:gd name="T0" fmla="*/ 4 w 4"/>
                  <a:gd name="T1" fmla="*/ 10 h 10"/>
                  <a:gd name="T2" fmla="*/ 0 w 4"/>
                  <a:gd name="T3" fmla="*/ 10 h 10"/>
                  <a:gd name="T4" fmla="*/ 2 w 4"/>
                  <a:gd name="T5" fmla="*/ 10 h 10"/>
                  <a:gd name="T6" fmla="*/ 0 w 4"/>
                  <a:gd name="T7" fmla="*/ 10 h 10"/>
                  <a:gd name="T8" fmla="*/ 0 w 4"/>
                  <a:gd name="T9" fmla="*/ 10 h 10"/>
                  <a:gd name="T10" fmla="*/ 0 w 4"/>
                  <a:gd name="T11" fmla="*/ 2 h 10"/>
                  <a:gd name="T12" fmla="*/ 2 w 4"/>
                  <a:gd name="T13" fmla="*/ 0 h 10"/>
                  <a:gd name="T14" fmla="*/ 2 w 4"/>
                  <a:gd name="T15" fmla="*/ 0 h 10"/>
                  <a:gd name="T16" fmla="*/ 4 w 4"/>
                  <a:gd name="T17" fmla="*/ 10 h 10"/>
                  <a:gd name="T18" fmla="*/ 4 w 4"/>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0">
                    <a:moveTo>
                      <a:pt x="4" y="10"/>
                    </a:moveTo>
                    <a:lnTo>
                      <a:pt x="0" y="10"/>
                    </a:lnTo>
                    <a:lnTo>
                      <a:pt x="2" y="10"/>
                    </a:lnTo>
                    <a:lnTo>
                      <a:pt x="0" y="10"/>
                    </a:lnTo>
                    <a:lnTo>
                      <a:pt x="0" y="10"/>
                    </a:lnTo>
                    <a:lnTo>
                      <a:pt x="0" y="2"/>
                    </a:lnTo>
                    <a:lnTo>
                      <a:pt x="2" y="0"/>
                    </a:lnTo>
                    <a:lnTo>
                      <a:pt x="2" y="0"/>
                    </a:lnTo>
                    <a:lnTo>
                      <a:pt x="4" y="10"/>
                    </a:lnTo>
                    <a:lnTo>
                      <a:pt x="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19" name="Freeform 79"/>
              <p:cNvSpPr/>
              <p:nvPr/>
            </p:nvSpPr>
            <p:spPr bwMode="auto">
              <a:xfrm>
                <a:off x="7761927" y="2644643"/>
                <a:ext cx="9965" cy="14860"/>
              </a:xfrm>
              <a:custGeom>
                <a:avLst/>
                <a:gdLst>
                  <a:gd name="T0" fmla="*/ 4 w 6"/>
                  <a:gd name="T1" fmla="*/ 10 h 10"/>
                  <a:gd name="T2" fmla="*/ 0 w 6"/>
                  <a:gd name="T3" fmla="*/ 8 h 10"/>
                  <a:gd name="T4" fmla="*/ 0 w 6"/>
                  <a:gd name="T5" fmla="*/ 8 h 10"/>
                  <a:gd name="T6" fmla="*/ 4 w 6"/>
                  <a:gd name="T7" fmla="*/ 0 h 10"/>
                  <a:gd name="T8" fmla="*/ 6 w 6"/>
                  <a:gd name="T9" fmla="*/ 2 h 10"/>
                  <a:gd name="T10" fmla="*/ 6 w 6"/>
                  <a:gd name="T11" fmla="*/ 2 h 10"/>
                  <a:gd name="T12" fmla="*/ 4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4" y="10"/>
                    </a:moveTo>
                    <a:lnTo>
                      <a:pt x="0" y="8"/>
                    </a:lnTo>
                    <a:lnTo>
                      <a:pt x="0" y="8"/>
                    </a:lnTo>
                    <a:lnTo>
                      <a:pt x="4" y="0"/>
                    </a:lnTo>
                    <a:lnTo>
                      <a:pt x="6" y="2"/>
                    </a:lnTo>
                    <a:lnTo>
                      <a:pt x="6" y="2"/>
                    </a:lnTo>
                    <a:lnTo>
                      <a:pt x="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0" name="Freeform 80"/>
              <p:cNvSpPr/>
              <p:nvPr/>
            </p:nvSpPr>
            <p:spPr bwMode="auto">
              <a:xfrm>
                <a:off x="8406333" y="2632755"/>
                <a:ext cx="13287" cy="14860"/>
              </a:xfrm>
              <a:custGeom>
                <a:avLst/>
                <a:gdLst>
                  <a:gd name="T0" fmla="*/ 6 w 8"/>
                  <a:gd name="T1" fmla="*/ 10 h 10"/>
                  <a:gd name="T2" fmla="*/ 6 w 8"/>
                  <a:gd name="T3" fmla="*/ 10 h 10"/>
                  <a:gd name="T4" fmla="*/ 0 w 8"/>
                  <a:gd name="T5" fmla="*/ 2 h 10"/>
                  <a:gd name="T6" fmla="*/ 2 w 8"/>
                  <a:gd name="T7" fmla="*/ 0 h 10"/>
                  <a:gd name="T8" fmla="*/ 2 w 8"/>
                  <a:gd name="T9" fmla="*/ 0 h 10"/>
                  <a:gd name="T10" fmla="*/ 8 w 8"/>
                  <a:gd name="T11" fmla="*/ 8 h 10"/>
                  <a:gd name="T12" fmla="*/ 6 w 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6" y="10"/>
                    </a:moveTo>
                    <a:lnTo>
                      <a:pt x="6" y="10"/>
                    </a:lnTo>
                    <a:lnTo>
                      <a:pt x="0" y="2"/>
                    </a:lnTo>
                    <a:lnTo>
                      <a:pt x="2" y="0"/>
                    </a:lnTo>
                    <a:lnTo>
                      <a:pt x="2" y="0"/>
                    </a:lnTo>
                    <a:lnTo>
                      <a:pt x="8" y="8"/>
                    </a:lnTo>
                    <a:lnTo>
                      <a:pt x="6"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1" name="Freeform 81"/>
              <p:cNvSpPr/>
              <p:nvPr/>
            </p:nvSpPr>
            <p:spPr bwMode="auto">
              <a:xfrm>
                <a:off x="7778536" y="2620867"/>
                <a:ext cx="13287" cy="14860"/>
              </a:xfrm>
              <a:custGeom>
                <a:avLst/>
                <a:gdLst>
                  <a:gd name="T0" fmla="*/ 2 w 8"/>
                  <a:gd name="T1" fmla="*/ 10 h 10"/>
                  <a:gd name="T2" fmla="*/ 0 w 8"/>
                  <a:gd name="T3" fmla="*/ 8 h 10"/>
                  <a:gd name="T4" fmla="*/ 0 w 8"/>
                  <a:gd name="T5" fmla="*/ 8 h 10"/>
                  <a:gd name="T6" fmla="*/ 6 w 8"/>
                  <a:gd name="T7" fmla="*/ 0 h 10"/>
                  <a:gd name="T8" fmla="*/ 8 w 8"/>
                  <a:gd name="T9" fmla="*/ 2 h 10"/>
                  <a:gd name="T10" fmla="*/ 8 w 8"/>
                  <a:gd name="T11" fmla="*/ 2 h 10"/>
                  <a:gd name="T12" fmla="*/ 2 w 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2" y="10"/>
                    </a:moveTo>
                    <a:lnTo>
                      <a:pt x="0" y="8"/>
                    </a:lnTo>
                    <a:lnTo>
                      <a:pt x="0" y="8"/>
                    </a:lnTo>
                    <a:lnTo>
                      <a:pt x="6" y="0"/>
                    </a:lnTo>
                    <a:lnTo>
                      <a:pt x="8" y="2"/>
                    </a:lnTo>
                    <a:lnTo>
                      <a:pt x="8" y="2"/>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2" name="Freeform 82"/>
              <p:cNvSpPr/>
              <p:nvPr/>
            </p:nvSpPr>
            <p:spPr bwMode="auto">
              <a:xfrm>
                <a:off x="8383082" y="2611951"/>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6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6"/>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3" name="Freeform 83"/>
              <p:cNvSpPr/>
              <p:nvPr/>
            </p:nvSpPr>
            <p:spPr bwMode="auto">
              <a:xfrm>
                <a:off x="7801788" y="2603036"/>
                <a:ext cx="16608" cy="11888"/>
              </a:xfrm>
              <a:custGeom>
                <a:avLst/>
                <a:gdLst>
                  <a:gd name="T0" fmla="*/ 2 w 10"/>
                  <a:gd name="T1" fmla="*/ 8 h 8"/>
                  <a:gd name="T2" fmla="*/ 0 w 10"/>
                  <a:gd name="T3" fmla="*/ 6 h 8"/>
                  <a:gd name="T4" fmla="*/ 0 w 10"/>
                  <a:gd name="T5" fmla="*/ 6 h 8"/>
                  <a:gd name="T6" fmla="*/ 8 w 10"/>
                  <a:gd name="T7" fmla="*/ 0 h 8"/>
                  <a:gd name="T8" fmla="*/ 10 w 10"/>
                  <a:gd name="T9" fmla="*/ 4 h 8"/>
                  <a:gd name="T10" fmla="*/ 10 w 10"/>
                  <a:gd name="T11" fmla="*/ 4 h 8"/>
                  <a:gd name="T12" fmla="*/ 2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8"/>
                    </a:moveTo>
                    <a:lnTo>
                      <a:pt x="0" y="6"/>
                    </a:lnTo>
                    <a:lnTo>
                      <a:pt x="0" y="6"/>
                    </a:lnTo>
                    <a:lnTo>
                      <a:pt x="8" y="0"/>
                    </a:lnTo>
                    <a:lnTo>
                      <a:pt x="10" y="4"/>
                    </a:lnTo>
                    <a:lnTo>
                      <a:pt x="10" y="4"/>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4" name="Freeform 84"/>
              <p:cNvSpPr/>
              <p:nvPr/>
            </p:nvSpPr>
            <p:spPr bwMode="auto">
              <a:xfrm>
                <a:off x="8356508" y="2597092"/>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4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4"/>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5" name="Freeform 85"/>
              <p:cNvSpPr/>
              <p:nvPr/>
            </p:nvSpPr>
            <p:spPr bwMode="auto">
              <a:xfrm>
                <a:off x="7828361" y="2591148"/>
                <a:ext cx="16608" cy="8916"/>
              </a:xfrm>
              <a:custGeom>
                <a:avLst/>
                <a:gdLst>
                  <a:gd name="T0" fmla="*/ 2 w 10"/>
                  <a:gd name="T1" fmla="*/ 6 h 6"/>
                  <a:gd name="T2" fmla="*/ 0 w 10"/>
                  <a:gd name="T3" fmla="*/ 4 h 6"/>
                  <a:gd name="T4" fmla="*/ 0 w 10"/>
                  <a:gd name="T5" fmla="*/ 4 h 6"/>
                  <a:gd name="T6" fmla="*/ 10 w 10"/>
                  <a:gd name="T7" fmla="*/ 0 h 6"/>
                  <a:gd name="T8" fmla="*/ 10 w 10"/>
                  <a:gd name="T9" fmla="*/ 2 h 6"/>
                  <a:gd name="T10" fmla="*/ 10 w 10"/>
                  <a:gd name="T11" fmla="*/ 2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4"/>
                    </a:lnTo>
                    <a:lnTo>
                      <a:pt x="0" y="4"/>
                    </a:lnTo>
                    <a:lnTo>
                      <a:pt x="10" y="0"/>
                    </a:lnTo>
                    <a:lnTo>
                      <a:pt x="10" y="2"/>
                    </a:lnTo>
                    <a:lnTo>
                      <a:pt x="10" y="2"/>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6" name="Freeform 86"/>
              <p:cNvSpPr/>
              <p:nvPr/>
            </p:nvSpPr>
            <p:spPr bwMode="auto">
              <a:xfrm>
                <a:off x="8329935" y="2585204"/>
                <a:ext cx="16608" cy="8916"/>
              </a:xfrm>
              <a:custGeom>
                <a:avLst/>
                <a:gdLst>
                  <a:gd name="T0" fmla="*/ 8 w 10"/>
                  <a:gd name="T1" fmla="*/ 6 h 6"/>
                  <a:gd name="T2" fmla="*/ 8 w 10"/>
                  <a:gd name="T3" fmla="*/ 6 h 6"/>
                  <a:gd name="T4" fmla="*/ 0 w 10"/>
                  <a:gd name="T5" fmla="*/ 2 h 6"/>
                  <a:gd name="T6" fmla="*/ 0 w 10"/>
                  <a:gd name="T7" fmla="*/ 0 h 6"/>
                  <a:gd name="T8" fmla="*/ 0 w 10"/>
                  <a:gd name="T9" fmla="*/ 0 h 6"/>
                  <a:gd name="T10" fmla="*/ 10 w 10"/>
                  <a:gd name="T11" fmla="*/ 4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0" y="0"/>
                    </a:lnTo>
                    <a:lnTo>
                      <a:pt x="0" y="0"/>
                    </a:lnTo>
                    <a:lnTo>
                      <a:pt x="10" y="4"/>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7" name="Freeform 87"/>
              <p:cNvSpPr/>
              <p:nvPr/>
            </p:nvSpPr>
            <p:spPr bwMode="auto">
              <a:xfrm>
                <a:off x="7858256" y="2579260"/>
                <a:ext cx="16608" cy="8916"/>
              </a:xfrm>
              <a:custGeom>
                <a:avLst/>
                <a:gdLst>
                  <a:gd name="T0" fmla="*/ 2 w 10"/>
                  <a:gd name="T1" fmla="*/ 6 h 6"/>
                  <a:gd name="T2" fmla="*/ 0 w 10"/>
                  <a:gd name="T3" fmla="*/ 4 h 6"/>
                  <a:gd name="T4" fmla="*/ 0 w 10"/>
                  <a:gd name="T5" fmla="*/ 4 h 6"/>
                  <a:gd name="T6" fmla="*/ 10 w 10"/>
                  <a:gd name="T7" fmla="*/ 0 h 6"/>
                  <a:gd name="T8" fmla="*/ 10 w 10"/>
                  <a:gd name="T9" fmla="*/ 4 h 6"/>
                  <a:gd name="T10" fmla="*/ 10 w 10"/>
                  <a:gd name="T11" fmla="*/ 4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4"/>
                    </a:lnTo>
                    <a:lnTo>
                      <a:pt x="0" y="4"/>
                    </a:lnTo>
                    <a:lnTo>
                      <a:pt x="10" y="0"/>
                    </a:lnTo>
                    <a:lnTo>
                      <a:pt x="10" y="4"/>
                    </a:lnTo>
                    <a:lnTo>
                      <a:pt x="10" y="4"/>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8" name="Freeform 88"/>
              <p:cNvSpPr/>
              <p:nvPr/>
            </p:nvSpPr>
            <p:spPr bwMode="auto">
              <a:xfrm>
                <a:off x="8300040" y="2576288"/>
                <a:ext cx="16608" cy="8916"/>
              </a:xfrm>
              <a:custGeom>
                <a:avLst/>
                <a:gdLst>
                  <a:gd name="T0" fmla="*/ 8 w 10"/>
                  <a:gd name="T1" fmla="*/ 6 h 6"/>
                  <a:gd name="T2" fmla="*/ 8 w 10"/>
                  <a:gd name="T3" fmla="*/ 6 h 6"/>
                  <a:gd name="T4" fmla="*/ 0 w 10"/>
                  <a:gd name="T5" fmla="*/ 2 h 6"/>
                  <a:gd name="T6" fmla="*/ 0 w 10"/>
                  <a:gd name="T7" fmla="*/ 0 h 6"/>
                  <a:gd name="T8" fmla="*/ 0 w 10"/>
                  <a:gd name="T9" fmla="*/ 0 h 6"/>
                  <a:gd name="T10" fmla="*/ 10 w 10"/>
                  <a:gd name="T11" fmla="*/ 2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0" y="0"/>
                    </a:lnTo>
                    <a:lnTo>
                      <a:pt x="0" y="0"/>
                    </a:lnTo>
                    <a:lnTo>
                      <a:pt x="10" y="2"/>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29" name="Freeform 89"/>
              <p:cNvSpPr/>
              <p:nvPr/>
            </p:nvSpPr>
            <p:spPr bwMode="auto">
              <a:xfrm>
                <a:off x="7888151" y="2570344"/>
                <a:ext cx="16608" cy="8916"/>
              </a:xfrm>
              <a:custGeom>
                <a:avLst/>
                <a:gdLst>
                  <a:gd name="T0" fmla="*/ 2 w 10"/>
                  <a:gd name="T1" fmla="*/ 6 h 6"/>
                  <a:gd name="T2" fmla="*/ 0 w 10"/>
                  <a:gd name="T3" fmla="*/ 4 h 6"/>
                  <a:gd name="T4" fmla="*/ 0 w 10"/>
                  <a:gd name="T5" fmla="*/ 4 h 6"/>
                  <a:gd name="T6" fmla="*/ 10 w 10"/>
                  <a:gd name="T7" fmla="*/ 0 h 6"/>
                  <a:gd name="T8" fmla="*/ 10 w 10"/>
                  <a:gd name="T9" fmla="*/ 4 h 6"/>
                  <a:gd name="T10" fmla="*/ 10 w 10"/>
                  <a:gd name="T11" fmla="*/ 4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4"/>
                    </a:lnTo>
                    <a:lnTo>
                      <a:pt x="0" y="4"/>
                    </a:lnTo>
                    <a:lnTo>
                      <a:pt x="10" y="0"/>
                    </a:lnTo>
                    <a:lnTo>
                      <a:pt x="10" y="4"/>
                    </a:lnTo>
                    <a:lnTo>
                      <a:pt x="10" y="4"/>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0" name="Freeform 90"/>
              <p:cNvSpPr/>
              <p:nvPr/>
            </p:nvSpPr>
            <p:spPr bwMode="auto">
              <a:xfrm>
                <a:off x="8266823" y="2567372"/>
                <a:ext cx="19930" cy="8916"/>
              </a:xfrm>
              <a:custGeom>
                <a:avLst/>
                <a:gdLst>
                  <a:gd name="T0" fmla="*/ 10 w 12"/>
                  <a:gd name="T1" fmla="*/ 6 h 6"/>
                  <a:gd name="T2" fmla="*/ 10 w 12"/>
                  <a:gd name="T3" fmla="*/ 6 h 6"/>
                  <a:gd name="T4" fmla="*/ 0 w 12"/>
                  <a:gd name="T5" fmla="*/ 2 h 6"/>
                  <a:gd name="T6" fmla="*/ 2 w 12"/>
                  <a:gd name="T7" fmla="*/ 0 h 6"/>
                  <a:gd name="T8" fmla="*/ 2 w 12"/>
                  <a:gd name="T9" fmla="*/ 0 h 6"/>
                  <a:gd name="T10" fmla="*/ 12 w 12"/>
                  <a:gd name="T11" fmla="*/ 2 h 6"/>
                  <a:gd name="T12" fmla="*/ 10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0" y="6"/>
                    </a:moveTo>
                    <a:lnTo>
                      <a:pt x="10" y="6"/>
                    </a:lnTo>
                    <a:lnTo>
                      <a:pt x="0" y="2"/>
                    </a:lnTo>
                    <a:lnTo>
                      <a:pt x="2" y="0"/>
                    </a:lnTo>
                    <a:lnTo>
                      <a:pt x="2" y="0"/>
                    </a:lnTo>
                    <a:lnTo>
                      <a:pt x="12" y="2"/>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1" name="Freeform 91"/>
              <p:cNvSpPr/>
              <p:nvPr/>
            </p:nvSpPr>
            <p:spPr bwMode="auto">
              <a:xfrm>
                <a:off x="7918046" y="2564400"/>
                <a:ext cx="16608" cy="5944"/>
              </a:xfrm>
              <a:custGeom>
                <a:avLst/>
                <a:gdLst>
                  <a:gd name="T0" fmla="*/ 2 w 10"/>
                  <a:gd name="T1" fmla="*/ 4 h 4"/>
                  <a:gd name="T2" fmla="*/ 0 w 10"/>
                  <a:gd name="T3" fmla="*/ 2 h 4"/>
                  <a:gd name="T4" fmla="*/ 0 w 10"/>
                  <a:gd name="T5" fmla="*/ 2 h 4"/>
                  <a:gd name="T6" fmla="*/ 10 w 10"/>
                  <a:gd name="T7" fmla="*/ 0 h 4"/>
                  <a:gd name="T8" fmla="*/ 10 w 10"/>
                  <a:gd name="T9" fmla="*/ 2 h 4"/>
                  <a:gd name="T10" fmla="*/ 10 w 10"/>
                  <a:gd name="T11" fmla="*/ 2 h 4"/>
                  <a:gd name="T12" fmla="*/ 2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2" y="4"/>
                    </a:moveTo>
                    <a:lnTo>
                      <a:pt x="0" y="2"/>
                    </a:lnTo>
                    <a:lnTo>
                      <a:pt x="0" y="2"/>
                    </a:lnTo>
                    <a:lnTo>
                      <a:pt x="10" y="0"/>
                    </a:lnTo>
                    <a:lnTo>
                      <a:pt x="10" y="2"/>
                    </a:lnTo>
                    <a:lnTo>
                      <a:pt x="1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2" name="Freeform 92"/>
              <p:cNvSpPr/>
              <p:nvPr/>
            </p:nvSpPr>
            <p:spPr bwMode="auto">
              <a:xfrm>
                <a:off x="8236928" y="2561429"/>
                <a:ext cx="16608" cy="5944"/>
              </a:xfrm>
              <a:custGeom>
                <a:avLst/>
                <a:gdLst>
                  <a:gd name="T0" fmla="*/ 10 w 10"/>
                  <a:gd name="T1" fmla="*/ 4 h 4"/>
                  <a:gd name="T2" fmla="*/ 10 w 10"/>
                  <a:gd name="T3" fmla="*/ 4 h 4"/>
                  <a:gd name="T4" fmla="*/ 0 w 10"/>
                  <a:gd name="T5" fmla="*/ 2 h 4"/>
                  <a:gd name="T6" fmla="*/ 0 w 10"/>
                  <a:gd name="T7" fmla="*/ 0 h 4"/>
                  <a:gd name="T8" fmla="*/ 0 w 10"/>
                  <a:gd name="T9" fmla="*/ 0 h 4"/>
                  <a:gd name="T10" fmla="*/ 10 w 10"/>
                  <a:gd name="T11" fmla="*/ 2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2"/>
                    </a:lnTo>
                    <a:lnTo>
                      <a:pt x="0" y="0"/>
                    </a:lnTo>
                    <a:lnTo>
                      <a:pt x="0" y="0"/>
                    </a:lnTo>
                    <a:lnTo>
                      <a:pt x="10" y="2"/>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3" name="Freeform 93"/>
              <p:cNvSpPr/>
              <p:nvPr/>
            </p:nvSpPr>
            <p:spPr bwMode="auto">
              <a:xfrm>
                <a:off x="7951263" y="2558457"/>
                <a:ext cx="16608" cy="5944"/>
              </a:xfrm>
              <a:custGeom>
                <a:avLst/>
                <a:gdLst>
                  <a:gd name="T0" fmla="*/ 0 w 10"/>
                  <a:gd name="T1" fmla="*/ 4 h 4"/>
                  <a:gd name="T2" fmla="*/ 0 w 10"/>
                  <a:gd name="T3" fmla="*/ 2 h 4"/>
                  <a:gd name="T4" fmla="*/ 0 w 10"/>
                  <a:gd name="T5" fmla="*/ 2 h 4"/>
                  <a:gd name="T6" fmla="*/ 10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2"/>
                    </a:lnTo>
                    <a:lnTo>
                      <a:pt x="0" y="2"/>
                    </a:lnTo>
                    <a:lnTo>
                      <a:pt x="10"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4" name="Freeform 94"/>
              <p:cNvSpPr/>
              <p:nvPr/>
            </p:nvSpPr>
            <p:spPr bwMode="auto">
              <a:xfrm>
                <a:off x="8207032" y="2555485"/>
                <a:ext cx="16608" cy="8916"/>
              </a:xfrm>
              <a:custGeom>
                <a:avLst/>
                <a:gdLst>
                  <a:gd name="T0" fmla="*/ 8 w 10"/>
                  <a:gd name="T1" fmla="*/ 6 h 6"/>
                  <a:gd name="T2" fmla="*/ 8 w 10"/>
                  <a:gd name="T3" fmla="*/ 6 h 6"/>
                  <a:gd name="T4" fmla="*/ 0 w 10"/>
                  <a:gd name="T5" fmla="*/ 4 h 6"/>
                  <a:gd name="T6" fmla="*/ 0 w 10"/>
                  <a:gd name="T7" fmla="*/ 0 h 6"/>
                  <a:gd name="T8" fmla="*/ 0 w 10"/>
                  <a:gd name="T9" fmla="*/ 0 h 6"/>
                  <a:gd name="T10" fmla="*/ 10 w 10"/>
                  <a:gd name="T11" fmla="*/ 2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4"/>
                    </a:lnTo>
                    <a:lnTo>
                      <a:pt x="0" y="0"/>
                    </a:lnTo>
                    <a:lnTo>
                      <a:pt x="0" y="0"/>
                    </a:lnTo>
                    <a:lnTo>
                      <a:pt x="10" y="2"/>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5" name="Freeform 95"/>
              <p:cNvSpPr/>
              <p:nvPr/>
            </p:nvSpPr>
            <p:spPr bwMode="auto">
              <a:xfrm>
                <a:off x="7981158" y="2555485"/>
                <a:ext cx="16608" cy="5944"/>
              </a:xfrm>
              <a:custGeom>
                <a:avLst/>
                <a:gdLst>
                  <a:gd name="T0" fmla="*/ 2 w 10"/>
                  <a:gd name="T1" fmla="*/ 4 h 4"/>
                  <a:gd name="T2" fmla="*/ 0 w 10"/>
                  <a:gd name="T3" fmla="*/ 0 h 4"/>
                  <a:gd name="T4" fmla="*/ 0 w 10"/>
                  <a:gd name="T5" fmla="*/ 0 h 4"/>
                  <a:gd name="T6" fmla="*/ 10 w 10"/>
                  <a:gd name="T7" fmla="*/ 0 h 4"/>
                  <a:gd name="T8" fmla="*/ 10 w 10"/>
                  <a:gd name="T9" fmla="*/ 2 h 4"/>
                  <a:gd name="T10" fmla="*/ 10 w 10"/>
                  <a:gd name="T11" fmla="*/ 2 h 4"/>
                  <a:gd name="T12" fmla="*/ 2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2" y="4"/>
                    </a:moveTo>
                    <a:lnTo>
                      <a:pt x="0" y="0"/>
                    </a:lnTo>
                    <a:lnTo>
                      <a:pt x="0" y="0"/>
                    </a:lnTo>
                    <a:lnTo>
                      <a:pt x="10" y="0"/>
                    </a:lnTo>
                    <a:lnTo>
                      <a:pt x="10" y="2"/>
                    </a:lnTo>
                    <a:lnTo>
                      <a:pt x="1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6" name="Freeform 96"/>
              <p:cNvSpPr/>
              <p:nvPr/>
            </p:nvSpPr>
            <p:spPr bwMode="auto">
              <a:xfrm>
                <a:off x="8173816" y="2552513"/>
                <a:ext cx="16608" cy="5944"/>
              </a:xfrm>
              <a:custGeom>
                <a:avLst/>
                <a:gdLst>
                  <a:gd name="T0" fmla="*/ 10 w 10"/>
                  <a:gd name="T1" fmla="*/ 4 h 4"/>
                  <a:gd name="T2" fmla="*/ 10 w 10"/>
                  <a:gd name="T3" fmla="*/ 4 h 4"/>
                  <a:gd name="T4" fmla="*/ 0 w 10"/>
                  <a:gd name="T5" fmla="*/ 4 h 4"/>
                  <a:gd name="T6" fmla="*/ 0 w 10"/>
                  <a:gd name="T7" fmla="*/ 0 h 4"/>
                  <a:gd name="T8" fmla="*/ 0 w 10"/>
                  <a:gd name="T9" fmla="*/ 0 h 4"/>
                  <a:gd name="T10" fmla="*/ 10 w 10"/>
                  <a:gd name="T11" fmla="*/ 2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4"/>
                    </a:lnTo>
                    <a:lnTo>
                      <a:pt x="0" y="0"/>
                    </a:lnTo>
                    <a:lnTo>
                      <a:pt x="0" y="0"/>
                    </a:lnTo>
                    <a:lnTo>
                      <a:pt x="10" y="2"/>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7" name="Freeform 97"/>
              <p:cNvSpPr/>
              <p:nvPr/>
            </p:nvSpPr>
            <p:spPr bwMode="auto">
              <a:xfrm>
                <a:off x="8014375" y="2552513"/>
                <a:ext cx="16608" cy="5944"/>
              </a:xfrm>
              <a:custGeom>
                <a:avLst/>
                <a:gdLst>
                  <a:gd name="T0" fmla="*/ 0 w 10"/>
                  <a:gd name="T1" fmla="*/ 4 h 4"/>
                  <a:gd name="T2" fmla="*/ 0 w 10"/>
                  <a:gd name="T3" fmla="*/ 0 h 4"/>
                  <a:gd name="T4" fmla="*/ 0 w 10"/>
                  <a:gd name="T5" fmla="*/ 0 h 4"/>
                  <a:gd name="T6" fmla="*/ 10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10"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8" name="Freeform 98"/>
              <p:cNvSpPr/>
              <p:nvPr/>
            </p:nvSpPr>
            <p:spPr bwMode="auto">
              <a:xfrm>
                <a:off x="8143921" y="2549541"/>
                <a:ext cx="16608" cy="5944"/>
              </a:xfrm>
              <a:custGeom>
                <a:avLst/>
                <a:gdLst>
                  <a:gd name="T0" fmla="*/ 8 w 10"/>
                  <a:gd name="T1" fmla="*/ 4 h 4"/>
                  <a:gd name="T2" fmla="*/ 8 w 10"/>
                  <a:gd name="T3" fmla="*/ 4 h 4"/>
                  <a:gd name="T4" fmla="*/ 0 w 10"/>
                  <a:gd name="T5" fmla="*/ 4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4"/>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39" name="Freeform 99"/>
              <p:cNvSpPr/>
              <p:nvPr/>
            </p:nvSpPr>
            <p:spPr bwMode="auto">
              <a:xfrm>
                <a:off x="8047592" y="2549541"/>
                <a:ext cx="13287" cy="5944"/>
              </a:xfrm>
              <a:custGeom>
                <a:avLst/>
                <a:gdLst>
                  <a:gd name="T0" fmla="*/ 0 w 8"/>
                  <a:gd name="T1" fmla="*/ 4 h 4"/>
                  <a:gd name="T2" fmla="*/ 0 w 8"/>
                  <a:gd name="T3" fmla="*/ 0 h 4"/>
                  <a:gd name="T4" fmla="*/ 0 w 8"/>
                  <a:gd name="T5" fmla="*/ 0 h 4"/>
                  <a:gd name="T6" fmla="*/ 8 w 8"/>
                  <a:gd name="T7" fmla="*/ 0 h 4"/>
                  <a:gd name="T8" fmla="*/ 8 w 8"/>
                  <a:gd name="T9" fmla="*/ 4 h 4"/>
                  <a:gd name="T10" fmla="*/ 8 w 8"/>
                  <a:gd name="T11" fmla="*/ 4 h 4"/>
                  <a:gd name="T12" fmla="*/ 0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0" y="4"/>
                    </a:moveTo>
                    <a:lnTo>
                      <a:pt x="0" y="0"/>
                    </a:lnTo>
                    <a:lnTo>
                      <a:pt x="0" y="0"/>
                    </a:lnTo>
                    <a:lnTo>
                      <a:pt x="8" y="0"/>
                    </a:lnTo>
                    <a:lnTo>
                      <a:pt x="8" y="4"/>
                    </a:lnTo>
                    <a:lnTo>
                      <a:pt x="8"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0" name="Freeform 100"/>
              <p:cNvSpPr/>
              <p:nvPr/>
            </p:nvSpPr>
            <p:spPr bwMode="auto">
              <a:xfrm>
                <a:off x="8110704" y="2549541"/>
                <a:ext cx="16608" cy="5944"/>
              </a:xfrm>
              <a:custGeom>
                <a:avLst/>
                <a:gdLst>
                  <a:gd name="T0" fmla="*/ 10 w 10"/>
                  <a:gd name="T1" fmla="*/ 4 h 4"/>
                  <a:gd name="T2" fmla="*/ 10 w 10"/>
                  <a:gd name="T3" fmla="*/ 4 h 4"/>
                  <a:gd name="T4" fmla="*/ 0 w 10"/>
                  <a:gd name="T5" fmla="*/ 2 h 4"/>
                  <a:gd name="T6" fmla="*/ 0 w 10"/>
                  <a:gd name="T7" fmla="*/ 0 h 4"/>
                  <a:gd name="T8" fmla="*/ 0 w 10"/>
                  <a:gd name="T9" fmla="*/ 0 h 4"/>
                  <a:gd name="T10" fmla="*/ 10 w 10"/>
                  <a:gd name="T11" fmla="*/ 0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2"/>
                    </a:lnTo>
                    <a:lnTo>
                      <a:pt x="0" y="0"/>
                    </a:lnTo>
                    <a:lnTo>
                      <a:pt x="0" y="0"/>
                    </a:lnTo>
                    <a:lnTo>
                      <a:pt x="10" y="0"/>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1" name="Freeform 101"/>
              <p:cNvSpPr/>
              <p:nvPr/>
            </p:nvSpPr>
            <p:spPr bwMode="auto">
              <a:xfrm>
                <a:off x="8077487" y="2549541"/>
                <a:ext cx="16608" cy="2972"/>
              </a:xfrm>
              <a:custGeom>
                <a:avLst/>
                <a:gdLst>
                  <a:gd name="T0" fmla="*/ 0 w 10"/>
                  <a:gd name="T1" fmla="*/ 2 h 2"/>
                  <a:gd name="T2" fmla="*/ 0 w 10"/>
                  <a:gd name="T3" fmla="*/ 0 h 2"/>
                  <a:gd name="T4" fmla="*/ 0 w 10"/>
                  <a:gd name="T5" fmla="*/ 0 h 2"/>
                  <a:gd name="T6" fmla="*/ 10 w 10"/>
                  <a:gd name="T7" fmla="*/ 0 h 2"/>
                  <a:gd name="T8" fmla="*/ 10 w 10"/>
                  <a:gd name="T9" fmla="*/ 0 h 2"/>
                  <a:gd name="T10" fmla="*/ 10 w 10"/>
                  <a:gd name="T11" fmla="*/ 2 h 2"/>
                  <a:gd name="T12" fmla="*/ 10 w 10"/>
                  <a:gd name="T13" fmla="*/ 2 h 2"/>
                  <a:gd name="T14" fmla="*/ 10 w 10"/>
                  <a:gd name="T15" fmla="*/ 2 h 2"/>
                  <a:gd name="T16" fmla="*/ 0 w 10"/>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
                    <a:moveTo>
                      <a:pt x="0" y="2"/>
                    </a:moveTo>
                    <a:lnTo>
                      <a:pt x="0" y="0"/>
                    </a:lnTo>
                    <a:lnTo>
                      <a:pt x="0" y="0"/>
                    </a:lnTo>
                    <a:lnTo>
                      <a:pt x="10" y="0"/>
                    </a:lnTo>
                    <a:lnTo>
                      <a:pt x="10" y="0"/>
                    </a:lnTo>
                    <a:lnTo>
                      <a:pt x="10" y="2"/>
                    </a:lnTo>
                    <a:lnTo>
                      <a:pt x="10" y="2"/>
                    </a:lnTo>
                    <a:lnTo>
                      <a:pt x="10"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2" name="Freeform 102"/>
              <p:cNvSpPr/>
              <p:nvPr/>
            </p:nvSpPr>
            <p:spPr bwMode="auto">
              <a:xfrm>
                <a:off x="8007732" y="2576288"/>
                <a:ext cx="195979" cy="181288"/>
              </a:xfrm>
              <a:custGeom>
                <a:avLst/>
                <a:gdLst>
                  <a:gd name="T0" fmla="*/ 80 w 118"/>
                  <a:gd name="T1" fmla="*/ 44 h 122"/>
                  <a:gd name="T2" fmla="*/ 74 w 118"/>
                  <a:gd name="T3" fmla="*/ 32 h 122"/>
                  <a:gd name="T4" fmla="*/ 58 w 118"/>
                  <a:gd name="T5" fmla="*/ 28 h 122"/>
                  <a:gd name="T6" fmla="*/ 52 w 118"/>
                  <a:gd name="T7" fmla="*/ 30 h 122"/>
                  <a:gd name="T8" fmla="*/ 48 w 118"/>
                  <a:gd name="T9" fmla="*/ 34 h 122"/>
                  <a:gd name="T10" fmla="*/ 48 w 118"/>
                  <a:gd name="T11" fmla="*/ 38 h 122"/>
                  <a:gd name="T12" fmla="*/ 58 w 118"/>
                  <a:gd name="T13" fmla="*/ 42 h 122"/>
                  <a:gd name="T14" fmla="*/ 94 w 118"/>
                  <a:gd name="T15" fmla="*/ 54 h 122"/>
                  <a:gd name="T16" fmla="*/ 114 w 118"/>
                  <a:gd name="T17" fmla="*/ 68 h 122"/>
                  <a:gd name="T18" fmla="*/ 118 w 118"/>
                  <a:gd name="T19" fmla="*/ 80 h 122"/>
                  <a:gd name="T20" fmla="*/ 118 w 118"/>
                  <a:gd name="T21" fmla="*/ 88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10 h 122"/>
                  <a:gd name="T34" fmla="*/ 34 w 118"/>
                  <a:gd name="T35" fmla="*/ 98 h 122"/>
                  <a:gd name="T36" fmla="*/ 0 w 118"/>
                  <a:gd name="T37" fmla="*/ 110 h 122"/>
                  <a:gd name="T38" fmla="*/ 34 w 118"/>
                  <a:gd name="T39" fmla="*/ 70 h 122"/>
                  <a:gd name="T40" fmla="*/ 36 w 118"/>
                  <a:gd name="T41" fmla="*/ 76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6 h 122"/>
                  <a:gd name="T66" fmla="*/ 46 w 118"/>
                  <a:gd name="T67" fmla="*/ 8 h 122"/>
                  <a:gd name="T68" fmla="*/ 52 w 118"/>
                  <a:gd name="T69" fmla="*/ 10 h 122"/>
                  <a:gd name="T70" fmla="*/ 62 w 118"/>
                  <a:gd name="T71" fmla="*/ 0 h 122"/>
                  <a:gd name="T72" fmla="*/ 62 w 118"/>
                  <a:gd name="T73" fmla="*/ 10 h 122"/>
                  <a:gd name="T74" fmla="*/ 80 w 118"/>
                  <a:gd name="T75" fmla="*/ 22 h 122"/>
                  <a:gd name="T76" fmla="*/ 108 w 118"/>
                  <a:gd name="T77" fmla="*/ 10 h 122"/>
                  <a:gd name="T78" fmla="*/ 80 w 118"/>
                  <a:gd name="T79" fmla="*/ 4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4"/>
                    </a:moveTo>
                    <a:lnTo>
                      <a:pt x="80" y="44"/>
                    </a:lnTo>
                    <a:lnTo>
                      <a:pt x="78" y="36"/>
                    </a:lnTo>
                    <a:lnTo>
                      <a:pt x="74" y="32"/>
                    </a:lnTo>
                    <a:lnTo>
                      <a:pt x="68" y="28"/>
                    </a:lnTo>
                    <a:lnTo>
                      <a:pt x="58" y="28"/>
                    </a:lnTo>
                    <a:lnTo>
                      <a:pt x="58" y="28"/>
                    </a:lnTo>
                    <a:lnTo>
                      <a:pt x="52" y="30"/>
                    </a:lnTo>
                    <a:lnTo>
                      <a:pt x="48" y="32"/>
                    </a:lnTo>
                    <a:lnTo>
                      <a:pt x="48" y="34"/>
                    </a:lnTo>
                    <a:lnTo>
                      <a:pt x="48" y="34"/>
                    </a:lnTo>
                    <a:lnTo>
                      <a:pt x="48" y="38"/>
                    </a:lnTo>
                    <a:lnTo>
                      <a:pt x="50" y="40"/>
                    </a:lnTo>
                    <a:lnTo>
                      <a:pt x="58" y="42"/>
                    </a:lnTo>
                    <a:lnTo>
                      <a:pt x="82" y="50"/>
                    </a:lnTo>
                    <a:lnTo>
                      <a:pt x="94" y="54"/>
                    </a:lnTo>
                    <a:lnTo>
                      <a:pt x="106" y="60"/>
                    </a:lnTo>
                    <a:lnTo>
                      <a:pt x="114" y="68"/>
                    </a:lnTo>
                    <a:lnTo>
                      <a:pt x="116" y="74"/>
                    </a:lnTo>
                    <a:lnTo>
                      <a:pt x="118" y="80"/>
                    </a:lnTo>
                    <a:lnTo>
                      <a:pt x="118" y="80"/>
                    </a:lnTo>
                    <a:lnTo>
                      <a:pt x="118" y="88"/>
                    </a:lnTo>
                    <a:lnTo>
                      <a:pt x="114" y="94"/>
                    </a:lnTo>
                    <a:lnTo>
                      <a:pt x="110" y="100"/>
                    </a:lnTo>
                    <a:lnTo>
                      <a:pt x="104" y="104"/>
                    </a:lnTo>
                    <a:lnTo>
                      <a:pt x="98" y="108"/>
                    </a:lnTo>
                    <a:lnTo>
                      <a:pt x="90" y="110"/>
                    </a:lnTo>
                    <a:lnTo>
                      <a:pt x="72" y="112"/>
                    </a:lnTo>
                    <a:lnTo>
                      <a:pt x="72" y="112"/>
                    </a:lnTo>
                    <a:lnTo>
                      <a:pt x="66" y="112"/>
                    </a:lnTo>
                    <a:lnTo>
                      <a:pt x="66" y="122"/>
                    </a:lnTo>
                    <a:lnTo>
                      <a:pt x="54" y="122"/>
                    </a:lnTo>
                    <a:lnTo>
                      <a:pt x="54" y="110"/>
                    </a:lnTo>
                    <a:lnTo>
                      <a:pt x="54" y="110"/>
                    </a:lnTo>
                    <a:lnTo>
                      <a:pt x="42" y="104"/>
                    </a:lnTo>
                    <a:lnTo>
                      <a:pt x="34" y="98"/>
                    </a:lnTo>
                    <a:lnTo>
                      <a:pt x="32" y="110"/>
                    </a:lnTo>
                    <a:lnTo>
                      <a:pt x="0" y="110"/>
                    </a:lnTo>
                    <a:lnTo>
                      <a:pt x="2" y="70"/>
                    </a:lnTo>
                    <a:lnTo>
                      <a:pt x="34" y="70"/>
                    </a:lnTo>
                    <a:lnTo>
                      <a:pt x="34" y="70"/>
                    </a:lnTo>
                    <a:lnTo>
                      <a:pt x="36" y="76"/>
                    </a:lnTo>
                    <a:lnTo>
                      <a:pt x="36" y="78"/>
                    </a:lnTo>
                    <a:lnTo>
                      <a:pt x="42" y="82"/>
                    </a:lnTo>
                    <a:lnTo>
                      <a:pt x="50" y="86"/>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8"/>
                    </a:lnTo>
                    <a:lnTo>
                      <a:pt x="6" y="42"/>
                    </a:lnTo>
                    <a:lnTo>
                      <a:pt x="6" y="36"/>
                    </a:lnTo>
                    <a:lnTo>
                      <a:pt x="6" y="36"/>
                    </a:lnTo>
                    <a:lnTo>
                      <a:pt x="8" y="30"/>
                    </a:lnTo>
                    <a:lnTo>
                      <a:pt x="10" y="24"/>
                    </a:lnTo>
                    <a:lnTo>
                      <a:pt x="16" y="18"/>
                    </a:lnTo>
                    <a:lnTo>
                      <a:pt x="20" y="16"/>
                    </a:lnTo>
                    <a:lnTo>
                      <a:pt x="32" y="10"/>
                    </a:lnTo>
                    <a:lnTo>
                      <a:pt x="46" y="8"/>
                    </a:lnTo>
                    <a:lnTo>
                      <a:pt x="46" y="8"/>
                    </a:lnTo>
                    <a:lnTo>
                      <a:pt x="52" y="10"/>
                    </a:lnTo>
                    <a:lnTo>
                      <a:pt x="52" y="0"/>
                    </a:lnTo>
                    <a:lnTo>
                      <a:pt x="62" y="0"/>
                    </a:lnTo>
                    <a:lnTo>
                      <a:pt x="62" y="10"/>
                    </a:lnTo>
                    <a:lnTo>
                      <a:pt x="62" y="10"/>
                    </a:lnTo>
                    <a:lnTo>
                      <a:pt x="72" y="14"/>
                    </a:lnTo>
                    <a:lnTo>
                      <a:pt x="80" y="22"/>
                    </a:lnTo>
                    <a:lnTo>
                      <a:pt x="80" y="10"/>
                    </a:lnTo>
                    <a:lnTo>
                      <a:pt x="108" y="10"/>
                    </a:lnTo>
                    <a:lnTo>
                      <a:pt x="110" y="44"/>
                    </a:lnTo>
                    <a:lnTo>
                      <a:pt x="80" y="4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3" name="Freeform 103"/>
              <p:cNvSpPr/>
              <p:nvPr/>
            </p:nvSpPr>
            <p:spPr bwMode="auto">
              <a:xfrm>
                <a:off x="8007732" y="2576288"/>
                <a:ext cx="195979" cy="181288"/>
              </a:xfrm>
              <a:custGeom>
                <a:avLst/>
                <a:gdLst>
                  <a:gd name="T0" fmla="*/ 80 w 118"/>
                  <a:gd name="T1" fmla="*/ 44 h 122"/>
                  <a:gd name="T2" fmla="*/ 74 w 118"/>
                  <a:gd name="T3" fmla="*/ 32 h 122"/>
                  <a:gd name="T4" fmla="*/ 58 w 118"/>
                  <a:gd name="T5" fmla="*/ 28 h 122"/>
                  <a:gd name="T6" fmla="*/ 52 w 118"/>
                  <a:gd name="T7" fmla="*/ 30 h 122"/>
                  <a:gd name="T8" fmla="*/ 48 w 118"/>
                  <a:gd name="T9" fmla="*/ 34 h 122"/>
                  <a:gd name="T10" fmla="*/ 48 w 118"/>
                  <a:gd name="T11" fmla="*/ 38 h 122"/>
                  <a:gd name="T12" fmla="*/ 58 w 118"/>
                  <a:gd name="T13" fmla="*/ 42 h 122"/>
                  <a:gd name="T14" fmla="*/ 94 w 118"/>
                  <a:gd name="T15" fmla="*/ 54 h 122"/>
                  <a:gd name="T16" fmla="*/ 114 w 118"/>
                  <a:gd name="T17" fmla="*/ 68 h 122"/>
                  <a:gd name="T18" fmla="*/ 118 w 118"/>
                  <a:gd name="T19" fmla="*/ 80 h 122"/>
                  <a:gd name="T20" fmla="*/ 118 w 118"/>
                  <a:gd name="T21" fmla="*/ 88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10 h 122"/>
                  <a:gd name="T34" fmla="*/ 34 w 118"/>
                  <a:gd name="T35" fmla="*/ 98 h 122"/>
                  <a:gd name="T36" fmla="*/ 0 w 118"/>
                  <a:gd name="T37" fmla="*/ 110 h 122"/>
                  <a:gd name="T38" fmla="*/ 34 w 118"/>
                  <a:gd name="T39" fmla="*/ 70 h 122"/>
                  <a:gd name="T40" fmla="*/ 36 w 118"/>
                  <a:gd name="T41" fmla="*/ 76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6 h 122"/>
                  <a:gd name="T66" fmla="*/ 46 w 118"/>
                  <a:gd name="T67" fmla="*/ 8 h 122"/>
                  <a:gd name="T68" fmla="*/ 52 w 118"/>
                  <a:gd name="T69" fmla="*/ 10 h 122"/>
                  <a:gd name="T70" fmla="*/ 62 w 118"/>
                  <a:gd name="T71" fmla="*/ 0 h 122"/>
                  <a:gd name="T72" fmla="*/ 62 w 118"/>
                  <a:gd name="T73" fmla="*/ 10 h 122"/>
                  <a:gd name="T74" fmla="*/ 80 w 118"/>
                  <a:gd name="T75" fmla="*/ 22 h 122"/>
                  <a:gd name="T76" fmla="*/ 108 w 118"/>
                  <a:gd name="T77" fmla="*/ 10 h 122"/>
                  <a:gd name="T78" fmla="*/ 80 w 118"/>
                  <a:gd name="T79" fmla="*/ 4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4"/>
                    </a:moveTo>
                    <a:lnTo>
                      <a:pt x="80" y="44"/>
                    </a:lnTo>
                    <a:lnTo>
                      <a:pt x="78" y="36"/>
                    </a:lnTo>
                    <a:lnTo>
                      <a:pt x="74" y="32"/>
                    </a:lnTo>
                    <a:lnTo>
                      <a:pt x="68" y="28"/>
                    </a:lnTo>
                    <a:lnTo>
                      <a:pt x="58" y="28"/>
                    </a:lnTo>
                    <a:lnTo>
                      <a:pt x="58" y="28"/>
                    </a:lnTo>
                    <a:lnTo>
                      <a:pt x="52" y="30"/>
                    </a:lnTo>
                    <a:lnTo>
                      <a:pt x="48" y="32"/>
                    </a:lnTo>
                    <a:lnTo>
                      <a:pt x="48" y="34"/>
                    </a:lnTo>
                    <a:lnTo>
                      <a:pt x="48" y="34"/>
                    </a:lnTo>
                    <a:lnTo>
                      <a:pt x="48" y="38"/>
                    </a:lnTo>
                    <a:lnTo>
                      <a:pt x="50" y="40"/>
                    </a:lnTo>
                    <a:lnTo>
                      <a:pt x="58" y="42"/>
                    </a:lnTo>
                    <a:lnTo>
                      <a:pt x="82" y="50"/>
                    </a:lnTo>
                    <a:lnTo>
                      <a:pt x="94" y="54"/>
                    </a:lnTo>
                    <a:lnTo>
                      <a:pt x="106" y="60"/>
                    </a:lnTo>
                    <a:lnTo>
                      <a:pt x="114" y="68"/>
                    </a:lnTo>
                    <a:lnTo>
                      <a:pt x="116" y="74"/>
                    </a:lnTo>
                    <a:lnTo>
                      <a:pt x="118" y="80"/>
                    </a:lnTo>
                    <a:lnTo>
                      <a:pt x="118" y="80"/>
                    </a:lnTo>
                    <a:lnTo>
                      <a:pt x="118" y="88"/>
                    </a:lnTo>
                    <a:lnTo>
                      <a:pt x="114" y="94"/>
                    </a:lnTo>
                    <a:lnTo>
                      <a:pt x="110" y="100"/>
                    </a:lnTo>
                    <a:lnTo>
                      <a:pt x="104" y="104"/>
                    </a:lnTo>
                    <a:lnTo>
                      <a:pt x="98" y="108"/>
                    </a:lnTo>
                    <a:lnTo>
                      <a:pt x="90" y="110"/>
                    </a:lnTo>
                    <a:lnTo>
                      <a:pt x="72" y="112"/>
                    </a:lnTo>
                    <a:lnTo>
                      <a:pt x="72" y="112"/>
                    </a:lnTo>
                    <a:lnTo>
                      <a:pt x="66" y="112"/>
                    </a:lnTo>
                    <a:lnTo>
                      <a:pt x="66" y="122"/>
                    </a:lnTo>
                    <a:lnTo>
                      <a:pt x="54" y="122"/>
                    </a:lnTo>
                    <a:lnTo>
                      <a:pt x="54" y="110"/>
                    </a:lnTo>
                    <a:lnTo>
                      <a:pt x="54" y="110"/>
                    </a:lnTo>
                    <a:lnTo>
                      <a:pt x="42" y="104"/>
                    </a:lnTo>
                    <a:lnTo>
                      <a:pt x="34" y="98"/>
                    </a:lnTo>
                    <a:lnTo>
                      <a:pt x="32" y="110"/>
                    </a:lnTo>
                    <a:lnTo>
                      <a:pt x="0" y="110"/>
                    </a:lnTo>
                    <a:lnTo>
                      <a:pt x="2" y="70"/>
                    </a:lnTo>
                    <a:lnTo>
                      <a:pt x="34" y="70"/>
                    </a:lnTo>
                    <a:lnTo>
                      <a:pt x="34" y="70"/>
                    </a:lnTo>
                    <a:lnTo>
                      <a:pt x="36" y="76"/>
                    </a:lnTo>
                    <a:lnTo>
                      <a:pt x="36" y="78"/>
                    </a:lnTo>
                    <a:lnTo>
                      <a:pt x="42" y="82"/>
                    </a:lnTo>
                    <a:lnTo>
                      <a:pt x="50" y="86"/>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8"/>
                    </a:lnTo>
                    <a:lnTo>
                      <a:pt x="6" y="42"/>
                    </a:lnTo>
                    <a:lnTo>
                      <a:pt x="6" y="36"/>
                    </a:lnTo>
                    <a:lnTo>
                      <a:pt x="6" y="36"/>
                    </a:lnTo>
                    <a:lnTo>
                      <a:pt x="8" y="30"/>
                    </a:lnTo>
                    <a:lnTo>
                      <a:pt x="10" y="24"/>
                    </a:lnTo>
                    <a:lnTo>
                      <a:pt x="16" y="18"/>
                    </a:lnTo>
                    <a:lnTo>
                      <a:pt x="20" y="16"/>
                    </a:lnTo>
                    <a:lnTo>
                      <a:pt x="32" y="10"/>
                    </a:lnTo>
                    <a:lnTo>
                      <a:pt x="46" y="8"/>
                    </a:lnTo>
                    <a:lnTo>
                      <a:pt x="46" y="8"/>
                    </a:lnTo>
                    <a:lnTo>
                      <a:pt x="52" y="10"/>
                    </a:lnTo>
                    <a:lnTo>
                      <a:pt x="52" y="0"/>
                    </a:lnTo>
                    <a:lnTo>
                      <a:pt x="62" y="0"/>
                    </a:lnTo>
                    <a:lnTo>
                      <a:pt x="62" y="10"/>
                    </a:lnTo>
                    <a:lnTo>
                      <a:pt x="62" y="10"/>
                    </a:lnTo>
                    <a:lnTo>
                      <a:pt x="72" y="14"/>
                    </a:lnTo>
                    <a:lnTo>
                      <a:pt x="80" y="22"/>
                    </a:lnTo>
                    <a:lnTo>
                      <a:pt x="80" y="10"/>
                    </a:lnTo>
                    <a:lnTo>
                      <a:pt x="108" y="10"/>
                    </a:lnTo>
                    <a:lnTo>
                      <a:pt x="110" y="44"/>
                    </a:lnTo>
                    <a:lnTo>
                      <a:pt x="80"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4" name="Freeform 104"/>
              <p:cNvSpPr/>
              <p:nvPr/>
            </p:nvSpPr>
            <p:spPr bwMode="auto">
              <a:xfrm>
                <a:off x="7695494" y="2692194"/>
                <a:ext cx="797203" cy="222895"/>
              </a:xfrm>
              <a:custGeom>
                <a:avLst/>
                <a:gdLst>
                  <a:gd name="T0" fmla="*/ 436 w 480"/>
                  <a:gd name="T1" fmla="*/ 48 h 150"/>
                  <a:gd name="T2" fmla="*/ 392 w 480"/>
                  <a:gd name="T3" fmla="*/ 68 h 150"/>
                  <a:gd name="T4" fmla="*/ 372 w 480"/>
                  <a:gd name="T5" fmla="*/ 76 h 150"/>
                  <a:gd name="T6" fmla="*/ 348 w 480"/>
                  <a:gd name="T7" fmla="*/ 82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8 h 150"/>
                  <a:gd name="T26" fmla="*/ 16 w 480"/>
                  <a:gd name="T27" fmla="*/ 26 h 150"/>
                  <a:gd name="T28" fmla="*/ 0 w 480"/>
                  <a:gd name="T29" fmla="*/ 0 h 150"/>
                  <a:gd name="T30" fmla="*/ 0 w 480"/>
                  <a:gd name="T31" fmla="*/ 60 h 150"/>
                  <a:gd name="T32" fmla="*/ 6 w 480"/>
                  <a:gd name="T33" fmla="*/ 72 h 150"/>
                  <a:gd name="T34" fmla="*/ 28 w 480"/>
                  <a:gd name="T35" fmla="*/ 94 h 150"/>
                  <a:gd name="T36" fmla="*/ 42 w 480"/>
                  <a:gd name="T37" fmla="*/ 104 h 150"/>
                  <a:gd name="T38" fmla="*/ 86 w 480"/>
                  <a:gd name="T39" fmla="*/ 124 h 150"/>
                  <a:gd name="T40" fmla="*/ 108 w 480"/>
                  <a:gd name="T41" fmla="*/ 132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4 h 150"/>
                  <a:gd name="T58" fmla="*/ 416 w 480"/>
                  <a:gd name="T59" fmla="*/ 116 h 150"/>
                  <a:gd name="T60" fmla="*/ 436 w 480"/>
                  <a:gd name="T61" fmla="*/ 104 h 150"/>
                  <a:gd name="T62" fmla="*/ 464 w 480"/>
                  <a:gd name="T63" fmla="*/ 82 h 150"/>
                  <a:gd name="T64" fmla="*/ 480 w 480"/>
                  <a:gd name="T65" fmla="*/ 60 h 150"/>
                  <a:gd name="T66" fmla="*/ 480 w 480"/>
                  <a:gd name="T67" fmla="*/ 0 h 150"/>
                  <a:gd name="T68" fmla="*/ 474 w 480"/>
                  <a:gd name="T69" fmla="*/ 14 h 150"/>
                  <a:gd name="T70" fmla="*/ 452 w 480"/>
                  <a:gd name="T71" fmla="*/ 38 h 150"/>
                  <a:gd name="T72" fmla="*/ 436 w 480"/>
                  <a:gd name="T73" fmla="*/ 4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0" h="150">
                    <a:moveTo>
                      <a:pt x="436" y="48"/>
                    </a:moveTo>
                    <a:lnTo>
                      <a:pt x="436" y="48"/>
                    </a:lnTo>
                    <a:lnTo>
                      <a:pt x="416" y="58"/>
                    </a:lnTo>
                    <a:lnTo>
                      <a:pt x="392" y="68"/>
                    </a:lnTo>
                    <a:lnTo>
                      <a:pt x="392" y="68"/>
                    </a:lnTo>
                    <a:lnTo>
                      <a:pt x="372" y="76"/>
                    </a:lnTo>
                    <a:lnTo>
                      <a:pt x="348" y="82"/>
                    </a:lnTo>
                    <a:lnTo>
                      <a:pt x="348" y="82"/>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8"/>
                    </a:lnTo>
                    <a:lnTo>
                      <a:pt x="42" y="48"/>
                    </a:lnTo>
                    <a:lnTo>
                      <a:pt x="28" y="36"/>
                    </a:lnTo>
                    <a:lnTo>
                      <a:pt x="16" y="26"/>
                    </a:lnTo>
                    <a:lnTo>
                      <a:pt x="6" y="14"/>
                    </a:lnTo>
                    <a:lnTo>
                      <a:pt x="0" y="0"/>
                    </a:lnTo>
                    <a:lnTo>
                      <a:pt x="0" y="0"/>
                    </a:lnTo>
                    <a:lnTo>
                      <a:pt x="0" y="60"/>
                    </a:lnTo>
                    <a:lnTo>
                      <a:pt x="0" y="60"/>
                    </a:lnTo>
                    <a:lnTo>
                      <a:pt x="6" y="72"/>
                    </a:lnTo>
                    <a:lnTo>
                      <a:pt x="16" y="82"/>
                    </a:lnTo>
                    <a:lnTo>
                      <a:pt x="28" y="94"/>
                    </a:lnTo>
                    <a:lnTo>
                      <a:pt x="42" y="104"/>
                    </a:lnTo>
                    <a:lnTo>
                      <a:pt x="42" y="104"/>
                    </a:lnTo>
                    <a:lnTo>
                      <a:pt x="64" y="114"/>
                    </a:lnTo>
                    <a:lnTo>
                      <a:pt x="86" y="124"/>
                    </a:lnTo>
                    <a:lnTo>
                      <a:pt x="86" y="124"/>
                    </a:lnTo>
                    <a:lnTo>
                      <a:pt x="108" y="132"/>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4"/>
                    </a:lnTo>
                    <a:lnTo>
                      <a:pt x="392" y="124"/>
                    </a:lnTo>
                    <a:lnTo>
                      <a:pt x="416" y="116"/>
                    </a:lnTo>
                    <a:lnTo>
                      <a:pt x="436" y="104"/>
                    </a:lnTo>
                    <a:lnTo>
                      <a:pt x="436" y="104"/>
                    </a:lnTo>
                    <a:lnTo>
                      <a:pt x="452" y="94"/>
                    </a:lnTo>
                    <a:lnTo>
                      <a:pt x="464" y="82"/>
                    </a:lnTo>
                    <a:lnTo>
                      <a:pt x="474" y="72"/>
                    </a:lnTo>
                    <a:lnTo>
                      <a:pt x="480" y="60"/>
                    </a:lnTo>
                    <a:lnTo>
                      <a:pt x="480" y="60"/>
                    </a:lnTo>
                    <a:lnTo>
                      <a:pt x="480" y="0"/>
                    </a:lnTo>
                    <a:lnTo>
                      <a:pt x="480" y="0"/>
                    </a:lnTo>
                    <a:lnTo>
                      <a:pt x="474" y="14"/>
                    </a:lnTo>
                    <a:lnTo>
                      <a:pt x="464" y="26"/>
                    </a:lnTo>
                    <a:lnTo>
                      <a:pt x="452" y="38"/>
                    </a:lnTo>
                    <a:lnTo>
                      <a:pt x="436" y="48"/>
                    </a:lnTo>
                    <a:lnTo>
                      <a:pt x="436" y="48"/>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5" name="Freeform 105"/>
              <p:cNvSpPr/>
              <p:nvPr/>
            </p:nvSpPr>
            <p:spPr bwMode="auto">
              <a:xfrm>
                <a:off x="7695494" y="2421748"/>
                <a:ext cx="797203" cy="326913"/>
              </a:xfrm>
              <a:custGeom>
                <a:avLst/>
                <a:gdLst>
                  <a:gd name="T0" fmla="*/ 240 w 480"/>
                  <a:gd name="T1" fmla="*/ 0 h 220"/>
                  <a:gd name="T2" fmla="*/ 240 w 480"/>
                  <a:gd name="T3" fmla="*/ 0 h 220"/>
                  <a:gd name="T4" fmla="*/ 192 w 480"/>
                  <a:gd name="T5" fmla="*/ 2 h 220"/>
                  <a:gd name="T6" fmla="*/ 146 w 480"/>
                  <a:gd name="T7" fmla="*/ 8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0 h 220"/>
                  <a:gd name="T34" fmla="*/ 6 w 480"/>
                  <a:gd name="T35" fmla="*/ 132 h 220"/>
                  <a:gd name="T36" fmla="*/ 10 w 480"/>
                  <a:gd name="T37" fmla="*/ 142 h 220"/>
                  <a:gd name="T38" fmla="*/ 20 w 480"/>
                  <a:gd name="T39" fmla="*/ 152 h 220"/>
                  <a:gd name="T40" fmla="*/ 30 w 480"/>
                  <a:gd name="T41" fmla="*/ 162 h 220"/>
                  <a:gd name="T42" fmla="*/ 42 w 480"/>
                  <a:gd name="T43" fmla="*/ 170 h 220"/>
                  <a:gd name="T44" fmla="*/ 54 w 480"/>
                  <a:gd name="T45" fmla="*/ 180 h 220"/>
                  <a:gd name="T46" fmla="*/ 70 w 480"/>
                  <a:gd name="T47" fmla="*/ 186 h 220"/>
                  <a:gd name="T48" fmla="*/ 88 w 480"/>
                  <a:gd name="T49" fmla="*/ 194 h 220"/>
                  <a:gd name="T50" fmla="*/ 106 w 480"/>
                  <a:gd name="T51" fmla="*/ 200 h 220"/>
                  <a:gd name="T52" fmla="*/ 146 w 480"/>
                  <a:gd name="T53" fmla="*/ 210 h 220"/>
                  <a:gd name="T54" fmla="*/ 192 w 480"/>
                  <a:gd name="T55" fmla="*/ 216 h 220"/>
                  <a:gd name="T56" fmla="*/ 240 w 480"/>
                  <a:gd name="T57" fmla="*/ 220 h 220"/>
                  <a:gd name="T58" fmla="*/ 240 w 480"/>
                  <a:gd name="T59" fmla="*/ 220 h 220"/>
                  <a:gd name="T60" fmla="*/ 288 w 480"/>
                  <a:gd name="T61" fmla="*/ 216 h 220"/>
                  <a:gd name="T62" fmla="*/ 334 w 480"/>
                  <a:gd name="T63" fmla="*/ 210 h 220"/>
                  <a:gd name="T64" fmla="*/ 374 w 480"/>
                  <a:gd name="T65" fmla="*/ 200 h 220"/>
                  <a:gd name="T66" fmla="*/ 392 w 480"/>
                  <a:gd name="T67" fmla="*/ 194 h 220"/>
                  <a:gd name="T68" fmla="*/ 410 w 480"/>
                  <a:gd name="T69" fmla="*/ 186 h 220"/>
                  <a:gd name="T70" fmla="*/ 426 w 480"/>
                  <a:gd name="T71" fmla="*/ 180 h 220"/>
                  <a:gd name="T72" fmla="*/ 440 w 480"/>
                  <a:gd name="T73" fmla="*/ 170 h 220"/>
                  <a:gd name="T74" fmla="*/ 452 w 480"/>
                  <a:gd name="T75" fmla="*/ 162 h 220"/>
                  <a:gd name="T76" fmla="*/ 462 w 480"/>
                  <a:gd name="T77" fmla="*/ 152 h 220"/>
                  <a:gd name="T78" fmla="*/ 470 w 480"/>
                  <a:gd name="T79" fmla="*/ 142 h 220"/>
                  <a:gd name="T80" fmla="*/ 476 w 480"/>
                  <a:gd name="T81" fmla="*/ 132 h 220"/>
                  <a:gd name="T82" fmla="*/ 478 w 480"/>
                  <a:gd name="T83" fmla="*/ 120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8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8"/>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0"/>
                    </a:lnTo>
                    <a:lnTo>
                      <a:pt x="6" y="132"/>
                    </a:lnTo>
                    <a:lnTo>
                      <a:pt x="10" y="142"/>
                    </a:lnTo>
                    <a:lnTo>
                      <a:pt x="20" y="152"/>
                    </a:lnTo>
                    <a:lnTo>
                      <a:pt x="30" y="162"/>
                    </a:lnTo>
                    <a:lnTo>
                      <a:pt x="42" y="170"/>
                    </a:lnTo>
                    <a:lnTo>
                      <a:pt x="54" y="180"/>
                    </a:lnTo>
                    <a:lnTo>
                      <a:pt x="70" y="186"/>
                    </a:lnTo>
                    <a:lnTo>
                      <a:pt x="88" y="194"/>
                    </a:lnTo>
                    <a:lnTo>
                      <a:pt x="106" y="200"/>
                    </a:lnTo>
                    <a:lnTo>
                      <a:pt x="146" y="210"/>
                    </a:lnTo>
                    <a:lnTo>
                      <a:pt x="192" y="216"/>
                    </a:lnTo>
                    <a:lnTo>
                      <a:pt x="240" y="220"/>
                    </a:lnTo>
                    <a:lnTo>
                      <a:pt x="240" y="220"/>
                    </a:lnTo>
                    <a:lnTo>
                      <a:pt x="288" y="216"/>
                    </a:lnTo>
                    <a:lnTo>
                      <a:pt x="334" y="210"/>
                    </a:lnTo>
                    <a:lnTo>
                      <a:pt x="374" y="200"/>
                    </a:lnTo>
                    <a:lnTo>
                      <a:pt x="392" y="194"/>
                    </a:lnTo>
                    <a:lnTo>
                      <a:pt x="410" y="186"/>
                    </a:lnTo>
                    <a:lnTo>
                      <a:pt x="426" y="180"/>
                    </a:lnTo>
                    <a:lnTo>
                      <a:pt x="440" y="170"/>
                    </a:lnTo>
                    <a:lnTo>
                      <a:pt x="452" y="162"/>
                    </a:lnTo>
                    <a:lnTo>
                      <a:pt x="462" y="152"/>
                    </a:lnTo>
                    <a:lnTo>
                      <a:pt x="470" y="142"/>
                    </a:lnTo>
                    <a:lnTo>
                      <a:pt x="476" y="132"/>
                    </a:lnTo>
                    <a:lnTo>
                      <a:pt x="478" y="120"/>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8"/>
                    </a:lnTo>
                    <a:lnTo>
                      <a:pt x="288" y="2"/>
                    </a:lnTo>
                    <a:lnTo>
                      <a:pt x="240" y="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6" name="Freeform 106"/>
              <p:cNvSpPr/>
              <p:nvPr/>
            </p:nvSpPr>
            <p:spPr bwMode="auto">
              <a:xfrm>
                <a:off x="7695494" y="2421748"/>
                <a:ext cx="797203" cy="326913"/>
              </a:xfrm>
              <a:custGeom>
                <a:avLst/>
                <a:gdLst>
                  <a:gd name="T0" fmla="*/ 240 w 480"/>
                  <a:gd name="T1" fmla="*/ 0 h 220"/>
                  <a:gd name="T2" fmla="*/ 240 w 480"/>
                  <a:gd name="T3" fmla="*/ 0 h 220"/>
                  <a:gd name="T4" fmla="*/ 192 w 480"/>
                  <a:gd name="T5" fmla="*/ 2 h 220"/>
                  <a:gd name="T6" fmla="*/ 146 w 480"/>
                  <a:gd name="T7" fmla="*/ 8 h 220"/>
                  <a:gd name="T8" fmla="*/ 106 w 480"/>
                  <a:gd name="T9" fmla="*/ 20 h 220"/>
                  <a:gd name="T10" fmla="*/ 88 w 480"/>
                  <a:gd name="T11" fmla="*/ 26 h 220"/>
                  <a:gd name="T12" fmla="*/ 70 w 480"/>
                  <a:gd name="T13" fmla="*/ 32 h 220"/>
                  <a:gd name="T14" fmla="*/ 54 w 480"/>
                  <a:gd name="T15" fmla="*/ 40 h 220"/>
                  <a:gd name="T16" fmla="*/ 42 w 480"/>
                  <a:gd name="T17" fmla="*/ 48 h 220"/>
                  <a:gd name="T18" fmla="*/ 30 w 480"/>
                  <a:gd name="T19" fmla="*/ 58 h 220"/>
                  <a:gd name="T20" fmla="*/ 20 w 480"/>
                  <a:gd name="T21" fmla="*/ 68 h 220"/>
                  <a:gd name="T22" fmla="*/ 10 w 480"/>
                  <a:gd name="T23" fmla="*/ 78 h 220"/>
                  <a:gd name="T24" fmla="*/ 6 w 480"/>
                  <a:gd name="T25" fmla="*/ 88 h 220"/>
                  <a:gd name="T26" fmla="*/ 2 w 480"/>
                  <a:gd name="T27" fmla="*/ 98 h 220"/>
                  <a:gd name="T28" fmla="*/ 0 w 480"/>
                  <a:gd name="T29" fmla="*/ 110 h 220"/>
                  <a:gd name="T30" fmla="*/ 0 w 480"/>
                  <a:gd name="T31" fmla="*/ 110 h 220"/>
                  <a:gd name="T32" fmla="*/ 2 w 480"/>
                  <a:gd name="T33" fmla="*/ 120 h 220"/>
                  <a:gd name="T34" fmla="*/ 6 w 480"/>
                  <a:gd name="T35" fmla="*/ 132 h 220"/>
                  <a:gd name="T36" fmla="*/ 10 w 480"/>
                  <a:gd name="T37" fmla="*/ 142 h 220"/>
                  <a:gd name="T38" fmla="*/ 20 w 480"/>
                  <a:gd name="T39" fmla="*/ 152 h 220"/>
                  <a:gd name="T40" fmla="*/ 30 w 480"/>
                  <a:gd name="T41" fmla="*/ 162 h 220"/>
                  <a:gd name="T42" fmla="*/ 42 w 480"/>
                  <a:gd name="T43" fmla="*/ 170 h 220"/>
                  <a:gd name="T44" fmla="*/ 54 w 480"/>
                  <a:gd name="T45" fmla="*/ 180 h 220"/>
                  <a:gd name="T46" fmla="*/ 70 w 480"/>
                  <a:gd name="T47" fmla="*/ 186 h 220"/>
                  <a:gd name="T48" fmla="*/ 88 w 480"/>
                  <a:gd name="T49" fmla="*/ 194 h 220"/>
                  <a:gd name="T50" fmla="*/ 106 w 480"/>
                  <a:gd name="T51" fmla="*/ 200 h 220"/>
                  <a:gd name="T52" fmla="*/ 146 w 480"/>
                  <a:gd name="T53" fmla="*/ 210 h 220"/>
                  <a:gd name="T54" fmla="*/ 192 w 480"/>
                  <a:gd name="T55" fmla="*/ 216 h 220"/>
                  <a:gd name="T56" fmla="*/ 240 w 480"/>
                  <a:gd name="T57" fmla="*/ 220 h 220"/>
                  <a:gd name="T58" fmla="*/ 240 w 480"/>
                  <a:gd name="T59" fmla="*/ 220 h 220"/>
                  <a:gd name="T60" fmla="*/ 288 w 480"/>
                  <a:gd name="T61" fmla="*/ 216 h 220"/>
                  <a:gd name="T62" fmla="*/ 334 w 480"/>
                  <a:gd name="T63" fmla="*/ 210 h 220"/>
                  <a:gd name="T64" fmla="*/ 374 w 480"/>
                  <a:gd name="T65" fmla="*/ 200 h 220"/>
                  <a:gd name="T66" fmla="*/ 392 w 480"/>
                  <a:gd name="T67" fmla="*/ 194 h 220"/>
                  <a:gd name="T68" fmla="*/ 410 w 480"/>
                  <a:gd name="T69" fmla="*/ 186 h 220"/>
                  <a:gd name="T70" fmla="*/ 426 w 480"/>
                  <a:gd name="T71" fmla="*/ 180 h 220"/>
                  <a:gd name="T72" fmla="*/ 440 w 480"/>
                  <a:gd name="T73" fmla="*/ 170 h 220"/>
                  <a:gd name="T74" fmla="*/ 452 w 480"/>
                  <a:gd name="T75" fmla="*/ 162 h 220"/>
                  <a:gd name="T76" fmla="*/ 462 w 480"/>
                  <a:gd name="T77" fmla="*/ 152 h 220"/>
                  <a:gd name="T78" fmla="*/ 470 w 480"/>
                  <a:gd name="T79" fmla="*/ 142 h 220"/>
                  <a:gd name="T80" fmla="*/ 476 w 480"/>
                  <a:gd name="T81" fmla="*/ 132 h 220"/>
                  <a:gd name="T82" fmla="*/ 478 w 480"/>
                  <a:gd name="T83" fmla="*/ 120 h 220"/>
                  <a:gd name="T84" fmla="*/ 480 w 480"/>
                  <a:gd name="T85" fmla="*/ 110 h 220"/>
                  <a:gd name="T86" fmla="*/ 480 w 480"/>
                  <a:gd name="T87" fmla="*/ 110 h 220"/>
                  <a:gd name="T88" fmla="*/ 478 w 480"/>
                  <a:gd name="T89" fmla="*/ 98 h 220"/>
                  <a:gd name="T90" fmla="*/ 476 w 480"/>
                  <a:gd name="T91" fmla="*/ 88 h 220"/>
                  <a:gd name="T92" fmla="*/ 470 w 480"/>
                  <a:gd name="T93" fmla="*/ 78 h 220"/>
                  <a:gd name="T94" fmla="*/ 462 w 480"/>
                  <a:gd name="T95" fmla="*/ 68 h 220"/>
                  <a:gd name="T96" fmla="*/ 452 w 480"/>
                  <a:gd name="T97" fmla="*/ 58 h 220"/>
                  <a:gd name="T98" fmla="*/ 440 w 480"/>
                  <a:gd name="T99" fmla="*/ 48 h 220"/>
                  <a:gd name="T100" fmla="*/ 426 w 480"/>
                  <a:gd name="T101" fmla="*/ 40 h 220"/>
                  <a:gd name="T102" fmla="*/ 410 w 480"/>
                  <a:gd name="T103" fmla="*/ 32 h 220"/>
                  <a:gd name="T104" fmla="*/ 392 w 480"/>
                  <a:gd name="T105" fmla="*/ 26 h 220"/>
                  <a:gd name="T106" fmla="*/ 374 w 480"/>
                  <a:gd name="T107" fmla="*/ 20 h 220"/>
                  <a:gd name="T108" fmla="*/ 334 w 480"/>
                  <a:gd name="T109" fmla="*/ 8 h 220"/>
                  <a:gd name="T110" fmla="*/ 288 w 480"/>
                  <a:gd name="T111" fmla="*/ 2 h 220"/>
                  <a:gd name="T112" fmla="*/ 240 w 480"/>
                  <a:gd name="T11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20">
                    <a:moveTo>
                      <a:pt x="240" y="0"/>
                    </a:moveTo>
                    <a:lnTo>
                      <a:pt x="240" y="0"/>
                    </a:lnTo>
                    <a:lnTo>
                      <a:pt x="192" y="2"/>
                    </a:lnTo>
                    <a:lnTo>
                      <a:pt x="146" y="8"/>
                    </a:lnTo>
                    <a:lnTo>
                      <a:pt x="106" y="20"/>
                    </a:lnTo>
                    <a:lnTo>
                      <a:pt x="88" y="26"/>
                    </a:lnTo>
                    <a:lnTo>
                      <a:pt x="70" y="32"/>
                    </a:lnTo>
                    <a:lnTo>
                      <a:pt x="54" y="40"/>
                    </a:lnTo>
                    <a:lnTo>
                      <a:pt x="42" y="48"/>
                    </a:lnTo>
                    <a:lnTo>
                      <a:pt x="30" y="58"/>
                    </a:lnTo>
                    <a:lnTo>
                      <a:pt x="20" y="68"/>
                    </a:lnTo>
                    <a:lnTo>
                      <a:pt x="10" y="78"/>
                    </a:lnTo>
                    <a:lnTo>
                      <a:pt x="6" y="88"/>
                    </a:lnTo>
                    <a:lnTo>
                      <a:pt x="2" y="98"/>
                    </a:lnTo>
                    <a:lnTo>
                      <a:pt x="0" y="110"/>
                    </a:lnTo>
                    <a:lnTo>
                      <a:pt x="0" y="110"/>
                    </a:lnTo>
                    <a:lnTo>
                      <a:pt x="2" y="120"/>
                    </a:lnTo>
                    <a:lnTo>
                      <a:pt x="6" y="132"/>
                    </a:lnTo>
                    <a:lnTo>
                      <a:pt x="10" y="142"/>
                    </a:lnTo>
                    <a:lnTo>
                      <a:pt x="20" y="152"/>
                    </a:lnTo>
                    <a:lnTo>
                      <a:pt x="30" y="162"/>
                    </a:lnTo>
                    <a:lnTo>
                      <a:pt x="42" y="170"/>
                    </a:lnTo>
                    <a:lnTo>
                      <a:pt x="54" y="180"/>
                    </a:lnTo>
                    <a:lnTo>
                      <a:pt x="70" y="186"/>
                    </a:lnTo>
                    <a:lnTo>
                      <a:pt x="88" y="194"/>
                    </a:lnTo>
                    <a:lnTo>
                      <a:pt x="106" y="200"/>
                    </a:lnTo>
                    <a:lnTo>
                      <a:pt x="146" y="210"/>
                    </a:lnTo>
                    <a:lnTo>
                      <a:pt x="192" y="216"/>
                    </a:lnTo>
                    <a:lnTo>
                      <a:pt x="240" y="220"/>
                    </a:lnTo>
                    <a:lnTo>
                      <a:pt x="240" y="220"/>
                    </a:lnTo>
                    <a:lnTo>
                      <a:pt x="288" y="216"/>
                    </a:lnTo>
                    <a:lnTo>
                      <a:pt x="334" y="210"/>
                    </a:lnTo>
                    <a:lnTo>
                      <a:pt x="374" y="200"/>
                    </a:lnTo>
                    <a:lnTo>
                      <a:pt x="392" y="194"/>
                    </a:lnTo>
                    <a:lnTo>
                      <a:pt x="410" y="186"/>
                    </a:lnTo>
                    <a:lnTo>
                      <a:pt x="426" y="180"/>
                    </a:lnTo>
                    <a:lnTo>
                      <a:pt x="440" y="170"/>
                    </a:lnTo>
                    <a:lnTo>
                      <a:pt x="452" y="162"/>
                    </a:lnTo>
                    <a:lnTo>
                      <a:pt x="462" y="152"/>
                    </a:lnTo>
                    <a:lnTo>
                      <a:pt x="470" y="142"/>
                    </a:lnTo>
                    <a:lnTo>
                      <a:pt x="476" y="132"/>
                    </a:lnTo>
                    <a:lnTo>
                      <a:pt x="478" y="120"/>
                    </a:lnTo>
                    <a:lnTo>
                      <a:pt x="480" y="110"/>
                    </a:lnTo>
                    <a:lnTo>
                      <a:pt x="480" y="110"/>
                    </a:lnTo>
                    <a:lnTo>
                      <a:pt x="478" y="98"/>
                    </a:lnTo>
                    <a:lnTo>
                      <a:pt x="476" y="88"/>
                    </a:lnTo>
                    <a:lnTo>
                      <a:pt x="470" y="78"/>
                    </a:lnTo>
                    <a:lnTo>
                      <a:pt x="462" y="68"/>
                    </a:lnTo>
                    <a:lnTo>
                      <a:pt x="452" y="58"/>
                    </a:lnTo>
                    <a:lnTo>
                      <a:pt x="440" y="48"/>
                    </a:lnTo>
                    <a:lnTo>
                      <a:pt x="426" y="40"/>
                    </a:lnTo>
                    <a:lnTo>
                      <a:pt x="410" y="32"/>
                    </a:lnTo>
                    <a:lnTo>
                      <a:pt x="392" y="26"/>
                    </a:lnTo>
                    <a:lnTo>
                      <a:pt x="374" y="20"/>
                    </a:lnTo>
                    <a:lnTo>
                      <a:pt x="334" y="8"/>
                    </a:lnTo>
                    <a:lnTo>
                      <a:pt x="288" y="2"/>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7" name="Freeform 107"/>
              <p:cNvSpPr/>
              <p:nvPr/>
            </p:nvSpPr>
            <p:spPr bwMode="auto">
              <a:xfrm>
                <a:off x="7761927" y="2448495"/>
                <a:ext cx="664336" cy="243698"/>
              </a:xfrm>
              <a:custGeom>
                <a:avLst/>
                <a:gdLst>
                  <a:gd name="T0" fmla="*/ 200 w 400"/>
                  <a:gd name="T1" fmla="*/ 0 h 164"/>
                  <a:gd name="T2" fmla="*/ 200 w 400"/>
                  <a:gd name="T3" fmla="*/ 0 h 164"/>
                  <a:gd name="T4" fmla="*/ 160 w 400"/>
                  <a:gd name="T5" fmla="*/ 2 h 164"/>
                  <a:gd name="T6" fmla="*/ 122 w 400"/>
                  <a:gd name="T7" fmla="*/ 6 h 164"/>
                  <a:gd name="T8" fmla="*/ 88 w 400"/>
                  <a:gd name="T9" fmla="*/ 14 h 164"/>
                  <a:gd name="T10" fmla="*/ 58 w 400"/>
                  <a:gd name="T11" fmla="*/ 24 h 164"/>
                  <a:gd name="T12" fmla="*/ 34 w 400"/>
                  <a:gd name="T13" fmla="*/ 36 h 164"/>
                  <a:gd name="T14" fmla="*/ 24 w 400"/>
                  <a:gd name="T15" fmla="*/ 44 h 164"/>
                  <a:gd name="T16" fmla="*/ 16 w 400"/>
                  <a:gd name="T17" fmla="*/ 50 h 164"/>
                  <a:gd name="T18" fmla="*/ 10 w 400"/>
                  <a:gd name="T19" fmla="*/ 58 h 164"/>
                  <a:gd name="T20" fmla="*/ 4 w 400"/>
                  <a:gd name="T21" fmla="*/ 66 h 164"/>
                  <a:gd name="T22" fmla="*/ 2 w 400"/>
                  <a:gd name="T23" fmla="*/ 74 h 164"/>
                  <a:gd name="T24" fmla="*/ 0 w 400"/>
                  <a:gd name="T25" fmla="*/ 82 h 164"/>
                  <a:gd name="T26" fmla="*/ 0 w 400"/>
                  <a:gd name="T27" fmla="*/ 82 h 164"/>
                  <a:gd name="T28" fmla="*/ 2 w 400"/>
                  <a:gd name="T29" fmla="*/ 90 h 164"/>
                  <a:gd name="T30" fmla="*/ 4 w 400"/>
                  <a:gd name="T31" fmla="*/ 98 h 164"/>
                  <a:gd name="T32" fmla="*/ 10 w 400"/>
                  <a:gd name="T33" fmla="*/ 106 h 164"/>
                  <a:gd name="T34" fmla="*/ 16 w 400"/>
                  <a:gd name="T35" fmla="*/ 114 h 164"/>
                  <a:gd name="T36" fmla="*/ 24 w 400"/>
                  <a:gd name="T37" fmla="*/ 120 h 164"/>
                  <a:gd name="T38" fmla="*/ 34 w 400"/>
                  <a:gd name="T39" fmla="*/ 128 h 164"/>
                  <a:gd name="T40" fmla="*/ 58 w 400"/>
                  <a:gd name="T41" fmla="*/ 140 h 164"/>
                  <a:gd name="T42" fmla="*/ 88 w 400"/>
                  <a:gd name="T43" fmla="*/ 150 h 164"/>
                  <a:gd name="T44" fmla="*/ 122 w 400"/>
                  <a:gd name="T45" fmla="*/ 156 h 164"/>
                  <a:gd name="T46" fmla="*/ 160 w 400"/>
                  <a:gd name="T47" fmla="*/ 162 h 164"/>
                  <a:gd name="T48" fmla="*/ 200 w 400"/>
                  <a:gd name="T49" fmla="*/ 164 h 164"/>
                  <a:gd name="T50" fmla="*/ 200 w 400"/>
                  <a:gd name="T51" fmla="*/ 164 h 164"/>
                  <a:gd name="T52" fmla="*/ 240 w 400"/>
                  <a:gd name="T53" fmla="*/ 162 h 164"/>
                  <a:gd name="T54" fmla="*/ 278 w 400"/>
                  <a:gd name="T55" fmla="*/ 156 h 164"/>
                  <a:gd name="T56" fmla="*/ 312 w 400"/>
                  <a:gd name="T57" fmla="*/ 150 h 164"/>
                  <a:gd name="T58" fmla="*/ 342 w 400"/>
                  <a:gd name="T59" fmla="*/ 140 h 164"/>
                  <a:gd name="T60" fmla="*/ 366 w 400"/>
                  <a:gd name="T61" fmla="*/ 128 h 164"/>
                  <a:gd name="T62" fmla="*/ 376 w 400"/>
                  <a:gd name="T63" fmla="*/ 120 h 164"/>
                  <a:gd name="T64" fmla="*/ 384 w 400"/>
                  <a:gd name="T65" fmla="*/ 114 h 164"/>
                  <a:gd name="T66" fmla="*/ 392 w 400"/>
                  <a:gd name="T67" fmla="*/ 106 h 164"/>
                  <a:gd name="T68" fmla="*/ 396 w 400"/>
                  <a:gd name="T69" fmla="*/ 98 h 164"/>
                  <a:gd name="T70" fmla="*/ 400 w 400"/>
                  <a:gd name="T71" fmla="*/ 90 h 164"/>
                  <a:gd name="T72" fmla="*/ 400 w 400"/>
                  <a:gd name="T73" fmla="*/ 82 h 164"/>
                  <a:gd name="T74" fmla="*/ 400 w 400"/>
                  <a:gd name="T75" fmla="*/ 82 h 164"/>
                  <a:gd name="T76" fmla="*/ 400 w 400"/>
                  <a:gd name="T77" fmla="*/ 74 h 164"/>
                  <a:gd name="T78" fmla="*/ 396 w 400"/>
                  <a:gd name="T79" fmla="*/ 66 h 164"/>
                  <a:gd name="T80" fmla="*/ 392 w 400"/>
                  <a:gd name="T81" fmla="*/ 58 h 164"/>
                  <a:gd name="T82" fmla="*/ 384 w 400"/>
                  <a:gd name="T83" fmla="*/ 50 h 164"/>
                  <a:gd name="T84" fmla="*/ 376 w 400"/>
                  <a:gd name="T85" fmla="*/ 44 h 164"/>
                  <a:gd name="T86" fmla="*/ 366 w 400"/>
                  <a:gd name="T87" fmla="*/ 36 h 164"/>
                  <a:gd name="T88" fmla="*/ 342 w 400"/>
                  <a:gd name="T89" fmla="*/ 24 h 164"/>
                  <a:gd name="T90" fmla="*/ 312 w 400"/>
                  <a:gd name="T91" fmla="*/ 14 h 164"/>
                  <a:gd name="T92" fmla="*/ 278 w 400"/>
                  <a:gd name="T93" fmla="*/ 6 h 164"/>
                  <a:gd name="T94" fmla="*/ 240 w 400"/>
                  <a:gd name="T95" fmla="*/ 2 h 164"/>
                  <a:gd name="T96" fmla="*/ 200 w 400"/>
                  <a:gd name="T9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4">
                    <a:moveTo>
                      <a:pt x="200" y="0"/>
                    </a:moveTo>
                    <a:lnTo>
                      <a:pt x="200" y="0"/>
                    </a:lnTo>
                    <a:lnTo>
                      <a:pt x="160" y="2"/>
                    </a:lnTo>
                    <a:lnTo>
                      <a:pt x="122" y="6"/>
                    </a:lnTo>
                    <a:lnTo>
                      <a:pt x="88" y="14"/>
                    </a:lnTo>
                    <a:lnTo>
                      <a:pt x="58" y="24"/>
                    </a:lnTo>
                    <a:lnTo>
                      <a:pt x="34" y="36"/>
                    </a:lnTo>
                    <a:lnTo>
                      <a:pt x="24" y="44"/>
                    </a:lnTo>
                    <a:lnTo>
                      <a:pt x="16" y="50"/>
                    </a:lnTo>
                    <a:lnTo>
                      <a:pt x="10" y="58"/>
                    </a:lnTo>
                    <a:lnTo>
                      <a:pt x="4" y="66"/>
                    </a:lnTo>
                    <a:lnTo>
                      <a:pt x="2" y="74"/>
                    </a:lnTo>
                    <a:lnTo>
                      <a:pt x="0" y="82"/>
                    </a:lnTo>
                    <a:lnTo>
                      <a:pt x="0" y="82"/>
                    </a:lnTo>
                    <a:lnTo>
                      <a:pt x="2" y="90"/>
                    </a:lnTo>
                    <a:lnTo>
                      <a:pt x="4" y="98"/>
                    </a:lnTo>
                    <a:lnTo>
                      <a:pt x="10" y="106"/>
                    </a:lnTo>
                    <a:lnTo>
                      <a:pt x="16" y="114"/>
                    </a:lnTo>
                    <a:lnTo>
                      <a:pt x="24" y="120"/>
                    </a:lnTo>
                    <a:lnTo>
                      <a:pt x="34" y="128"/>
                    </a:lnTo>
                    <a:lnTo>
                      <a:pt x="58" y="140"/>
                    </a:lnTo>
                    <a:lnTo>
                      <a:pt x="88" y="150"/>
                    </a:lnTo>
                    <a:lnTo>
                      <a:pt x="122" y="156"/>
                    </a:lnTo>
                    <a:lnTo>
                      <a:pt x="160" y="162"/>
                    </a:lnTo>
                    <a:lnTo>
                      <a:pt x="200" y="164"/>
                    </a:lnTo>
                    <a:lnTo>
                      <a:pt x="200" y="164"/>
                    </a:lnTo>
                    <a:lnTo>
                      <a:pt x="240" y="162"/>
                    </a:lnTo>
                    <a:lnTo>
                      <a:pt x="278" y="156"/>
                    </a:lnTo>
                    <a:lnTo>
                      <a:pt x="312" y="150"/>
                    </a:lnTo>
                    <a:lnTo>
                      <a:pt x="342" y="140"/>
                    </a:lnTo>
                    <a:lnTo>
                      <a:pt x="366" y="128"/>
                    </a:lnTo>
                    <a:lnTo>
                      <a:pt x="376" y="120"/>
                    </a:lnTo>
                    <a:lnTo>
                      <a:pt x="384" y="114"/>
                    </a:lnTo>
                    <a:lnTo>
                      <a:pt x="392" y="106"/>
                    </a:lnTo>
                    <a:lnTo>
                      <a:pt x="396" y="98"/>
                    </a:lnTo>
                    <a:lnTo>
                      <a:pt x="400" y="90"/>
                    </a:lnTo>
                    <a:lnTo>
                      <a:pt x="400" y="82"/>
                    </a:lnTo>
                    <a:lnTo>
                      <a:pt x="400" y="82"/>
                    </a:lnTo>
                    <a:lnTo>
                      <a:pt x="400" y="74"/>
                    </a:lnTo>
                    <a:lnTo>
                      <a:pt x="396" y="66"/>
                    </a:lnTo>
                    <a:lnTo>
                      <a:pt x="392" y="58"/>
                    </a:lnTo>
                    <a:lnTo>
                      <a:pt x="384" y="50"/>
                    </a:lnTo>
                    <a:lnTo>
                      <a:pt x="376" y="44"/>
                    </a:lnTo>
                    <a:lnTo>
                      <a:pt x="366" y="36"/>
                    </a:lnTo>
                    <a:lnTo>
                      <a:pt x="342" y="24"/>
                    </a:lnTo>
                    <a:lnTo>
                      <a:pt x="312" y="14"/>
                    </a:lnTo>
                    <a:lnTo>
                      <a:pt x="278" y="6"/>
                    </a:lnTo>
                    <a:lnTo>
                      <a:pt x="240" y="2"/>
                    </a:lnTo>
                    <a:lnTo>
                      <a:pt x="200" y="0"/>
                    </a:lnTo>
                    <a:close/>
                  </a:path>
                </a:pathLst>
              </a:custGeom>
              <a:solidFill>
                <a:srgbClr val="FEDA0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8" name="Freeform 108"/>
              <p:cNvSpPr/>
              <p:nvPr/>
            </p:nvSpPr>
            <p:spPr bwMode="auto">
              <a:xfrm>
                <a:off x="7761927" y="2448495"/>
                <a:ext cx="664336" cy="243698"/>
              </a:xfrm>
              <a:custGeom>
                <a:avLst/>
                <a:gdLst>
                  <a:gd name="T0" fmla="*/ 200 w 400"/>
                  <a:gd name="T1" fmla="*/ 0 h 164"/>
                  <a:gd name="T2" fmla="*/ 200 w 400"/>
                  <a:gd name="T3" fmla="*/ 0 h 164"/>
                  <a:gd name="T4" fmla="*/ 160 w 400"/>
                  <a:gd name="T5" fmla="*/ 2 h 164"/>
                  <a:gd name="T6" fmla="*/ 122 w 400"/>
                  <a:gd name="T7" fmla="*/ 6 h 164"/>
                  <a:gd name="T8" fmla="*/ 88 w 400"/>
                  <a:gd name="T9" fmla="*/ 14 h 164"/>
                  <a:gd name="T10" fmla="*/ 58 w 400"/>
                  <a:gd name="T11" fmla="*/ 24 h 164"/>
                  <a:gd name="T12" fmla="*/ 34 w 400"/>
                  <a:gd name="T13" fmla="*/ 36 h 164"/>
                  <a:gd name="T14" fmla="*/ 24 w 400"/>
                  <a:gd name="T15" fmla="*/ 44 h 164"/>
                  <a:gd name="T16" fmla="*/ 16 w 400"/>
                  <a:gd name="T17" fmla="*/ 50 h 164"/>
                  <a:gd name="T18" fmla="*/ 10 w 400"/>
                  <a:gd name="T19" fmla="*/ 58 h 164"/>
                  <a:gd name="T20" fmla="*/ 4 w 400"/>
                  <a:gd name="T21" fmla="*/ 66 h 164"/>
                  <a:gd name="T22" fmla="*/ 2 w 400"/>
                  <a:gd name="T23" fmla="*/ 74 h 164"/>
                  <a:gd name="T24" fmla="*/ 0 w 400"/>
                  <a:gd name="T25" fmla="*/ 82 h 164"/>
                  <a:gd name="T26" fmla="*/ 0 w 400"/>
                  <a:gd name="T27" fmla="*/ 82 h 164"/>
                  <a:gd name="T28" fmla="*/ 2 w 400"/>
                  <a:gd name="T29" fmla="*/ 90 h 164"/>
                  <a:gd name="T30" fmla="*/ 4 w 400"/>
                  <a:gd name="T31" fmla="*/ 98 h 164"/>
                  <a:gd name="T32" fmla="*/ 10 w 400"/>
                  <a:gd name="T33" fmla="*/ 106 h 164"/>
                  <a:gd name="T34" fmla="*/ 16 w 400"/>
                  <a:gd name="T35" fmla="*/ 114 h 164"/>
                  <a:gd name="T36" fmla="*/ 24 w 400"/>
                  <a:gd name="T37" fmla="*/ 120 h 164"/>
                  <a:gd name="T38" fmla="*/ 34 w 400"/>
                  <a:gd name="T39" fmla="*/ 128 h 164"/>
                  <a:gd name="T40" fmla="*/ 58 w 400"/>
                  <a:gd name="T41" fmla="*/ 140 h 164"/>
                  <a:gd name="T42" fmla="*/ 88 w 400"/>
                  <a:gd name="T43" fmla="*/ 150 h 164"/>
                  <a:gd name="T44" fmla="*/ 122 w 400"/>
                  <a:gd name="T45" fmla="*/ 156 h 164"/>
                  <a:gd name="T46" fmla="*/ 160 w 400"/>
                  <a:gd name="T47" fmla="*/ 162 h 164"/>
                  <a:gd name="T48" fmla="*/ 200 w 400"/>
                  <a:gd name="T49" fmla="*/ 164 h 164"/>
                  <a:gd name="T50" fmla="*/ 200 w 400"/>
                  <a:gd name="T51" fmla="*/ 164 h 164"/>
                  <a:gd name="T52" fmla="*/ 240 w 400"/>
                  <a:gd name="T53" fmla="*/ 162 h 164"/>
                  <a:gd name="T54" fmla="*/ 278 w 400"/>
                  <a:gd name="T55" fmla="*/ 156 h 164"/>
                  <a:gd name="T56" fmla="*/ 312 w 400"/>
                  <a:gd name="T57" fmla="*/ 150 h 164"/>
                  <a:gd name="T58" fmla="*/ 342 w 400"/>
                  <a:gd name="T59" fmla="*/ 140 h 164"/>
                  <a:gd name="T60" fmla="*/ 366 w 400"/>
                  <a:gd name="T61" fmla="*/ 128 h 164"/>
                  <a:gd name="T62" fmla="*/ 376 w 400"/>
                  <a:gd name="T63" fmla="*/ 120 h 164"/>
                  <a:gd name="T64" fmla="*/ 384 w 400"/>
                  <a:gd name="T65" fmla="*/ 114 h 164"/>
                  <a:gd name="T66" fmla="*/ 392 w 400"/>
                  <a:gd name="T67" fmla="*/ 106 h 164"/>
                  <a:gd name="T68" fmla="*/ 396 w 400"/>
                  <a:gd name="T69" fmla="*/ 98 h 164"/>
                  <a:gd name="T70" fmla="*/ 400 w 400"/>
                  <a:gd name="T71" fmla="*/ 90 h 164"/>
                  <a:gd name="T72" fmla="*/ 400 w 400"/>
                  <a:gd name="T73" fmla="*/ 82 h 164"/>
                  <a:gd name="T74" fmla="*/ 400 w 400"/>
                  <a:gd name="T75" fmla="*/ 82 h 164"/>
                  <a:gd name="T76" fmla="*/ 400 w 400"/>
                  <a:gd name="T77" fmla="*/ 74 h 164"/>
                  <a:gd name="T78" fmla="*/ 396 w 400"/>
                  <a:gd name="T79" fmla="*/ 66 h 164"/>
                  <a:gd name="T80" fmla="*/ 392 w 400"/>
                  <a:gd name="T81" fmla="*/ 58 h 164"/>
                  <a:gd name="T82" fmla="*/ 384 w 400"/>
                  <a:gd name="T83" fmla="*/ 50 h 164"/>
                  <a:gd name="T84" fmla="*/ 376 w 400"/>
                  <a:gd name="T85" fmla="*/ 44 h 164"/>
                  <a:gd name="T86" fmla="*/ 366 w 400"/>
                  <a:gd name="T87" fmla="*/ 36 h 164"/>
                  <a:gd name="T88" fmla="*/ 342 w 400"/>
                  <a:gd name="T89" fmla="*/ 24 h 164"/>
                  <a:gd name="T90" fmla="*/ 312 w 400"/>
                  <a:gd name="T91" fmla="*/ 14 h 164"/>
                  <a:gd name="T92" fmla="*/ 278 w 400"/>
                  <a:gd name="T93" fmla="*/ 6 h 164"/>
                  <a:gd name="T94" fmla="*/ 240 w 400"/>
                  <a:gd name="T95" fmla="*/ 2 h 164"/>
                  <a:gd name="T96" fmla="*/ 200 w 400"/>
                  <a:gd name="T9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4">
                    <a:moveTo>
                      <a:pt x="200" y="0"/>
                    </a:moveTo>
                    <a:lnTo>
                      <a:pt x="200" y="0"/>
                    </a:lnTo>
                    <a:lnTo>
                      <a:pt x="160" y="2"/>
                    </a:lnTo>
                    <a:lnTo>
                      <a:pt x="122" y="6"/>
                    </a:lnTo>
                    <a:lnTo>
                      <a:pt x="88" y="14"/>
                    </a:lnTo>
                    <a:lnTo>
                      <a:pt x="58" y="24"/>
                    </a:lnTo>
                    <a:lnTo>
                      <a:pt x="34" y="36"/>
                    </a:lnTo>
                    <a:lnTo>
                      <a:pt x="24" y="44"/>
                    </a:lnTo>
                    <a:lnTo>
                      <a:pt x="16" y="50"/>
                    </a:lnTo>
                    <a:lnTo>
                      <a:pt x="10" y="58"/>
                    </a:lnTo>
                    <a:lnTo>
                      <a:pt x="4" y="66"/>
                    </a:lnTo>
                    <a:lnTo>
                      <a:pt x="2" y="74"/>
                    </a:lnTo>
                    <a:lnTo>
                      <a:pt x="0" y="82"/>
                    </a:lnTo>
                    <a:lnTo>
                      <a:pt x="0" y="82"/>
                    </a:lnTo>
                    <a:lnTo>
                      <a:pt x="2" y="90"/>
                    </a:lnTo>
                    <a:lnTo>
                      <a:pt x="4" y="98"/>
                    </a:lnTo>
                    <a:lnTo>
                      <a:pt x="10" y="106"/>
                    </a:lnTo>
                    <a:lnTo>
                      <a:pt x="16" y="114"/>
                    </a:lnTo>
                    <a:lnTo>
                      <a:pt x="24" y="120"/>
                    </a:lnTo>
                    <a:lnTo>
                      <a:pt x="34" y="128"/>
                    </a:lnTo>
                    <a:lnTo>
                      <a:pt x="58" y="140"/>
                    </a:lnTo>
                    <a:lnTo>
                      <a:pt x="88" y="150"/>
                    </a:lnTo>
                    <a:lnTo>
                      <a:pt x="122" y="156"/>
                    </a:lnTo>
                    <a:lnTo>
                      <a:pt x="160" y="162"/>
                    </a:lnTo>
                    <a:lnTo>
                      <a:pt x="200" y="164"/>
                    </a:lnTo>
                    <a:lnTo>
                      <a:pt x="200" y="164"/>
                    </a:lnTo>
                    <a:lnTo>
                      <a:pt x="240" y="162"/>
                    </a:lnTo>
                    <a:lnTo>
                      <a:pt x="278" y="156"/>
                    </a:lnTo>
                    <a:lnTo>
                      <a:pt x="312" y="150"/>
                    </a:lnTo>
                    <a:lnTo>
                      <a:pt x="342" y="140"/>
                    </a:lnTo>
                    <a:lnTo>
                      <a:pt x="366" y="128"/>
                    </a:lnTo>
                    <a:lnTo>
                      <a:pt x="376" y="120"/>
                    </a:lnTo>
                    <a:lnTo>
                      <a:pt x="384" y="114"/>
                    </a:lnTo>
                    <a:lnTo>
                      <a:pt x="392" y="106"/>
                    </a:lnTo>
                    <a:lnTo>
                      <a:pt x="396" y="98"/>
                    </a:lnTo>
                    <a:lnTo>
                      <a:pt x="400" y="90"/>
                    </a:lnTo>
                    <a:lnTo>
                      <a:pt x="400" y="82"/>
                    </a:lnTo>
                    <a:lnTo>
                      <a:pt x="400" y="82"/>
                    </a:lnTo>
                    <a:lnTo>
                      <a:pt x="400" y="74"/>
                    </a:lnTo>
                    <a:lnTo>
                      <a:pt x="396" y="66"/>
                    </a:lnTo>
                    <a:lnTo>
                      <a:pt x="392" y="58"/>
                    </a:lnTo>
                    <a:lnTo>
                      <a:pt x="384" y="50"/>
                    </a:lnTo>
                    <a:lnTo>
                      <a:pt x="376" y="44"/>
                    </a:lnTo>
                    <a:lnTo>
                      <a:pt x="366" y="36"/>
                    </a:lnTo>
                    <a:lnTo>
                      <a:pt x="342" y="24"/>
                    </a:lnTo>
                    <a:lnTo>
                      <a:pt x="312" y="14"/>
                    </a:lnTo>
                    <a:lnTo>
                      <a:pt x="278" y="6"/>
                    </a:lnTo>
                    <a:lnTo>
                      <a:pt x="240" y="2"/>
                    </a:lnTo>
                    <a:lnTo>
                      <a:pt x="2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49" name="Freeform 109"/>
              <p:cNvSpPr>
                <a:spLocks noEditPoints="1"/>
              </p:cNvSpPr>
              <p:nvPr/>
            </p:nvSpPr>
            <p:spPr bwMode="auto">
              <a:xfrm>
                <a:off x="7758606" y="2445523"/>
                <a:ext cx="670979" cy="246670"/>
              </a:xfrm>
              <a:custGeom>
                <a:avLst/>
                <a:gdLst>
                  <a:gd name="T0" fmla="*/ 212 w 404"/>
                  <a:gd name="T1" fmla="*/ 164 h 166"/>
                  <a:gd name="T2" fmla="*/ 182 w 404"/>
                  <a:gd name="T3" fmla="*/ 166 h 166"/>
                  <a:gd name="T4" fmla="*/ 222 w 404"/>
                  <a:gd name="T5" fmla="*/ 164 h 166"/>
                  <a:gd name="T6" fmla="*/ 172 w 404"/>
                  <a:gd name="T7" fmla="*/ 166 h 166"/>
                  <a:gd name="T8" fmla="*/ 172 w 404"/>
                  <a:gd name="T9" fmla="*/ 166 h 166"/>
                  <a:gd name="T10" fmla="*/ 250 w 404"/>
                  <a:gd name="T11" fmla="*/ 164 h 166"/>
                  <a:gd name="T12" fmla="*/ 144 w 404"/>
                  <a:gd name="T13" fmla="*/ 160 h 166"/>
                  <a:gd name="T14" fmla="*/ 268 w 404"/>
                  <a:gd name="T15" fmla="*/ 160 h 166"/>
                  <a:gd name="T16" fmla="*/ 126 w 404"/>
                  <a:gd name="T17" fmla="*/ 160 h 166"/>
                  <a:gd name="T18" fmla="*/ 278 w 404"/>
                  <a:gd name="T19" fmla="*/ 158 h 166"/>
                  <a:gd name="T20" fmla="*/ 116 w 404"/>
                  <a:gd name="T21" fmla="*/ 158 h 166"/>
                  <a:gd name="T22" fmla="*/ 116 w 404"/>
                  <a:gd name="T23" fmla="*/ 158 h 166"/>
                  <a:gd name="T24" fmla="*/ 308 w 404"/>
                  <a:gd name="T25" fmla="*/ 154 h 166"/>
                  <a:gd name="T26" fmla="*/ 88 w 404"/>
                  <a:gd name="T27" fmla="*/ 150 h 166"/>
                  <a:gd name="T28" fmla="*/ 324 w 404"/>
                  <a:gd name="T29" fmla="*/ 146 h 166"/>
                  <a:gd name="T30" fmla="*/ 68 w 404"/>
                  <a:gd name="T31" fmla="*/ 146 h 166"/>
                  <a:gd name="T32" fmla="*/ 334 w 404"/>
                  <a:gd name="T33" fmla="*/ 144 h 166"/>
                  <a:gd name="T34" fmla="*/ 60 w 404"/>
                  <a:gd name="T35" fmla="*/ 142 h 166"/>
                  <a:gd name="T36" fmla="*/ 60 w 404"/>
                  <a:gd name="T37" fmla="*/ 142 h 166"/>
                  <a:gd name="T38" fmla="*/ 362 w 404"/>
                  <a:gd name="T39" fmla="*/ 134 h 166"/>
                  <a:gd name="T40" fmla="*/ 36 w 404"/>
                  <a:gd name="T41" fmla="*/ 128 h 166"/>
                  <a:gd name="T42" fmla="*/ 376 w 404"/>
                  <a:gd name="T43" fmla="*/ 122 h 166"/>
                  <a:gd name="T44" fmla="*/ 18 w 404"/>
                  <a:gd name="T45" fmla="*/ 118 h 166"/>
                  <a:gd name="T46" fmla="*/ 384 w 404"/>
                  <a:gd name="T47" fmla="*/ 116 h 166"/>
                  <a:gd name="T48" fmla="*/ 12 w 404"/>
                  <a:gd name="T49" fmla="*/ 112 h 166"/>
                  <a:gd name="T50" fmla="*/ 12 w 404"/>
                  <a:gd name="T51" fmla="*/ 112 h 166"/>
                  <a:gd name="T52" fmla="*/ 402 w 404"/>
                  <a:gd name="T53" fmla="*/ 94 h 166"/>
                  <a:gd name="T54" fmla="*/ 4 w 404"/>
                  <a:gd name="T55" fmla="*/ 84 h 166"/>
                  <a:gd name="T56" fmla="*/ 402 w 404"/>
                  <a:gd name="T57" fmla="*/ 84 h 166"/>
                  <a:gd name="T58" fmla="*/ 404 w 404"/>
                  <a:gd name="T59" fmla="*/ 84 h 166"/>
                  <a:gd name="T60" fmla="*/ 8 w 404"/>
                  <a:gd name="T61" fmla="*/ 66 h 166"/>
                  <a:gd name="T62" fmla="*/ 392 w 404"/>
                  <a:gd name="T63" fmla="*/ 58 h 166"/>
                  <a:gd name="T64" fmla="*/ 12 w 404"/>
                  <a:gd name="T65" fmla="*/ 56 h 166"/>
                  <a:gd name="T66" fmla="*/ 384 w 404"/>
                  <a:gd name="T67" fmla="*/ 52 h 166"/>
                  <a:gd name="T68" fmla="*/ 28 w 404"/>
                  <a:gd name="T69" fmla="*/ 46 h 166"/>
                  <a:gd name="T70" fmla="*/ 28 w 404"/>
                  <a:gd name="T71" fmla="*/ 46 h 166"/>
                  <a:gd name="T72" fmla="*/ 370 w 404"/>
                  <a:gd name="T73" fmla="*/ 38 h 166"/>
                  <a:gd name="T74" fmla="*/ 52 w 404"/>
                  <a:gd name="T75" fmla="*/ 32 h 166"/>
                  <a:gd name="T76" fmla="*/ 344 w 404"/>
                  <a:gd name="T77" fmla="*/ 26 h 166"/>
                  <a:gd name="T78" fmla="*/ 60 w 404"/>
                  <a:gd name="T79" fmla="*/ 24 h 166"/>
                  <a:gd name="T80" fmla="*/ 334 w 404"/>
                  <a:gd name="T81" fmla="*/ 24 h 166"/>
                  <a:gd name="T82" fmla="*/ 80 w 404"/>
                  <a:gd name="T83" fmla="*/ 22 h 166"/>
                  <a:gd name="T84" fmla="*/ 80 w 404"/>
                  <a:gd name="T85" fmla="*/ 22 h 166"/>
                  <a:gd name="T86" fmla="*/ 318 w 404"/>
                  <a:gd name="T87" fmla="*/ 16 h 166"/>
                  <a:gd name="T88" fmla="*/ 106 w 404"/>
                  <a:gd name="T89" fmla="*/ 14 h 166"/>
                  <a:gd name="T90" fmla="*/ 288 w 404"/>
                  <a:gd name="T91" fmla="*/ 8 h 166"/>
                  <a:gd name="T92" fmla="*/ 116 w 404"/>
                  <a:gd name="T93" fmla="*/ 8 h 166"/>
                  <a:gd name="T94" fmla="*/ 278 w 404"/>
                  <a:gd name="T95" fmla="*/ 10 h 166"/>
                  <a:gd name="T96" fmla="*/ 136 w 404"/>
                  <a:gd name="T97" fmla="*/ 8 h 166"/>
                  <a:gd name="T98" fmla="*/ 136 w 404"/>
                  <a:gd name="T99" fmla="*/ 8 h 166"/>
                  <a:gd name="T100" fmla="*/ 260 w 404"/>
                  <a:gd name="T101" fmla="*/ 4 h 166"/>
                  <a:gd name="T102" fmla="*/ 164 w 404"/>
                  <a:gd name="T103" fmla="*/ 6 h 166"/>
                  <a:gd name="T104" fmla="*/ 232 w 404"/>
                  <a:gd name="T105" fmla="*/ 2 h 166"/>
                  <a:gd name="T106" fmla="*/ 174 w 404"/>
                  <a:gd name="T107" fmla="*/ 2 h 166"/>
                  <a:gd name="T108" fmla="*/ 222 w 404"/>
                  <a:gd name="T109" fmla="*/ 4 h 166"/>
                  <a:gd name="T110" fmla="*/ 192 w 404"/>
                  <a:gd name="T111" fmla="*/ 4 h 166"/>
                  <a:gd name="T112" fmla="*/ 202 w 404"/>
                  <a:gd name="T113"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4" h="166">
                    <a:moveTo>
                      <a:pt x="202" y="166"/>
                    </a:moveTo>
                    <a:lnTo>
                      <a:pt x="202" y="166"/>
                    </a:lnTo>
                    <a:lnTo>
                      <a:pt x="202" y="164"/>
                    </a:lnTo>
                    <a:lnTo>
                      <a:pt x="202" y="164"/>
                    </a:lnTo>
                    <a:lnTo>
                      <a:pt x="202" y="164"/>
                    </a:lnTo>
                    <a:lnTo>
                      <a:pt x="212" y="164"/>
                    </a:lnTo>
                    <a:lnTo>
                      <a:pt x="212" y="166"/>
                    </a:lnTo>
                    <a:lnTo>
                      <a:pt x="212" y="166"/>
                    </a:lnTo>
                    <a:lnTo>
                      <a:pt x="202" y="166"/>
                    </a:lnTo>
                    <a:close/>
                    <a:moveTo>
                      <a:pt x="192" y="166"/>
                    </a:moveTo>
                    <a:lnTo>
                      <a:pt x="192" y="166"/>
                    </a:lnTo>
                    <a:lnTo>
                      <a:pt x="182" y="166"/>
                    </a:lnTo>
                    <a:lnTo>
                      <a:pt x="182" y="164"/>
                    </a:lnTo>
                    <a:lnTo>
                      <a:pt x="182" y="164"/>
                    </a:lnTo>
                    <a:lnTo>
                      <a:pt x="192" y="164"/>
                    </a:lnTo>
                    <a:lnTo>
                      <a:pt x="192" y="166"/>
                    </a:lnTo>
                    <a:close/>
                    <a:moveTo>
                      <a:pt x="222" y="166"/>
                    </a:moveTo>
                    <a:lnTo>
                      <a:pt x="222" y="164"/>
                    </a:lnTo>
                    <a:lnTo>
                      <a:pt x="222" y="164"/>
                    </a:lnTo>
                    <a:lnTo>
                      <a:pt x="230" y="162"/>
                    </a:lnTo>
                    <a:lnTo>
                      <a:pt x="230" y="166"/>
                    </a:lnTo>
                    <a:lnTo>
                      <a:pt x="230" y="166"/>
                    </a:lnTo>
                    <a:lnTo>
                      <a:pt x="222" y="166"/>
                    </a:lnTo>
                    <a:close/>
                    <a:moveTo>
                      <a:pt x="172" y="166"/>
                    </a:moveTo>
                    <a:lnTo>
                      <a:pt x="172" y="166"/>
                    </a:lnTo>
                    <a:lnTo>
                      <a:pt x="164" y="166"/>
                    </a:lnTo>
                    <a:lnTo>
                      <a:pt x="164" y="162"/>
                    </a:lnTo>
                    <a:lnTo>
                      <a:pt x="164" y="162"/>
                    </a:lnTo>
                    <a:lnTo>
                      <a:pt x="174" y="162"/>
                    </a:lnTo>
                    <a:lnTo>
                      <a:pt x="172" y="166"/>
                    </a:lnTo>
                    <a:close/>
                    <a:moveTo>
                      <a:pt x="240" y="166"/>
                    </a:moveTo>
                    <a:lnTo>
                      <a:pt x="240" y="162"/>
                    </a:lnTo>
                    <a:lnTo>
                      <a:pt x="240" y="162"/>
                    </a:lnTo>
                    <a:lnTo>
                      <a:pt x="250" y="162"/>
                    </a:lnTo>
                    <a:lnTo>
                      <a:pt x="250" y="164"/>
                    </a:lnTo>
                    <a:lnTo>
                      <a:pt x="250" y="164"/>
                    </a:lnTo>
                    <a:lnTo>
                      <a:pt x="240" y="166"/>
                    </a:lnTo>
                    <a:close/>
                    <a:moveTo>
                      <a:pt x="154" y="164"/>
                    </a:moveTo>
                    <a:lnTo>
                      <a:pt x="154" y="164"/>
                    </a:lnTo>
                    <a:lnTo>
                      <a:pt x="144" y="164"/>
                    </a:lnTo>
                    <a:lnTo>
                      <a:pt x="144" y="160"/>
                    </a:lnTo>
                    <a:lnTo>
                      <a:pt x="144" y="160"/>
                    </a:lnTo>
                    <a:lnTo>
                      <a:pt x="154" y="162"/>
                    </a:lnTo>
                    <a:lnTo>
                      <a:pt x="154" y="164"/>
                    </a:lnTo>
                    <a:close/>
                    <a:moveTo>
                      <a:pt x="260" y="164"/>
                    </a:moveTo>
                    <a:lnTo>
                      <a:pt x="260" y="160"/>
                    </a:lnTo>
                    <a:lnTo>
                      <a:pt x="260" y="160"/>
                    </a:lnTo>
                    <a:lnTo>
                      <a:pt x="268" y="160"/>
                    </a:lnTo>
                    <a:lnTo>
                      <a:pt x="270" y="162"/>
                    </a:lnTo>
                    <a:lnTo>
                      <a:pt x="270" y="162"/>
                    </a:lnTo>
                    <a:lnTo>
                      <a:pt x="260" y="164"/>
                    </a:lnTo>
                    <a:close/>
                    <a:moveTo>
                      <a:pt x="134" y="162"/>
                    </a:moveTo>
                    <a:lnTo>
                      <a:pt x="134" y="162"/>
                    </a:lnTo>
                    <a:lnTo>
                      <a:pt x="126" y="160"/>
                    </a:lnTo>
                    <a:lnTo>
                      <a:pt x="126" y="158"/>
                    </a:lnTo>
                    <a:lnTo>
                      <a:pt x="126" y="158"/>
                    </a:lnTo>
                    <a:lnTo>
                      <a:pt x="136" y="160"/>
                    </a:lnTo>
                    <a:lnTo>
                      <a:pt x="134" y="162"/>
                    </a:lnTo>
                    <a:close/>
                    <a:moveTo>
                      <a:pt x="278" y="160"/>
                    </a:moveTo>
                    <a:lnTo>
                      <a:pt x="278" y="158"/>
                    </a:lnTo>
                    <a:lnTo>
                      <a:pt x="278" y="158"/>
                    </a:lnTo>
                    <a:lnTo>
                      <a:pt x="288" y="156"/>
                    </a:lnTo>
                    <a:lnTo>
                      <a:pt x="288" y="158"/>
                    </a:lnTo>
                    <a:lnTo>
                      <a:pt x="288" y="158"/>
                    </a:lnTo>
                    <a:lnTo>
                      <a:pt x="278" y="160"/>
                    </a:lnTo>
                    <a:close/>
                    <a:moveTo>
                      <a:pt x="116" y="158"/>
                    </a:moveTo>
                    <a:lnTo>
                      <a:pt x="116" y="158"/>
                    </a:lnTo>
                    <a:lnTo>
                      <a:pt x="106" y="156"/>
                    </a:lnTo>
                    <a:lnTo>
                      <a:pt x="106" y="154"/>
                    </a:lnTo>
                    <a:lnTo>
                      <a:pt x="106" y="154"/>
                    </a:lnTo>
                    <a:lnTo>
                      <a:pt x="116" y="156"/>
                    </a:lnTo>
                    <a:lnTo>
                      <a:pt x="116" y="158"/>
                    </a:lnTo>
                    <a:close/>
                    <a:moveTo>
                      <a:pt x="298" y="158"/>
                    </a:moveTo>
                    <a:lnTo>
                      <a:pt x="298" y="154"/>
                    </a:lnTo>
                    <a:lnTo>
                      <a:pt x="298" y="154"/>
                    </a:lnTo>
                    <a:lnTo>
                      <a:pt x="306" y="152"/>
                    </a:lnTo>
                    <a:lnTo>
                      <a:pt x="308" y="154"/>
                    </a:lnTo>
                    <a:lnTo>
                      <a:pt x="308" y="154"/>
                    </a:lnTo>
                    <a:lnTo>
                      <a:pt x="298" y="158"/>
                    </a:lnTo>
                    <a:close/>
                    <a:moveTo>
                      <a:pt x="96" y="154"/>
                    </a:moveTo>
                    <a:lnTo>
                      <a:pt x="96" y="154"/>
                    </a:lnTo>
                    <a:lnTo>
                      <a:pt x="88" y="152"/>
                    </a:lnTo>
                    <a:lnTo>
                      <a:pt x="88" y="150"/>
                    </a:lnTo>
                    <a:lnTo>
                      <a:pt x="88" y="150"/>
                    </a:lnTo>
                    <a:lnTo>
                      <a:pt x="98" y="152"/>
                    </a:lnTo>
                    <a:lnTo>
                      <a:pt x="96" y="154"/>
                    </a:lnTo>
                    <a:close/>
                    <a:moveTo>
                      <a:pt x="316" y="152"/>
                    </a:moveTo>
                    <a:lnTo>
                      <a:pt x="316" y="150"/>
                    </a:lnTo>
                    <a:lnTo>
                      <a:pt x="316" y="150"/>
                    </a:lnTo>
                    <a:lnTo>
                      <a:pt x="324" y="146"/>
                    </a:lnTo>
                    <a:lnTo>
                      <a:pt x="326" y="150"/>
                    </a:lnTo>
                    <a:lnTo>
                      <a:pt x="326" y="150"/>
                    </a:lnTo>
                    <a:lnTo>
                      <a:pt x="316" y="152"/>
                    </a:lnTo>
                    <a:close/>
                    <a:moveTo>
                      <a:pt x="78" y="150"/>
                    </a:moveTo>
                    <a:lnTo>
                      <a:pt x="78" y="150"/>
                    </a:lnTo>
                    <a:lnTo>
                      <a:pt x="68" y="146"/>
                    </a:lnTo>
                    <a:lnTo>
                      <a:pt x="70" y="144"/>
                    </a:lnTo>
                    <a:lnTo>
                      <a:pt x="70" y="144"/>
                    </a:lnTo>
                    <a:lnTo>
                      <a:pt x="80" y="146"/>
                    </a:lnTo>
                    <a:lnTo>
                      <a:pt x="78" y="150"/>
                    </a:lnTo>
                    <a:close/>
                    <a:moveTo>
                      <a:pt x="334" y="146"/>
                    </a:moveTo>
                    <a:lnTo>
                      <a:pt x="334" y="144"/>
                    </a:lnTo>
                    <a:lnTo>
                      <a:pt x="334" y="144"/>
                    </a:lnTo>
                    <a:lnTo>
                      <a:pt x="342" y="140"/>
                    </a:lnTo>
                    <a:lnTo>
                      <a:pt x="344" y="142"/>
                    </a:lnTo>
                    <a:lnTo>
                      <a:pt x="344" y="142"/>
                    </a:lnTo>
                    <a:lnTo>
                      <a:pt x="334" y="146"/>
                    </a:lnTo>
                    <a:close/>
                    <a:moveTo>
                      <a:pt x="60" y="142"/>
                    </a:moveTo>
                    <a:lnTo>
                      <a:pt x="60" y="142"/>
                    </a:lnTo>
                    <a:lnTo>
                      <a:pt x="50" y="138"/>
                    </a:lnTo>
                    <a:lnTo>
                      <a:pt x="52" y="136"/>
                    </a:lnTo>
                    <a:lnTo>
                      <a:pt x="52" y="136"/>
                    </a:lnTo>
                    <a:lnTo>
                      <a:pt x="62" y="140"/>
                    </a:lnTo>
                    <a:lnTo>
                      <a:pt x="60" y="142"/>
                    </a:lnTo>
                    <a:close/>
                    <a:moveTo>
                      <a:pt x="352" y="140"/>
                    </a:moveTo>
                    <a:lnTo>
                      <a:pt x="352" y="136"/>
                    </a:lnTo>
                    <a:lnTo>
                      <a:pt x="352" y="136"/>
                    </a:lnTo>
                    <a:lnTo>
                      <a:pt x="360" y="132"/>
                    </a:lnTo>
                    <a:lnTo>
                      <a:pt x="362" y="134"/>
                    </a:lnTo>
                    <a:lnTo>
                      <a:pt x="362" y="134"/>
                    </a:lnTo>
                    <a:lnTo>
                      <a:pt x="352" y="140"/>
                    </a:lnTo>
                    <a:close/>
                    <a:moveTo>
                      <a:pt x="42" y="134"/>
                    </a:moveTo>
                    <a:lnTo>
                      <a:pt x="42" y="134"/>
                    </a:lnTo>
                    <a:lnTo>
                      <a:pt x="34" y="130"/>
                    </a:lnTo>
                    <a:lnTo>
                      <a:pt x="36" y="128"/>
                    </a:lnTo>
                    <a:lnTo>
                      <a:pt x="36" y="128"/>
                    </a:lnTo>
                    <a:lnTo>
                      <a:pt x="44" y="132"/>
                    </a:lnTo>
                    <a:lnTo>
                      <a:pt x="42" y="134"/>
                    </a:lnTo>
                    <a:close/>
                    <a:moveTo>
                      <a:pt x="370" y="130"/>
                    </a:moveTo>
                    <a:lnTo>
                      <a:pt x="368" y="128"/>
                    </a:lnTo>
                    <a:lnTo>
                      <a:pt x="368" y="128"/>
                    </a:lnTo>
                    <a:lnTo>
                      <a:pt x="376" y="122"/>
                    </a:lnTo>
                    <a:lnTo>
                      <a:pt x="378" y="124"/>
                    </a:lnTo>
                    <a:lnTo>
                      <a:pt x="378" y="124"/>
                    </a:lnTo>
                    <a:lnTo>
                      <a:pt x="370" y="130"/>
                    </a:lnTo>
                    <a:close/>
                    <a:moveTo>
                      <a:pt x="26" y="124"/>
                    </a:moveTo>
                    <a:lnTo>
                      <a:pt x="26" y="124"/>
                    </a:lnTo>
                    <a:lnTo>
                      <a:pt x="18" y="118"/>
                    </a:lnTo>
                    <a:lnTo>
                      <a:pt x="20" y="116"/>
                    </a:lnTo>
                    <a:lnTo>
                      <a:pt x="20" y="116"/>
                    </a:lnTo>
                    <a:lnTo>
                      <a:pt x="28" y="122"/>
                    </a:lnTo>
                    <a:lnTo>
                      <a:pt x="26" y="124"/>
                    </a:lnTo>
                    <a:close/>
                    <a:moveTo>
                      <a:pt x="386" y="118"/>
                    </a:moveTo>
                    <a:lnTo>
                      <a:pt x="384" y="116"/>
                    </a:lnTo>
                    <a:lnTo>
                      <a:pt x="384" y="116"/>
                    </a:lnTo>
                    <a:lnTo>
                      <a:pt x="390" y="110"/>
                    </a:lnTo>
                    <a:lnTo>
                      <a:pt x="392" y="112"/>
                    </a:lnTo>
                    <a:lnTo>
                      <a:pt x="392" y="112"/>
                    </a:lnTo>
                    <a:lnTo>
                      <a:pt x="386" y="118"/>
                    </a:lnTo>
                    <a:close/>
                    <a:moveTo>
                      <a:pt x="12" y="112"/>
                    </a:moveTo>
                    <a:lnTo>
                      <a:pt x="12" y="112"/>
                    </a:lnTo>
                    <a:lnTo>
                      <a:pt x="6" y="102"/>
                    </a:lnTo>
                    <a:lnTo>
                      <a:pt x="8" y="102"/>
                    </a:lnTo>
                    <a:lnTo>
                      <a:pt x="8" y="102"/>
                    </a:lnTo>
                    <a:lnTo>
                      <a:pt x="14" y="108"/>
                    </a:lnTo>
                    <a:lnTo>
                      <a:pt x="12" y="112"/>
                    </a:lnTo>
                    <a:close/>
                    <a:moveTo>
                      <a:pt x="398" y="104"/>
                    </a:moveTo>
                    <a:lnTo>
                      <a:pt x="396" y="102"/>
                    </a:lnTo>
                    <a:lnTo>
                      <a:pt x="396" y="102"/>
                    </a:lnTo>
                    <a:lnTo>
                      <a:pt x="400" y="94"/>
                    </a:lnTo>
                    <a:lnTo>
                      <a:pt x="402" y="94"/>
                    </a:lnTo>
                    <a:lnTo>
                      <a:pt x="402" y="94"/>
                    </a:lnTo>
                    <a:lnTo>
                      <a:pt x="398" y="104"/>
                    </a:lnTo>
                    <a:close/>
                    <a:moveTo>
                      <a:pt x="2" y="94"/>
                    </a:moveTo>
                    <a:lnTo>
                      <a:pt x="2" y="94"/>
                    </a:lnTo>
                    <a:lnTo>
                      <a:pt x="0" y="84"/>
                    </a:lnTo>
                    <a:lnTo>
                      <a:pt x="4" y="84"/>
                    </a:lnTo>
                    <a:lnTo>
                      <a:pt x="4" y="84"/>
                    </a:lnTo>
                    <a:lnTo>
                      <a:pt x="4" y="84"/>
                    </a:lnTo>
                    <a:lnTo>
                      <a:pt x="6" y="92"/>
                    </a:lnTo>
                    <a:lnTo>
                      <a:pt x="2" y="94"/>
                    </a:lnTo>
                    <a:close/>
                    <a:moveTo>
                      <a:pt x="404" y="84"/>
                    </a:moveTo>
                    <a:lnTo>
                      <a:pt x="400" y="84"/>
                    </a:lnTo>
                    <a:lnTo>
                      <a:pt x="402" y="84"/>
                    </a:lnTo>
                    <a:lnTo>
                      <a:pt x="400" y="84"/>
                    </a:lnTo>
                    <a:lnTo>
                      <a:pt x="400" y="84"/>
                    </a:lnTo>
                    <a:lnTo>
                      <a:pt x="400" y="76"/>
                    </a:lnTo>
                    <a:lnTo>
                      <a:pt x="402" y="74"/>
                    </a:lnTo>
                    <a:lnTo>
                      <a:pt x="402" y="74"/>
                    </a:lnTo>
                    <a:lnTo>
                      <a:pt x="404" y="84"/>
                    </a:lnTo>
                    <a:lnTo>
                      <a:pt x="404" y="84"/>
                    </a:lnTo>
                    <a:close/>
                    <a:moveTo>
                      <a:pt x="6" y="74"/>
                    </a:moveTo>
                    <a:lnTo>
                      <a:pt x="2" y="74"/>
                    </a:lnTo>
                    <a:lnTo>
                      <a:pt x="2" y="74"/>
                    </a:lnTo>
                    <a:lnTo>
                      <a:pt x="6" y="64"/>
                    </a:lnTo>
                    <a:lnTo>
                      <a:pt x="8" y="66"/>
                    </a:lnTo>
                    <a:lnTo>
                      <a:pt x="8" y="66"/>
                    </a:lnTo>
                    <a:lnTo>
                      <a:pt x="6" y="74"/>
                    </a:lnTo>
                    <a:close/>
                    <a:moveTo>
                      <a:pt x="396" y="66"/>
                    </a:moveTo>
                    <a:lnTo>
                      <a:pt x="396" y="66"/>
                    </a:lnTo>
                    <a:lnTo>
                      <a:pt x="390" y="60"/>
                    </a:lnTo>
                    <a:lnTo>
                      <a:pt x="392" y="58"/>
                    </a:lnTo>
                    <a:lnTo>
                      <a:pt x="392" y="58"/>
                    </a:lnTo>
                    <a:lnTo>
                      <a:pt x="398" y="66"/>
                    </a:lnTo>
                    <a:lnTo>
                      <a:pt x="396" y="66"/>
                    </a:lnTo>
                    <a:close/>
                    <a:moveTo>
                      <a:pt x="14" y="58"/>
                    </a:moveTo>
                    <a:lnTo>
                      <a:pt x="12" y="56"/>
                    </a:lnTo>
                    <a:lnTo>
                      <a:pt x="12" y="56"/>
                    </a:lnTo>
                    <a:lnTo>
                      <a:pt x="18" y="50"/>
                    </a:lnTo>
                    <a:lnTo>
                      <a:pt x="20" y="52"/>
                    </a:lnTo>
                    <a:lnTo>
                      <a:pt x="20" y="52"/>
                    </a:lnTo>
                    <a:lnTo>
                      <a:pt x="14" y="58"/>
                    </a:lnTo>
                    <a:close/>
                    <a:moveTo>
                      <a:pt x="384" y="52"/>
                    </a:moveTo>
                    <a:lnTo>
                      <a:pt x="384" y="52"/>
                    </a:lnTo>
                    <a:lnTo>
                      <a:pt x="376" y="46"/>
                    </a:lnTo>
                    <a:lnTo>
                      <a:pt x="378" y="44"/>
                    </a:lnTo>
                    <a:lnTo>
                      <a:pt x="378" y="44"/>
                    </a:lnTo>
                    <a:lnTo>
                      <a:pt x="386" y="50"/>
                    </a:lnTo>
                    <a:lnTo>
                      <a:pt x="384" y="52"/>
                    </a:lnTo>
                    <a:close/>
                    <a:moveTo>
                      <a:pt x="28" y="46"/>
                    </a:moveTo>
                    <a:lnTo>
                      <a:pt x="26" y="44"/>
                    </a:lnTo>
                    <a:lnTo>
                      <a:pt x="26" y="44"/>
                    </a:lnTo>
                    <a:lnTo>
                      <a:pt x="34" y="38"/>
                    </a:lnTo>
                    <a:lnTo>
                      <a:pt x="36" y="40"/>
                    </a:lnTo>
                    <a:lnTo>
                      <a:pt x="36" y="40"/>
                    </a:lnTo>
                    <a:lnTo>
                      <a:pt x="28" y="46"/>
                    </a:lnTo>
                    <a:close/>
                    <a:moveTo>
                      <a:pt x="368" y="40"/>
                    </a:moveTo>
                    <a:lnTo>
                      <a:pt x="368" y="40"/>
                    </a:lnTo>
                    <a:lnTo>
                      <a:pt x="360" y="36"/>
                    </a:lnTo>
                    <a:lnTo>
                      <a:pt x="362" y="34"/>
                    </a:lnTo>
                    <a:lnTo>
                      <a:pt x="362" y="34"/>
                    </a:lnTo>
                    <a:lnTo>
                      <a:pt x="370" y="38"/>
                    </a:lnTo>
                    <a:lnTo>
                      <a:pt x="368" y="40"/>
                    </a:lnTo>
                    <a:close/>
                    <a:moveTo>
                      <a:pt x="44" y="36"/>
                    </a:moveTo>
                    <a:lnTo>
                      <a:pt x="42" y="34"/>
                    </a:lnTo>
                    <a:lnTo>
                      <a:pt x="42" y="34"/>
                    </a:lnTo>
                    <a:lnTo>
                      <a:pt x="52" y="28"/>
                    </a:lnTo>
                    <a:lnTo>
                      <a:pt x="52" y="32"/>
                    </a:lnTo>
                    <a:lnTo>
                      <a:pt x="52" y="32"/>
                    </a:lnTo>
                    <a:lnTo>
                      <a:pt x="44" y="36"/>
                    </a:lnTo>
                    <a:close/>
                    <a:moveTo>
                      <a:pt x="352" y="32"/>
                    </a:moveTo>
                    <a:lnTo>
                      <a:pt x="352" y="32"/>
                    </a:lnTo>
                    <a:lnTo>
                      <a:pt x="344" y="28"/>
                    </a:lnTo>
                    <a:lnTo>
                      <a:pt x="344" y="26"/>
                    </a:lnTo>
                    <a:lnTo>
                      <a:pt x="344" y="26"/>
                    </a:lnTo>
                    <a:lnTo>
                      <a:pt x="354" y="30"/>
                    </a:lnTo>
                    <a:lnTo>
                      <a:pt x="352" y="32"/>
                    </a:lnTo>
                    <a:close/>
                    <a:moveTo>
                      <a:pt x="62" y="28"/>
                    </a:moveTo>
                    <a:lnTo>
                      <a:pt x="60" y="24"/>
                    </a:lnTo>
                    <a:lnTo>
                      <a:pt x="60" y="24"/>
                    </a:lnTo>
                    <a:lnTo>
                      <a:pt x="70" y="22"/>
                    </a:lnTo>
                    <a:lnTo>
                      <a:pt x="70" y="24"/>
                    </a:lnTo>
                    <a:lnTo>
                      <a:pt x="70" y="24"/>
                    </a:lnTo>
                    <a:lnTo>
                      <a:pt x="62" y="28"/>
                    </a:lnTo>
                    <a:close/>
                    <a:moveTo>
                      <a:pt x="334" y="24"/>
                    </a:moveTo>
                    <a:lnTo>
                      <a:pt x="334" y="24"/>
                    </a:lnTo>
                    <a:lnTo>
                      <a:pt x="326" y="22"/>
                    </a:lnTo>
                    <a:lnTo>
                      <a:pt x="326" y="18"/>
                    </a:lnTo>
                    <a:lnTo>
                      <a:pt x="326" y="18"/>
                    </a:lnTo>
                    <a:lnTo>
                      <a:pt x="336" y="22"/>
                    </a:lnTo>
                    <a:lnTo>
                      <a:pt x="334" y="24"/>
                    </a:lnTo>
                    <a:close/>
                    <a:moveTo>
                      <a:pt x="80" y="22"/>
                    </a:moveTo>
                    <a:lnTo>
                      <a:pt x="78" y="18"/>
                    </a:lnTo>
                    <a:lnTo>
                      <a:pt x="78" y="18"/>
                    </a:lnTo>
                    <a:lnTo>
                      <a:pt x="88" y="16"/>
                    </a:lnTo>
                    <a:lnTo>
                      <a:pt x="88" y="18"/>
                    </a:lnTo>
                    <a:lnTo>
                      <a:pt x="88" y="18"/>
                    </a:lnTo>
                    <a:lnTo>
                      <a:pt x="80" y="22"/>
                    </a:lnTo>
                    <a:close/>
                    <a:moveTo>
                      <a:pt x="316" y="18"/>
                    </a:moveTo>
                    <a:lnTo>
                      <a:pt x="316" y="18"/>
                    </a:lnTo>
                    <a:lnTo>
                      <a:pt x="306" y="16"/>
                    </a:lnTo>
                    <a:lnTo>
                      <a:pt x="308" y="14"/>
                    </a:lnTo>
                    <a:lnTo>
                      <a:pt x="308" y="14"/>
                    </a:lnTo>
                    <a:lnTo>
                      <a:pt x="318" y="16"/>
                    </a:lnTo>
                    <a:lnTo>
                      <a:pt x="316" y="18"/>
                    </a:lnTo>
                    <a:close/>
                    <a:moveTo>
                      <a:pt x="98" y="16"/>
                    </a:moveTo>
                    <a:lnTo>
                      <a:pt x="96" y="14"/>
                    </a:lnTo>
                    <a:lnTo>
                      <a:pt x="96" y="14"/>
                    </a:lnTo>
                    <a:lnTo>
                      <a:pt x="106" y="10"/>
                    </a:lnTo>
                    <a:lnTo>
                      <a:pt x="106" y="14"/>
                    </a:lnTo>
                    <a:lnTo>
                      <a:pt x="106" y="14"/>
                    </a:lnTo>
                    <a:lnTo>
                      <a:pt x="98" y="16"/>
                    </a:lnTo>
                    <a:close/>
                    <a:moveTo>
                      <a:pt x="298" y="14"/>
                    </a:moveTo>
                    <a:lnTo>
                      <a:pt x="298" y="14"/>
                    </a:lnTo>
                    <a:lnTo>
                      <a:pt x="288" y="12"/>
                    </a:lnTo>
                    <a:lnTo>
                      <a:pt x="288" y="8"/>
                    </a:lnTo>
                    <a:lnTo>
                      <a:pt x="288" y="8"/>
                    </a:lnTo>
                    <a:lnTo>
                      <a:pt x="298" y="10"/>
                    </a:lnTo>
                    <a:lnTo>
                      <a:pt x="298" y="14"/>
                    </a:lnTo>
                    <a:close/>
                    <a:moveTo>
                      <a:pt x="116" y="12"/>
                    </a:moveTo>
                    <a:lnTo>
                      <a:pt x="116" y="8"/>
                    </a:lnTo>
                    <a:lnTo>
                      <a:pt x="116" y="8"/>
                    </a:lnTo>
                    <a:lnTo>
                      <a:pt x="126" y="8"/>
                    </a:lnTo>
                    <a:lnTo>
                      <a:pt x="126" y="10"/>
                    </a:lnTo>
                    <a:lnTo>
                      <a:pt x="126" y="10"/>
                    </a:lnTo>
                    <a:lnTo>
                      <a:pt x="116" y="12"/>
                    </a:lnTo>
                    <a:close/>
                    <a:moveTo>
                      <a:pt x="278" y="10"/>
                    </a:moveTo>
                    <a:lnTo>
                      <a:pt x="278" y="10"/>
                    </a:lnTo>
                    <a:lnTo>
                      <a:pt x="270" y="8"/>
                    </a:lnTo>
                    <a:lnTo>
                      <a:pt x="270" y="6"/>
                    </a:lnTo>
                    <a:lnTo>
                      <a:pt x="270" y="6"/>
                    </a:lnTo>
                    <a:lnTo>
                      <a:pt x="280" y="8"/>
                    </a:lnTo>
                    <a:lnTo>
                      <a:pt x="278" y="10"/>
                    </a:lnTo>
                    <a:close/>
                    <a:moveTo>
                      <a:pt x="136" y="8"/>
                    </a:moveTo>
                    <a:lnTo>
                      <a:pt x="134" y="6"/>
                    </a:lnTo>
                    <a:lnTo>
                      <a:pt x="134" y="6"/>
                    </a:lnTo>
                    <a:lnTo>
                      <a:pt x="144" y="4"/>
                    </a:lnTo>
                    <a:lnTo>
                      <a:pt x="144" y="8"/>
                    </a:lnTo>
                    <a:lnTo>
                      <a:pt x="144" y="8"/>
                    </a:lnTo>
                    <a:lnTo>
                      <a:pt x="136" y="8"/>
                    </a:lnTo>
                    <a:close/>
                    <a:moveTo>
                      <a:pt x="260" y="8"/>
                    </a:moveTo>
                    <a:lnTo>
                      <a:pt x="260" y="8"/>
                    </a:lnTo>
                    <a:lnTo>
                      <a:pt x="250" y="6"/>
                    </a:lnTo>
                    <a:lnTo>
                      <a:pt x="250" y="4"/>
                    </a:lnTo>
                    <a:lnTo>
                      <a:pt x="250" y="4"/>
                    </a:lnTo>
                    <a:lnTo>
                      <a:pt x="260" y="4"/>
                    </a:lnTo>
                    <a:lnTo>
                      <a:pt x="260" y="8"/>
                    </a:lnTo>
                    <a:close/>
                    <a:moveTo>
                      <a:pt x="154" y="6"/>
                    </a:moveTo>
                    <a:lnTo>
                      <a:pt x="154" y="4"/>
                    </a:lnTo>
                    <a:lnTo>
                      <a:pt x="154" y="4"/>
                    </a:lnTo>
                    <a:lnTo>
                      <a:pt x="164" y="2"/>
                    </a:lnTo>
                    <a:lnTo>
                      <a:pt x="164" y="6"/>
                    </a:lnTo>
                    <a:lnTo>
                      <a:pt x="164" y="6"/>
                    </a:lnTo>
                    <a:lnTo>
                      <a:pt x="154" y="6"/>
                    </a:lnTo>
                    <a:close/>
                    <a:moveTo>
                      <a:pt x="240" y="6"/>
                    </a:moveTo>
                    <a:lnTo>
                      <a:pt x="240" y="6"/>
                    </a:lnTo>
                    <a:lnTo>
                      <a:pt x="232" y="4"/>
                    </a:lnTo>
                    <a:lnTo>
                      <a:pt x="232" y="2"/>
                    </a:lnTo>
                    <a:lnTo>
                      <a:pt x="232" y="2"/>
                    </a:lnTo>
                    <a:lnTo>
                      <a:pt x="242" y="2"/>
                    </a:lnTo>
                    <a:lnTo>
                      <a:pt x="240" y="6"/>
                    </a:lnTo>
                    <a:close/>
                    <a:moveTo>
                      <a:pt x="174" y="4"/>
                    </a:moveTo>
                    <a:lnTo>
                      <a:pt x="174" y="2"/>
                    </a:lnTo>
                    <a:lnTo>
                      <a:pt x="174" y="2"/>
                    </a:lnTo>
                    <a:lnTo>
                      <a:pt x="182" y="2"/>
                    </a:lnTo>
                    <a:lnTo>
                      <a:pt x="182" y="4"/>
                    </a:lnTo>
                    <a:lnTo>
                      <a:pt x="182" y="4"/>
                    </a:lnTo>
                    <a:lnTo>
                      <a:pt x="174" y="4"/>
                    </a:lnTo>
                    <a:close/>
                    <a:moveTo>
                      <a:pt x="222" y="4"/>
                    </a:moveTo>
                    <a:lnTo>
                      <a:pt x="222" y="4"/>
                    </a:lnTo>
                    <a:lnTo>
                      <a:pt x="212" y="4"/>
                    </a:lnTo>
                    <a:lnTo>
                      <a:pt x="212" y="2"/>
                    </a:lnTo>
                    <a:lnTo>
                      <a:pt x="212" y="2"/>
                    </a:lnTo>
                    <a:lnTo>
                      <a:pt x="222" y="2"/>
                    </a:lnTo>
                    <a:lnTo>
                      <a:pt x="222" y="4"/>
                    </a:lnTo>
                    <a:close/>
                    <a:moveTo>
                      <a:pt x="192" y="4"/>
                    </a:moveTo>
                    <a:lnTo>
                      <a:pt x="192" y="0"/>
                    </a:lnTo>
                    <a:lnTo>
                      <a:pt x="192" y="0"/>
                    </a:lnTo>
                    <a:lnTo>
                      <a:pt x="202" y="0"/>
                    </a:lnTo>
                    <a:lnTo>
                      <a:pt x="202" y="0"/>
                    </a:lnTo>
                    <a:lnTo>
                      <a:pt x="202" y="4"/>
                    </a:lnTo>
                    <a:lnTo>
                      <a:pt x="202" y="4"/>
                    </a:lnTo>
                    <a:lnTo>
                      <a:pt x="202" y="4"/>
                    </a:lnTo>
                    <a:lnTo>
                      <a:pt x="192" y="4"/>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0" name="Freeform 110"/>
              <p:cNvSpPr/>
              <p:nvPr/>
            </p:nvSpPr>
            <p:spPr bwMode="auto">
              <a:xfrm>
                <a:off x="8094095" y="2689222"/>
                <a:ext cx="16608" cy="2972"/>
              </a:xfrm>
              <a:custGeom>
                <a:avLst/>
                <a:gdLst>
                  <a:gd name="T0" fmla="*/ 0 w 10"/>
                  <a:gd name="T1" fmla="*/ 2 h 2"/>
                  <a:gd name="T2" fmla="*/ 0 w 10"/>
                  <a:gd name="T3" fmla="*/ 2 h 2"/>
                  <a:gd name="T4" fmla="*/ 0 w 10"/>
                  <a:gd name="T5" fmla="*/ 0 h 2"/>
                  <a:gd name="T6" fmla="*/ 0 w 10"/>
                  <a:gd name="T7" fmla="*/ 0 h 2"/>
                  <a:gd name="T8" fmla="*/ 0 w 10"/>
                  <a:gd name="T9" fmla="*/ 0 h 2"/>
                  <a:gd name="T10" fmla="*/ 10 w 10"/>
                  <a:gd name="T11" fmla="*/ 0 h 2"/>
                  <a:gd name="T12" fmla="*/ 10 w 10"/>
                  <a:gd name="T13" fmla="*/ 2 h 2"/>
                  <a:gd name="T14" fmla="*/ 10 w 10"/>
                  <a:gd name="T15" fmla="*/ 2 h 2"/>
                  <a:gd name="T16" fmla="*/ 0 w 10"/>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
                    <a:moveTo>
                      <a:pt x="0" y="2"/>
                    </a:moveTo>
                    <a:lnTo>
                      <a:pt x="0" y="2"/>
                    </a:lnTo>
                    <a:lnTo>
                      <a:pt x="0" y="0"/>
                    </a:lnTo>
                    <a:lnTo>
                      <a:pt x="0" y="0"/>
                    </a:lnTo>
                    <a:lnTo>
                      <a:pt x="0" y="0"/>
                    </a:lnTo>
                    <a:lnTo>
                      <a:pt x="10" y="0"/>
                    </a:lnTo>
                    <a:lnTo>
                      <a:pt x="10" y="2"/>
                    </a:lnTo>
                    <a:lnTo>
                      <a:pt x="10"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1" name="Freeform 111"/>
              <p:cNvSpPr/>
              <p:nvPr/>
            </p:nvSpPr>
            <p:spPr bwMode="auto">
              <a:xfrm>
                <a:off x="8060879" y="2689222"/>
                <a:ext cx="16608" cy="2972"/>
              </a:xfrm>
              <a:custGeom>
                <a:avLst/>
                <a:gdLst>
                  <a:gd name="T0" fmla="*/ 10 w 10"/>
                  <a:gd name="T1" fmla="*/ 2 h 2"/>
                  <a:gd name="T2" fmla="*/ 10 w 10"/>
                  <a:gd name="T3" fmla="*/ 2 h 2"/>
                  <a:gd name="T4" fmla="*/ 0 w 10"/>
                  <a:gd name="T5" fmla="*/ 2 h 2"/>
                  <a:gd name="T6" fmla="*/ 0 w 10"/>
                  <a:gd name="T7" fmla="*/ 0 h 2"/>
                  <a:gd name="T8" fmla="*/ 0 w 10"/>
                  <a:gd name="T9" fmla="*/ 0 h 2"/>
                  <a:gd name="T10" fmla="*/ 10 w 10"/>
                  <a:gd name="T11" fmla="*/ 0 h 2"/>
                  <a:gd name="T12" fmla="*/ 10 w 10"/>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10" y="2"/>
                    </a:moveTo>
                    <a:lnTo>
                      <a:pt x="10" y="2"/>
                    </a:lnTo>
                    <a:lnTo>
                      <a:pt x="0" y="2"/>
                    </a:lnTo>
                    <a:lnTo>
                      <a:pt x="0" y="0"/>
                    </a:lnTo>
                    <a:lnTo>
                      <a:pt x="0" y="0"/>
                    </a:lnTo>
                    <a:lnTo>
                      <a:pt x="10" y="0"/>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2" name="Freeform 112"/>
              <p:cNvSpPr/>
              <p:nvPr/>
            </p:nvSpPr>
            <p:spPr bwMode="auto">
              <a:xfrm>
                <a:off x="8127312" y="2686250"/>
                <a:ext cx="13287" cy="5944"/>
              </a:xfrm>
              <a:custGeom>
                <a:avLst/>
                <a:gdLst>
                  <a:gd name="T0" fmla="*/ 0 w 8"/>
                  <a:gd name="T1" fmla="*/ 4 h 4"/>
                  <a:gd name="T2" fmla="*/ 0 w 8"/>
                  <a:gd name="T3" fmla="*/ 2 h 4"/>
                  <a:gd name="T4" fmla="*/ 0 w 8"/>
                  <a:gd name="T5" fmla="*/ 2 h 4"/>
                  <a:gd name="T6" fmla="*/ 8 w 8"/>
                  <a:gd name="T7" fmla="*/ 0 h 4"/>
                  <a:gd name="T8" fmla="*/ 8 w 8"/>
                  <a:gd name="T9" fmla="*/ 4 h 4"/>
                  <a:gd name="T10" fmla="*/ 8 w 8"/>
                  <a:gd name="T11" fmla="*/ 4 h 4"/>
                  <a:gd name="T12" fmla="*/ 0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0" y="4"/>
                    </a:moveTo>
                    <a:lnTo>
                      <a:pt x="0" y="2"/>
                    </a:lnTo>
                    <a:lnTo>
                      <a:pt x="0" y="2"/>
                    </a:lnTo>
                    <a:lnTo>
                      <a:pt x="8" y="0"/>
                    </a:lnTo>
                    <a:lnTo>
                      <a:pt x="8" y="4"/>
                    </a:lnTo>
                    <a:lnTo>
                      <a:pt x="8"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3" name="Freeform 113"/>
              <p:cNvSpPr/>
              <p:nvPr/>
            </p:nvSpPr>
            <p:spPr bwMode="auto">
              <a:xfrm>
                <a:off x="8030983" y="2686250"/>
                <a:ext cx="16608" cy="5944"/>
              </a:xfrm>
              <a:custGeom>
                <a:avLst/>
                <a:gdLst>
                  <a:gd name="T0" fmla="*/ 8 w 10"/>
                  <a:gd name="T1" fmla="*/ 4 h 4"/>
                  <a:gd name="T2" fmla="*/ 8 w 10"/>
                  <a:gd name="T3" fmla="*/ 4 h 4"/>
                  <a:gd name="T4" fmla="*/ 0 w 10"/>
                  <a:gd name="T5" fmla="*/ 4 h 4"/>
                  <a:gd name="T6" fmla="*/ 0 w 10"/>
                  <a:gd name="T7" fmla="*/ 0 h 4"/>
                  <a:gd name="T8" fmla="*/ 0 w 10"/>
                  <a:gd name="T9" fmla="*/ 0 h 4"/>
                  <a:gd name="T10" fmla="*/ 10 w 10"/>
                  <a:gd name="T11" fmla="*/ 0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4"/>
                    </a:lnTo>
                    <a:lnTo>
                      <a:pt x="0" y="0"/>
                    </a:lnTo>
                    <a:lnTo>
                      <a:pt x="0" y="0"/>
                    </a:lnTo>
                    <a:lnTo>
                      <a:pt x="10" y="0"/>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4" name="Freeform 114"/>
              <p:cNvSpPr/>
              <p:nvPr/>
            </p:nvSpPr>
            <p:spPr bwMode="auto">
              <a:xfrm>
                <a:off x="8157207" y="2686250"/>
                <a:ext cx="16608" cy="5944"/>
              </a:xfrm>
              <a:custGeom>
                <a:avLst/>
                <a:gdLst>
                  <a:gd name="T0" fmla="*/ 0 w 10"/>
                  <a:gd name="T1" fmla="*/ 4 h 4"/>
                  <a:gd name="T2" fmla="*/ 0 w 10"/>
                  <a:gd name="T3" fmla="*/ 0 h 4"/>
                  <a:gd name="T4" fmla="*/ 0 w 10"/>
                  <a:gd name="T5" fmla="*/ 0 h 4"/>
                  <a:gd name="T6" fmla="*/ 10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10"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5" name="Freeform 115"/>
              <p:cNvSpPr/>
              <p:nvPr/>
            </p:nvSpPr>
            <p:spPr bwMode="auto">
              <a:xfrm>
                <a:off x="7997767" y="2683278"/>
                <a:ext cx="16608" cy="5944"/>
              </a:xfrm>
              <a:custGeom>
                <a:avLst/>
                <a:gdLst>
                  <a:gd name="T0" fmla="*/ 10 w 10"/>
                  <a:gd name="T1" fmla="*/ 4 h 4"/>
                  <a:gd name="T2" fmla="*/ 10 w 10"/>
                  <a:gd name="T3" fmla="*/ 4 h 4"/>
                  <a:gd name="T4" fmla="*/ 0 w 10"/>
                  <a:gd name="T5" fmla="*/ 4 h 4"/>
                  <a:gd name="T6" fmla="*/ 0 w 10"/>
                  <a:gd name="T7" fmla="*/ 0 h 4"/>
                  <a:gd name="T8" fmla="*/ 0 w 10"/>
                  <a:gd name="T9" fmla="*/ 0 h 4"/>
                  <a:gd name="T10" fmla="*/ 10 w 10"/>
                  <a:gd name="T11" fmla="*/ 2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4"/>
                    </a:lnTo>
                    <a:lnTo>
                      <a:pt x="0" y="0"/>
                    </a:lnTo>
                    <a:lnTo>
                      <a:pt x="0" y="0"/>
                    </a:lnTo>
                    <a:lnTo>
                      <a:pt x="10" y="2"/>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6" name="Freeform 116"/>
              <p:cNvSpPr/>
              <p:nvPr/>
            </p:nvSpPr>
            <p:spPr bwMode="auto">
              <a:xfrm>
                <a:off x="8190424" y="2683278"/>
                <a:ext cx="16608" cy="5944"/>
              </a:xfrm>
              <a:custGeom>
                <a:avLst/>
                <a:gdLst>
                  <a:gd name="T0" fmla="*/ 0 w 10"/>
                  <a:gd name="T1" fmla="*/ 4 h 4"/>
                  <a:gd name="T2" fmla="*/ 0 w 10"/>
                  <a:gd name="T3" fmla="*/ 0 h 4"/>
                  <a:gd name="T4" fmla="*/ 0 w 10"/>
                  <a:gd name="T5" fmla="*/ 0 h 4"/>
                  <a:gd name="T6" fmla="*/ 8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8"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7" name="Freeform 117"/>
              <p:cNvSpPr/>
              <p:nvPr/>
            </p:nvSpPr>
            <p:spPr bwMode="auto">
              <a:xfrm>
                <a:off x="7967872" y="2680306"/>
                <a:ext cx="16608" cy="5944"/>
              </a:xfrm>
              <a:custGeom>
                <a:avLst/>
                <a:gdLst>
                  <a:gd name="T0" fmla="*/ 8 w 10"/>
                  <a:gd name="T1" fmla="*/ 4 h 4"/>
                  <a:gd name="T2" fmla="*/ 8 w 10"/>
                  <a:gd name="T3" fmla="*/ 4 h 4"/>
                  <a:gd name="T4" fmla="*/ 0 w 10"/>
                  <a:gd name="T5" fmla="*/ 2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2"/>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8" name="Freeform 118"/>
              <p:cNvSpPr/>
              <p:nvPr/>
            </p:nvSpPr>
            <p:spPr bwMode="auto">
              <a:xfrm>
                <a:off x="8220319" y="2677334"/>
                <a:ext cx="16608" cy="5944"/>
              </a:xfrm>
              <a:custGeom>
                <a:avLst/>
                <a:gdLst>
                  <a:gd name="T0" fmla="*/ 0 w 10"/>
                  <a:gd name="T1" fmla="*/ 4 h 4"/>
                  <a:gd name="T2" fmla="*/ 0 w 10"/>
                  <a:gd name="T3" fmla="*/ 2 h 4"/>
                  <a:gd name="T4" fmla="*/ 0 w 10"/>
                  <a:gd name="T5" fmla="*/ 2 h 4"/>
                  <a:gd name="T6" fmla="*/ 10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2"/>
                    </a:lnTo>
                    <a:lnTo>
                      <a:pt x="0" y="2"/>
                    </a:lnTo>
                    <a:lnTo>
                      <a:pt x="10"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59" name="Freeform 119"/>
              <p:cNvSpPr/>
              <p:nvPr/>
            </p:nvSpPr>
            <p:spPr bwMode="auto">
              <a:xfrm>
                <a:off x="7934655" y="2674362"/>
                <a:ext cx="16608" cy="5944"/>
              </a:xfrm>
              <a:custGeom>
                <a:avLst/>
                <a:gdLst>
                  <a:gd name="T0" fmla="*/ 10 w 10"/>
                  <a:gd name="T1" fmla="*/ 4 h 4"/>
                  <a:gd name="T2" fmla="*/ 10 w 10"/>
                  <a:gd name="T3" fmla="*/ 4 h 4"/>
                  <a:gd name="T4" fmla="*/ 0 w 10"/>
                  <a:gd name="T5" fmla="*/ 2 h 4"/>
                  <a:gd name="T6" fmla="*/ 0 w 10"/>
                  <a:gd name="T7" fmla="*/ 0 h 4"/>
                  <a:gd name="T8" fmla="*/ 0 w 10"/>
                  <a:gd name="T9" fmla="*/ 0 h 4"/>
                  <a:gd name="T10" fmla="*/ 10 w 10"/>
                  <a:gd name="T11" fmla="*/ 2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2"/>
                    </a:lnTo>
                    <a:lnTo>
                      <a:pt x="0" y="0"/>
                    </a:lnTo>
                    <a:lnTo>
                      <a:pt x="0" y="0"/>
                    </a:lnTo>
                    <a:lnTo>
                      <a:pt x="10" y="2"/>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0" name="Freeform 120"/>
              <p:cNvSpPr/>
              <p:nvPr/>
            </p:nvSpPr>
            <p:spPr bwMode="auto">
              <a:xfrm>
                <a:off x="8253536" y="2671390"/>
                <a:ext cx="16608" cy="8916"/>
              </a:xfrm>
              <a:custGeom>
                <a:avLst/>
                <a:gdLst>
                  <a:gd name="T0" fmla="*/ 0 w 10"/>
                  <a:gd name="T1" fmla="*/ 6 h 6"/>
                  <a:gd name="T2" fmla="*/ 0 w 10"/>
                  <a:gd name="T3" fmla="*/ 2 h 6"/>
                  <a:gd name="T4" fmla="*/ 0 w 10"/>
                  <a:gd name="T5" fmla="*/ 2 h 6"/>
                  <a:gd name="T6" fmla="*/ 8 w 10"/>
                  <a:gd name="T7" fmla="*/ 0 h 6"/>
                  <a:gd name="T8" fmla="*/ 10 w 10"/>
                  <a:gd name="T9" fmla="*/ 2 h 6"/>
                  <a:gd name="T10" fmla="*/ 10 w 10"/>
                  <a:gd name="T11" fmla="*/ 2 h 6"/>
                  <a:gd name="T12" fmla="*/ 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0" y="6"/>
                    </a:moveTo>
                    <a:lnTo>
                      <a:pt x="0" y="2"/>
                    </a:lnTo>
                    <a:lnTo>
                      <a:pt x="0" y="2"/>
                    </a:lnTo>
                    <a:lnTo>
                      <a:pt x="8" y="0"/>
                    </a:lnTo>
                    <a:lnTo>
                      <a:pt x="10" y="2"/>
                    </a:lnTo>
                    <a:lnTo>
                      <a:pt x="10" y="2"/>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1" name="Freeform 121"/>
              <p:cNvSpPr/>
              <p:nvPr/>
            </p:nvSpPr>
            <p:spPr bwMode="auto">
              <a:xfrm>
                <a:off x="7904760" y="2668418"/>
                <a:ext cx="16608" cy="5944"/>
              </a:xfrm>
              <a:custGeom>
                <a:avLst/>
                <a:gdLst>
                  <a:gd name="T0" fmla="*/ 8 w 10"/>
                  <a:gd name="T1" fmla="*/ 4 h 4"/>
                  <a:gd name="T2" fmla="*/ 8 w 10"/>
                  <a:gd name="T3" fmla="*/ 4 h 4"/>
                  <a:gd name="T4" fmla="*/ 0 w 10"/>
                  <a:gd name="T5" fmla="*/ 2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2"/>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2" name="Freeform 122"/>
              <p:cNvSpPr/>
              <p:nvPr/>
            </p:nvSpPr>
            <p:spPr bwMode="auto">
              <a:xfrm>
                <a:off x="8283431" y="2662474"/>
                <a:ext cx="16608" cy="8916"/>
              </a:xfrm>
              <a:custGeom>
                <a:avLst/>
                <a:gdLst>
                  <a:gd name="T0" fmla="*/ 0 w 10"/>
                  <a:gd name="T1" fmla="*/ 6 h 6"/>
                  <a:gd name="T2" fmla="*/ 0 w 10"/>
                  <a:gd name="T3" fmla="*/ 4 h 6"/>
                  <a:gd name="T4" fmla="*/ 0 w 10"/>
                  <a:gd name="T5" fmla="*/ 4 h 6"/>
                  <a:gd name="T6" fmla="*/ 8 w 10"/>
                  <a:gd name="T7" fmla="*/ 0 h 6"/>
                  <a:gd name="T8" fmla="*/ 10 w 10"/>
                  <a:gd name="T9" fmla="*/ 4 h 6"/>
                  <a:gd name="T10" fmla="*/ 10 w 10"/>
                  <a:gd name="T11" fmla="*/ 4 h 6"/>
                  <a:gd name="T12" fmla="*/ 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0" y="6"/>
                    </a:moveTo>
                    <a:lnTo>
                      <a:pt x="0" y="4"/>
                    </a:lnTo>
                    <a:lnTo>
                      <a:pt x="0" y="4"/>
                    </a:lnTo>
                    <a:lnTo>
                      <a:pt x="8" y="0"/>
                    </a:lnTo>
                    <a:lnTo>
                      <a:pt x="10" y="4"/>
                    </a:lnTo>
                    <a:lnTo>
                      <a:pt x="10" y="4"/>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3" name="Freeform 123"/>
              <p:cNvSpPr/>
              <p:nvPr/>
            </p:nvSpPr>
            <p:spPr bwMode="auto">
              <a:xfrm>
                <a:off x="7871543" y="2659502"/>
                <a:ext cx="19930" cy="8916"/>
              </a:xfrm>
              <a:custGeom>
                <a:avLst/>
                <a:gdLst>
                  <a:gd name="T0" fmla="*/ 10 w 12"/>
                  <a:gd name="T1" fmla="*/ 6 h 6"/>
                  <a:gd name="T2" fmla="*/ 10 w 12"/>
                  <a:gd name="T3" fmla="*/ 6 h 6"/>
                  <a:gd name="T4" fmla="*/ 0 w 12"/>
                  <a:gd name="T5" fmla="*/ 2 h 6"/>
                  <a:gd name="T6" fmla="*/ 2 w 12"/>
                  <a:gd name="T7" fmla="*/ 0 h 6"/>
                  <a:gd name="T8" fmla="*/ 2 w 12"/>
                  <a:gd name="T9" fmla="*/ 0 h 6"/>
                  <a:gd name="T10" fmla="*/ 12 w 12"/>
                  <a:gd name="T11" fmla="*/ 2 h 6"/>
                  <a:gd name="T12" fmla="*/ 10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0" y="6"/>
                    </a:moveTo>
                    <a:lnTo>
                      <a:pt x="10" y="6"/>
                    </a:lnTo>
                    <a:lnTo>
                      <a:pt x="0" y="2"/>
                    </a:lnTo>
                    <a:lnTo>
                      <a:pt x="2" y="0"/>
                    </a:lnTo>
                    <a:lnTo>
                      <a:pt x="2" y="0"/>
                    </a:lnTo>
                    <a:lnTo>
                      <a:pt x="12" y="2"/>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4" name="Freeform 124"/>
              <p:cNvSpPr/>
              <p:nvPr/>
            </p:nvSpPr>
            <p:spPr bwMode="auto">
              <a:xfrm>
                <a:off x="8313326" y="2653558"/>
                <a:ext cx="16608" cy="8916"/>
              </a:xfrm>
              <a:custGeom>
                <a:avLst/>
                <a:gdLst>
                  <a:gd name="T0" fmla="*/ 0 w 10"/>
                  <a:gd name="T1" fmla="*/ 6 h 6"/>
                  <a:gd name="T2" fmla="*/ 0 w 10"/>
                  <a:gd name="T3" fmla="*/ 4 h 6"/>
                  <a:gd name="T4" fmla="*/ 0 w 10"/>
                  <a:gd name="T5" fmla="*/ 4 h 6"/>
                  <a:gd name="T6" fmla="*/ 8 w 10"/>
                  <a:gd name="T7" fmla="*/ 0 h 6"/>
                  <a:gd name="T8" fmla="*/ 10 w 10"/>
                  <a:gd name="T9" fmla="*/ 2 h 6"/>
                  <a:gd name="T10" fmla="*/ 10 w 10"/>
                  <a:gd name="T11" fmla="*/ 2 h 6"/>
                  <a:gd name="T12" fmla="*/ 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0" y="6"/>
                    </a:moveTo>
                    <a:lnTo>
                      <a:pt x="0" y="4"/>
                    </a:lnTo>
                    <a:lnTo>
                      <a:pt x="0" y="4"/>
                    </a:lnTo>
                    <a:lnTo>
                      <a:pt x="8" y="0"/>
                    </a:lnTo>
                    <a:lnTo>
                      <a:pt x="10" y="2"/>
                    </a:lnTo>
                    <a:lnTo>
                      <a:pt x="10" y="2"/>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5" name="Freeform 125"/>
              <p:cNvSpPr/>
              <p:nvPr/>
            </p:nvSpPr>
            <p:spPr bwMode="auto">
              <a:xfrm>
                <a:off x="7841648" y="2647615"/>
                <a:ext cx="19930" cy="8916"/>
              </a:xfrm>
              <a:custGeom>
                <a:avLst/>
                <a:gdLst>
                  <a:gd name="T0" fmla="*/ 10 w 12"/>
                  <a:gd name="T1" fmla="*/ 6 h 6"/>
                  <a:gd name="T2" fmla="*/ 10 w 12"/>
                  <a:gd name="T3" fmla="*/ 6 h 6"/>
                  <a:gd name="T4" fmla="*/ 0 w 12"/>
                  <a:gd name="T5" fmla="*/ 2 h 6"/>
                  <a:gd name="T6" fmla="*/ 2 w 12"/>
                  <a:gd name="T7" fmla="*/ 0 h 6"/>
                  <a:gd name="T8" fmla="*/ 2 w 12"/>
                  <a:gd name="T9" fmla="*/ 0 h 6"/>
                  <a:gd name="T10" fmla="*/ 12 w 12"/>
                  <a:gd name="T11" fmla="*/ 4 h 6"/>
                  <a:gd name="T12" fmla="*/ 10 w 1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2" h="6">
                    <a:moveTo>
                      <a:pt x="10" y="6"/>
                    </a:moveTo>
                    <a:lnTo>
                      <a:pt x="10" y="6"/>
                    </a:lnTo>
                    <a:lnTo>
                      <a:pt x="0" y="2"/>
                    </a:lnTo>
                    <a:lnTo>
                      <a:pt x="2" y="0"/>
                    </a:lnTo>
                    <a:lnTo>
                      <a:pt x="2" y="0"/>
                    </a:lnTo>
                    <a:lnTo>
                      <a:pt x="12" y="4"/>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6" name="Freeform 126"/>
              <p:cNvSpPr/>
              <p:nvPr/>
            </p:nvSpPr>
            <p:spPr bwMode="auto">
              <a:xfrm>
                <a:off x="8343221" y="2641671"/>
                <a:ext cx="16608" cy="11888"/>
              </a:xfrm>
              <a:custGeom>
                <a:avLst/>
                <a:gdLst>
                  <a:gd name="T0" fmla="*/ 0 w 10"/>
                  <a:gd name="T1" fmla="*/ 8 h 8"/>
                  <a:gd name="T2" fmla="*/ 0 w 10"/>
                  <a:gd name="T3" fmla="*/ 4 h 8"/>
                  <a:gd name="T4" fmla="*/ 0 w 10"/>
                  <a:gd name="T5" fmla="*/ 4 h 8"/>
                  <a:gd name="T6" fmla="*/ 8 w 10"/>
                  <a:gd name="T7" fmla="*/ 0 h 8"/>
                  <a:gd name="T8" fmla="*/ 10 w 10"/>
                  <a:gd name="T9" fmla="*/ 2 h 8"/>
                  <a:gd name="T10" fmla="*/ 10 w 10"/>
                  <a:gd name="T11" fmla="*/ 2 h 8"/>
                  <a:gd name="T12" fmla="*/ 0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0" y="8"/>
                    </a:moveTo>
                    <a:lnTo>
                      <a:pt x="0" y="4"/>
                    </a:lnTo>
                    <a:lnTo>
                      <a:pt x="0" y="4"/>
                    </a:lnTo>
                    <a:lnTo>
                      <a:pt x="8" y="0"/>
                    </a:lnTo>
                    <a:lnTo>
                      <a:pt x="10" y="2"/>
                    </a:lnTo>
                    <a:lnTo>
                      <a:pt x="10" y="2"/>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7" name="Freeform 127"/>
              <p:cNvSpPr/>
              <p:nvPr/>
            </p:nvSpPr>
            <p:spPr bwMode="auto">
              <a:xfrm>
                <a:off x="7815074" y="2635727"/>
                <a:ext cx="16608" cy="8916"/>
              </a:xfrm>
              <a:custGeom>
                <a:avLst/>
                <a:gdLst>
                  <a:gd name="T0" fmla="*/ 8 w 10"/>
                  <a:gd name="T1" fmla="*/ 6 h 6"/>
                  <a:gd name="T2" fmla="*/ 8 w 10"/>
                  <a:gd name="T3" fmla="*/ 6 h 6"/>
                  <a:gd name="T4" fmla="*/ 0 w 10"/>
                  <a:gd name="T5" fmla="*/ 2 h 6"/>
                  <a:gd name="T6" fmla="*/ 2 w 10"/>
                  <a:gd name="T7" fmla="*/ 0 h 6"/>
                  <a:gd name="T8" fmla="*/ 2 w 10"/>
                  <a:gd name="T9" fmla="*/ 0 h 6"/>
                  <a:gd name="T10" fmla="*/ 10 w 10"/>
                  <a:gd name="T11" fmla="*/ 4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2" y="0"/>
                    </a:lnTo>
                    <a:lnTo>
                      <a:pt x="2" y="0"/>
                    </a:lnTo>
                    <a:lnTo>
                      <a:pt x="10" y="4"/>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8" name="Freeform 128"/>
              <p:cNvSpPr/>
              <p:nvPr/>
            </p:nvSpPr>
            <p:spPr bwMode="auto">
              <a:xfrm>
                <a:off x="8369795" y="2626811"/>
                <a:ext cx="16608" cy="11888"/>
              </a:xfrm>
              <a:custGeom>
                <a:avLst/>
                <a:gdLst>
                  <a:gd name="T0" fmla="*/ 2 w 10"/>
                  <a:gd name="T1" fmla="*/ 8 h 8"/>
                  <a:gd name="T2" fmla="*/ 0 w 10"/>
                  <a:gd name="T3" fmla="*/ 6 h 8"/>
                  <a:gd name="T4" fmla="*/ 0 w 10"/>
                  <a:gd name="T5" fmla="*/ 6 h 8"/>
                  <a:gd name="T6" fmla="*/ 8 w 10"/>
                  <a:gd name="T7" fmla="*/ 0 h 8"/>
                  <a:gd name="T8" fmla="*/ 10 w 10"/>
                  <a:gd name="T9" fmla="*/ 2 h 8"/>
                  <a:gd name="T10" fmla="*/ 10 w 10"/>
                  <a:gd name="T11" fmla="*/ 2 h 8"/>
                  <a:gd name="T12" fmla="*/ 2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8"/>
                    </a:moveTo>
                    <a:lnTo>
                      <a:pt x="0" y="6"/>
                    </a:lnTo>
                    <a:lnTo>
                      <a:pt x="0" y="6"/>
                    </a:lnTo>
                    <a:lnTo>
                      <a:pt x="8" y="0"/>
                    </a:lnTo>
                    <a:lnTo>
                      <a:pt x="10" y="2"/>
                    </a:lnTo>
                    <a:lnTo>
                      <a:pt x="10" y="2"/>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69" name="Freeform 129"/>
              <p:cNvSpPr/>
              <p:nvPr/>
            </p:nvSpPr>
            <p:spPr bwMode="auto">
              <a:xfrm>
                <a:off x="7788501" y="2617895"/>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6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6"/>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0" name="Freeform 130"/>
              <p:cNvSpPr/>
              <p:nvPr/>
            </p:nvSpPr>
            <p:spPr bwMode="auto">
              <a:xfrm>
                <a:off x="8396368" y="2608979"/>
                <a:ext cx="13287" cy="11888"/>
              </a:xfrm>
              <a:custGeom>
                <a:avLst/>
                <a:gdLst>
                  <a:gd name="T0" fmla="*/ 2 w 8"/>
                  <a:gd name="T1" fmla="*/ 8 h 8"/>
                  <a:gd name="T2" fmla="*/ 0 w 8"/>
                  <a:gd name="T3" fmla="*/ 6 h 8"/>
                  <a:gd name="T4" fmla="*/ 0 w 8"/>
                  <a:gd name="T5" fmla="*/ 6 h 8"/>
                  <a:gd name="T6" fmla="*/ 6 w 8"/>
                  <a:gd name="T7" fmla="*/ 0 h 8"/>
                  <a:gd name="T8" fmla="*/ 8 w 8"/>
                  <a:gd name="T9" fmla="*/ 2 h 8"/>
                  <a:gd name="T10" fmla="*/ 8 w 8"/>
                  <a:gd name="T11" fmla="*/ 2 h 8"/>
                  <a:gd name="T12" fmla="*/ 2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2" y="8"/>
                    </a:moveTo>
                    <a:lnTo>
                      <a:pt x="0" y="6"/>
                    </a:lnTo>
                    <a:lnTo>
                      <a:pt x="0" y="6"/>
                    </a:lnTo>
                    <a:lnTo>
                      <a:pt x="6" y="0"/>
                    </a:lnTo>
                    <a:lnTo>
                      <a:pt x="8" y="2"/>
                    </a:lnTo>
                    <a:lnTo>
                      <a:pt x="8" y="2"/>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1" name="Freeform 131"/>
              <p:cNvSpPr/>
              <p:nvPr/>
            </p:nvSpPr>
            <p:spPr bwMode="auto">
              <a:xfrm>
                <a:off x="7768571" y="2597092"/>
                <a:ext cx="13287" cy="14860"/>
              </a:xfrm>
              <a:custGeom>
                <a:avLst/>
                <a:gdLst>
                  <a:gd name="T0" fmla="*/ 6 w 8"/>
                  <a:gd name="T1" fmla="*/ 10 h 10"/>
                  <a:gd name="T2" fmla="*/ 6 w 8"/>
                  <a:gd name="T3" fmla="*/ 10 h 10"/>
                  <a:gd name="T4" fmla="*/ 0 w 8"/>
                  <a:gd name="T5" fmla="*/ 0 h 10"/>
                  <a:gd name="T6" fmla="*/ 2 w 8"/>
                  <a:gd name="T7" fmla="*/ 0 h 10"/>
                  <a:gd name="T8" fmla="*/ 2 w 8"/>
                  <a:gd name="T9" fmla="*/ 0 h 10"/>
                  <a:gd name="T10" fmla="*/ 8 w 8"/>
                  <a:gd name="T11" fmla="*/ 6 h 10"/>
                  <a:gd name="T12" fmla="*/ 6 w 8"/>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8" h="10">
                    <a:moveTo>
                      <a:pt x="6" y="10"/>
                    </a:moveTo>
                    <a:lnTo>
                      <a:pt x="6" y="10"/>
                    </a:lnTo>
                    <a:lnTo>
                      <a:pt x="0" y="0"/>
                    </a:lnTo>
                    <a:lnTo>
                      <a:pt x="2" y="0"/>
                    </a:lnTo>
                    <a:lnTo>
                      <a:pt x="2" y="0"/>
                    </a:lnTo>
                    <a:lnTo>
                      <a:pt x="8" y="6"/>
                    </a:lnTo>
                    <a:lnTo>
                      <a:pt x="6"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2" name="Freeform 132"/>
              <p:cNvSpPr/>
              <p:nvPr/>
            </p:nvSpPr>
            <p:spPr bwMode="auto">
              <a:xfrm>
                <a:off x="8416298" y="2585204"/>
                <a:ext cx="9965" cy="14860"/>
              </a:xfrm>
              <a:custGeom>
                <a:avLst/>
                <a:gdLst>
                  <a:gd name="T0" fmla="*/ 2 w 6"/>
                  <a:gd name="T1" fmla="*/ 10 h 10"/>
                  <a:gd name="T2" fmla="*/ 0 w 6"/>
                  <a:gd name="T3" fmla="*/ 8 h 10"/>
                  <a:gd name="T4" fmla="*/ 0 w 6"/>
                  <a:gd name="T5" fmla="*/ 8 h 10"/>
                  <a:gd name="T6" fmla="*/ 4 w 6"/>
                  <a:gd name="T7" fmla="*/ 0 h 10"/>
                  <a:gd name="T8" fmla="*/ 6 w 6"/>
                  <a:gd name="T9" fmla="*/ 0 h 10"/>
                  <a:gd name="T10" fmla="*/ 6 w 6"/>
                  <a:gd name="T11" fmla="*/ 0 h 10"/>
                  <a:gd name="T12" fmla="*/ 2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2" y="10"/>
                    </a:moveTo>
                    <a:lnTo>
                      <a:pt x="0" y="8"/>
                    </a:lnTo>
                    <a:lnTo>
                      <a:pt x="0" y="8"/>
                    </a:lnTo>
                    <a:lnTo>
                      <a:pt x="4" y="0"/>
                    </a:lnTo>
                    <a:lnTo>
                      <a:pt x="6" y="0"/>
                    </a:lnTo>
                    <a:lnTo>
                      <a:pt x="6" y="0"/>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3" name="Freeform 133"/>
              <p:cNvSpPr/>
              <p:nvPr/>
            </p:nvSpPr>
            <p:spPr bwMode="auto">
              <a:xfrm>
                <a:off x="7758606" y="2570344"/>
                <a:ext cx="9965" cy="14860"/>
              </a:xfrm>
              <a:custGeom>
                <a:avLst/>
                <a:gdLst>
                  <a:gd name="T0" fmla="*/ 2 w 6"/>
                  <a:gd name="T1" fmla="*/ 10 h 10"/>
                  <a:gd name="T2" fmla="*/ 2 w 6"/>
                  <a:gd name="T3" fmla="*/ 10 h 10"/>
                  <a:gd name="T4" fmla="*/ 0 w 6"/>
                  <a:gd name="T5" fmla="*/ 0 h 10"/>
                  <a:gd name="T6" fmla="*/ 4 w 6"/>
                  <a:gd name="T7" fmla="*/ 0 h 10"/>
                  <a:gd name="T8" fmla="*/ 4 w 6"/>
                  <a:gd name="T9" fmla="*/ 0 h 10"/>
                  <a:gd name="T10" fmla="*/ 4 w 6"/>
                  <a:gd name="T11" fmla="*/ 0 h 10"/>
                  <a:gd name="T12" fmla="*/ 6 w 6"/>
                  <a:gd name="T13" fmla="*/ 8 h 10"/>
                  <a:gd name="T14" fmla="*/ 2 w 6"/>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0">
                    <a:moveTo>
                      <a:pt x="2" y="10"/>
                    </a:moveTo>
                    <a:lnTo>
                      <a:pt x="2" y="10"/>
                    </a:lnTo>
                    <a:lnTo>
                      <a:pt x="0" y="0"/>
                    </a:lnTo>
                    <a:lnTo>
                      <a:pt x="4" y="0"/>
                    </a:lnTo>
                    <a:lnTo>
                      <a:pt x="4" y="0"/>
                    </a:lnTo>
                    <a:lnTo>
                      <a:pt x="4" y="0"/>
                    </a:lnTo>
                    <a:lnTo>
                      <a:pt x="6" y="8"/>
                    </a:lnTo>
                    <a:lnTo>
                      <a:pt x="2"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4" name="Freeform 134"/>
              <p:cNvSpPr/>
              <p:nvPr/>
            </p:nvSpPr>
            <p:spPr bwMode="auto">
              <a:xfrm>
                <a:off x="8422942" y="2555485"/>
                <a:ext cx="6643" cy="14860"/>
              </a:xfrm>
              <a:custGeom>
                <a:avLst/>
                <a:gdLst>
                  <a:gd name="T0" fmla="*/ 4 w 4"/>
                  <a:gd name="T1" fmla="*/ 10 h 10"/>
                  <a:gd name="T2" fmla="*/ 0 w 4"/>
                  <a:gd name="T3" fmla="*/ 10 h 10"/>
                  <a:gd name="T4" fmla="*/ 2 w 4"/>
                  <a:gd name="T5" fmla="*/ 10 h 10"/>
                  <a:gd name="T6" fmla="*/ 0 w 4"/>
                  <a:gd name="T7" fmla="*/ 10 h 10"/>
                  <a:gd name="T8" fmla="*/ 0 w 4"/>
                  <a:gd name="T9" fmla="*/ 10 h 10"/>
                  <a:gd name="T10" fmla="*/ 0 w 4"/>
                  <a:gd name="T11" fmla="*/ 2 h 10"/>
                  <a:gd name="T12" fmla="*/ 2 w 4"/>
                  <a:gd name="T13" fmla="*/ 0 h 10"/>
                  <a:gd name="T14" fmla="*/ 2 w 4"/>
                  <a:gd name="T15" fmla="*/ 0 h 10"/>
                  <a:gd name="T16" fmla="*/ 4 w 4"/>
                  <a:gd name="T17" fmla="*/ 10 h 10"/>
                  <a:gd name="T18" fmla="*/ 4 w 4"/>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0">
                    <a:moveTo>
                      <a:pt x="4" y="10"/>
                    </a:moveTo>
                    <a:lnTo>
                      <a:pt x="0" y="10"/>
                    </a:lnTo>
                    <a:lnTo>
                      <a:pt x="2" y="10"/>
                    </a:lnTo>
                    <a:lnTo>
                      <a:pt x="0" y="10"/>
                    </a:lnTo>
                    <a:lnTo>
                      <a:pt x="0" y="10"/>
                    </a:lnTo>
                    <a:lnTo>
                      <a:pt x="0" y="2"/>
                    </a:lnTo>
                    <a:lnTo>
                      <a:pt x="2" y="0"/>
                    </a:lnTo>
                    <a:lnTo>
                      <a:pt x="2" y="0"/>
                    </a:lnTo>
                    <a:lnTo>
                      <a:pt x="4" y="10"/>
                    </a:lnTo>
                    <a:lnTo>
                      <a:pt x="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5" name="Freeform 135"/>
              <p:cNvSpPr/>
              <p:nvPr/>
            </p:nvSpPr>
            <p:spPr bwMode="auto">
              <a:xfrm>
                <a:off x="7761927" y="2540625"/>
                <a:ext cx="9965" cy="14860"/>
              </a:xfrm>
              <a:custGeom>
                <a:avLst/>
                <a:gdLst>
                  <a:gd name="T0" fmla="*/ 4 w 6"/>
                  <a:gd name="T1" fmla="*/ 10 h 10"/>
                  <a:gd name="T2" fmla="*/ 0 w 6"/>
                  <a:gd name="T3" fmla="*/ 10 h 10"/>
                  <a:gd name="T4" fmla="*/ 0 w 6"/>
                  <a:gd name="T5" fmla="*/ 10 h 10"/>
                  <a:gd name="T6" fmla="*/ 4 w 6"/>
                  <a:gd name="T7" fmla="*/ 0 h 10"/>
                  <a:gd name="T8" fmla="*/ 6 w 6"/>
                  <a:gd name="T9" fmla="*/ 2 h 10"/>
                  <a:gd name="T10" fmla="*/ 6 w 6"/>
                  <a:gd name="T11" fmla="*/ 2 h 10"/>
                  <a:gd name="T12" fmla="*/ 4 w 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4" y="10"/>
                    </a:moveTo>
                    <a:lnTo>
                      <a:pt x="0" y="10"/>
                    </a:lnTo>
                    <a:lnTo>
                      <a:pt x="0" y="10"/>
                    </a:lnTo>
                    <a:lnTo>
                      <a:pt x="4" y="0"/>
                    </a:lnTo>
                    <a:lnTo>
                      <a:pt x="6" y="2"/>
                    </a:lnTo>
                    <a:lnTo>
                      <a:pt x="6" y="2"/>
                    </a:lnTo>
                    <a:lnTo>
                      <a:pt x="4"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6" name="Freeform 136"/>
              <p:cNvSpPr/>
              <p:nvPr/>
            </p:nvSpPr>
            <p:spPr bwMode="auto">
              <a:xfrm>
                <a:off x="8406333" y="2531709"/>
                <a:ext cx="13287" cy="11888"/>
              </a:xfrm>
              <a:custGeom>
                <a:avLst/>
                <a:gdLst>
                  <a:gd name="T0" fmla="*/ 6 w 8"/>
                  <a:gd name="T1" fmla="*/ 8 h 8"/>
                  <a:gd name="T2" fmla="*/ 6 w 8"/>
                  <a:gd name="T3" fmla="*/ 8 h 8"/>
                  <a:gd name="T4" fmla="*/ 0 w 8"/>
                  <a:gd name="T5" fmla="*/ 2 h 8"/>
                  <a:gd name="T6" fmla="*/ 2 w 8"/>
                  <a:gd name="T7" fmla="*/ 0 h 8"/>
                  <a:gd name="T8" fmla="*/ 2 w 8"/>
                  <a:gd name="T9" fmla="*/ 0 h 8"/>
                  <a:gd name="T10" fmla="*/ 8 w 8"/>
                  <a:gd name="T11" fmla="*/ 8 h 8"/>
                  <a:gd name="T12" fmla="*/ 6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6" y="8"/>
                    </a:moveTo>
                    <a:lnTo>
                      <a:pt x="6" y="8"/>
                    </a:lnTo>
                    <a:lnTo>
                      <a:pt x="0" y="2"/>
                    </a:lnTo>
                    <a:lnTo>
                      <a:pt x="2" y="0"/>
                    </a:lnTo>
                    <a:lnTo>
                      <a:pt x="2" y="0"/>
                    </a:lnTo>
                    <a:lnTo>
                      <a:pt x="8" y="8"/>
                    </a:lnTo>
                    <a:lnTo>
                      <a:pt x="6"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7" name="Freeform 137"/>
              <p:cNvSpPr/>
              <p:nvPr/>
            </p:nvSpPr>
            <p:spPr bwMode="auto">
              <a:xfrm>
                <a:off x="7778536" y="2519821"/>
                <a:ext cx="13287" cy="11888"/>
              </a:xfrm>
              <a:custGeom>
                <a:avLst/>
                <a:gdLst>
                  <a:gd name="T0" fmla="*/ 2 w 8"/>
                  <a:gd name="T1" fmla="*/ 8 h 8"/>
                  <a:gd name="T2" fmla="*/ 0 w 8"/>
                  <a:gd name="T3" fmla="*/ 6 h 8"/>
                  <a:gd name="T4" fmla="*/ 0 w 8"/>
                  <a:gd name="T5" fmla="*/ 6 h 8"/>
                  <a:gd name="T6" fmla="*/ 6 w 8"/>
                  <a:gd name="T7" fmla="*/ 0 h 8"/>
                  <a:gd name="T8" fmla="*/ 8 w 8"/>
                  <a:gd name="T9" fmla="*/ 2 h 8"/>
                  <a:gd name="T10" fmla="*/ 8 w 8"/>
                  <a:gd name="T11" fmla="*/ 2 h 8"/>
                  <a:gd name="T12" fmla="*/ 2 w 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2" y="8"/>
                    </a:moveTo>
                    <a:lnTo>
                      <a:pt x="0" y="6"/>
                    </a:lnTo>
                    <a:lnTo>
                      <a:pt x="0" y="6"/>
                    </a:lnTo>
                    <a:lnTo>
                      <a:pt x="6" y="0"/>
                    </a:lnTo>
                    <a:lnTo>
                      <a:pt x="8" y="2"/>
                    </a:lnTo>
                    <a:lnTo>
                      <a:pt x="8" y="2"/>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8" name="Freeform 138"/>
              <p:cNvSpPr/>
              <p:nvPr/>
            </p:nvSpPr>
            <p:spPr bwMode="auto">
              <a:xfrm>
                <a:off x="8383082" y="2510906"/>
                <a:ext cx="16608" cy="11888"/>
              </a:xfrm>
              <a:custGeom>
                <a:avLst/>
                <a:gdLst>
                  <a:gd name="T0" fmla="*/ 8 w 10"/>
                  <a:gd name="T1" fmla="*/ 8 h 8"/>
                  <a:gd name="T2" fmla="*/ 8 w 10"/>
                  <a:gd name="T3" fmla="*/ 8 h 8"/>
                  <a:gd name="T4" fmla="*/ 0 w 10"/>
                  <a:gd name="T5" fmla="*/ 2 h 8"/>
                  <a:gd name="T6" fmla="*/ 2 w 10"/>
                  <a:gd name="T7" fmla="*/ 0 h 8"/>
                  <a:gd name="T8" fmla="*/ 2 w 10"/>
                  <a:gd name="T9" fmla="*/ 0 h 8"/>
                  <a:gd name="T10" fmla="*/ 10 w 10"/>
                  <a:gd name="T11" fmla="*/ 6 h 8"/>
                  <a:gd name="T12" fmla="*/ 8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8" y="8"/>
                    </a:moveTo>
                    <a:lnTo>
                      <a:pt x="8" y="8"/>
                    </a:lnTo>
                    <a:lnTo>
                      <a:pt x="0" y="2"/>
                    </a:lnTo>
                    <a:lnTo>
                      <a:pt x="2" y="0"/>
                    </a:lnTo>
                    <a:lnTo>
                      <a:pt x="2" y="0"/>
                    </a:lnTo>
                    <a:lnTo>
                      <a:pt x="10" y="6"/>
                    </a:lnTo>
                    <a:lnTo>
                      <a:pt x="8"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79" name="Freeform 139"/>
              <p:cNvSpPr/>
              <p:nvPr/>
            </p:nvSpPr>
            <p:spPr bwMode="auto">
              <a:xfrm>
                <a:off x="7801788" y="2501990"/>
                <a:ext cx="16608" cy="11888"/>
              </a:xfrm>
              <a:custGeom>
                <a:avLst/>
                <a:gdLst>
                  <a:gd name="T0" fmla="*/ 2 w 10"/>
                  <a:gd name="T1" fmla="*/ 8 h 8"/>
                  <a:gd name="T2" fmla="*/ 0 w 10"/>
                  <a:gd name="T3" fmla="*/ 6 h 8"/>
                  <a:gd name="T4" fmla="*/ 0 w 10"/>
                  <a:gd name="T5" fmla="*/ 6 h 8"/>
                  <a:gd name="T6" fmla="*/ 8 w 10"/>
                  <a:gd name="T7" fmla="*/ 0 h 8"/>
                  <a:gd name="T8" fmla="*/ 10 w 10"/>
                  <a:gd name="T9" fmla="*/ 2 h 8"/>
                  <a:gd name="T10" fmla="*/ 10 w 10"/>
                  <a:gd name="T11" fmla="*/ 2 h 8"/>
                  <a:gd name="T12" fmla="*/ 2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8"/>
                    </a:moveTo>
                    <a:lnTo>
                      <a:pt x="0" y="6"/>
                    </a:lnTo>
                    <a:lnTo>
                      <a:pt x="0" y="6"/>
                    </a:lnTo>
                    <a:lnTo>
                      <a:pt x="8" y="0"/>
                    </a:lnTo>
                    <a:lnTo>
                      <a:pt x="10" y="2"/>
                    </a:lnTo>
                    <a:lnTo>
                      <a:pt x="10" y="2"/>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0" name="Freeform 140"/>
              <p:cNvSpPr/>
              <p:nvPr/>
            </p:nvSpPr>
            <p:spPr bwMode="auto">
              <a:xfrm>
                <a:off x="8356508" y="2496046"/>
                <a:ext cx="16608" cy="8916"/>
              </a:xfrm>
              <a:custGeom>
                <a:avLst/>
                <a:gdLst>
                  <a:gd name="T0" fmla="*/ 8 w 10"/>
                  <a:gd name="T1" fmla="*/ 6 h 6"/>
                  <a:gd name="T2" fmla="*/ 8 w 10"/>
                  <a:gd name="T3" fmla="*/ 6 h 6"/>
                  <a:gd name="T4" fmla="*/ 0 w 10"/>
                  <a:gd name="T5" fmla="*/ 2 h 6"/>
                  <a:gd name="T6" fmla="*/ 2 w 10"/>
                  <a:gd name="T7" fmla="*/ 0 h 6"/>
                  <a:gd name="T8" fmla="*/ 2 w 10"/>
                  <a:gd name="T9" fmla="*/ 0 h 6"/>
                  <a:gd name="T10" fmla="*/ 10 w 10"/>
                  <a:gd name="T11" fmla="*/ 4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2" y="0"/>
                    </a:lnTo>
                    <a:lnTo>
                      <a:pt x="2" y="0"/>
                    </a:lnTo>
                    <a:lnTo>
                      <a:pt x="10" y="4"/>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1" name="Freeform 141"/>
              <p:cNvSpPr/>
              <p:nvPr/>
            </p:nvSpPr>
            <p:spPr bwMode="auto">
              <a:xfrm>
                <a:off x="7828361" y="2487130"/>
                <a:ext cx="16608" cy="11888"/>
              </a:xfrm>
              <a:custGeom>
                <a:avLst/>
                <a:gdLst>
                  <a:gd name="T0" fmla="*/ 2 w 10"/>
                  <a:gd name="T1" fmla="*/ 8 h 8"/>
                  <a:gd name="T2" fmla="*/ 0 w 10"/>
                  <a:gd name="T3" fmla="*/ 6 h 8"/>
                  <a:gd name="T4" fmla="*/ 0 w 10"/>
                  <a:gd name="T5" fmla="*/ 6 h 8"/>
                  <a:gd name="T6" fmla="*/ 10 w 10"/>
                  <a:gd name="T7" fmla="*/ 0 h 8"/>
                  <a:gd name="T8" fmla="*/ 10 w 10"/>
                  <a:gd name="T9" fmla="*/ 4 h 8"/>
                  <a:gd name="T10" fmla="*/ 10 w 10"/>
                  <a:gd name="T11" fmla="*/ 4 h 8"/>
                  <a:gd name="T12" fmla="*/ 2 w 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8"/>
                    </a:moveTo>
                    <a:lnTo>
                      <a:pt x="0" y="6"/>
                    </a:lnTo>
                    <a:lnTo>
                      <a:pt x="0" y="6"/>
                    </a:lnTo>
                    <a:lnTo>
                      <a:pt x="10" y="0"/>
                    </a:lnTo>
                    <a:lnTo>
                      <a:pt x="10" y="4"/>
                    </a:lnTo>
                    <a:lnTo>
                      <a:pt x="10" y="4"/>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2" name="Freeform 142"/>
              <p:cNvSpPr/>
              <p:nvPr/>
            </p:nvSpPr>
            <p:spPr bwMode="auto">
              <a:xfrm>
                <a:off x="8329935" y="2484158"/>
                <a:ext cx="16608" cy="8916"/>
              </a:xfrm>
              <a:custGeom>
                <a:avLst/>
                <a:gdLst>
                  <a:gd name="T0" fmla="*/ 8 w 10"/>
                  <a:gd name="T1" fmla="*/ 6 h 6"/>
                  <a:gd name="T2" fmla="*/ 8 w 10"/>
                  <a:gd name="T3" fmla="*/ 6 h 6"/>
                  <a:gd name="T4" fmla="*/ 0 w 10"/>
                  <a:gd name="T5" fmla="*/ 2 h 6"/>
                  <a:gd name="T6" fmla="*/ 0 w 10"/>
                  <a:gd name="T7" fmla="*/ 0 h 6"/>
                  <a:gd name="T8" fmla="*/ 0 w 10"/>
                  <a:gd name="T9" fmla="*/ 0 h 6"/>
                  <a:gd name="T10" fmla="*/ 10 w 10"/>
                  <a:gd name="T11" fmla="*/ 4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2"/>
                    </a:lnTo>
                    <a:lnTo>
                      <a:pt x="0" y="0"/>
                    </a:lnTo>
                    <a:lnTo>
                      <a:pt x="0" y="0"/>
                    </a:lnTo>
                    <a:lnTo>
                      <a:pt x="10" y="4"/>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3" name="Freeform 143"/>
              <p:cNvSpPr/>
              <p:nvPr/>
            </p:nvSpPr>
            <p:spPr bwMode="auto">
              <a:xfrm>
                <a:off x="7858256" y="2478214"/>
                <a:ext cx="16608" cy="8916"/>
              </a:xfrm>
              <a:custGeom>
                <a:avLst/>
                <a:gdLst>
                  <a:gd name="T0" fmla="*/ 2 w 10"/>
                  <a:gd name="T1" fmla="*/ 6 h 6"/>
                  <a:gd name="T2" fmla="*/ 0 w 10"/>
                  <a:gd name="T3" fmla="*/ 2 h 6"/>
                  <a:gd name="T4" fmla="*/ 0 w 10"/>
                  <a:gd name="T5" fmla="*/ 2 h 6"/>
                  <a:gd name="T6" fmla="*/ 10 w 10"/>
                  <a:gd name="T7" fmla="*/ 0 h 6"/>
                  <a:gd name="T8" fmla="*/ 10 w 10"/>
                  <a:gd name="T9" fmla="*/ 2 h 6"/>
                  <a:gd name="T10" fmla="*/ 10 w 10"/>
                  <a:gd name="T11" fmla="*/ 2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2"/>
                    </a:lnTo>
                    <a:lnTo>
                      <a:pt x="0" y="2"/>
                    </a:lnTo>
                    <a:lnTo>
                      <a:pt x="10" y="0"/>
                    </a:lnTo>
                    <a:lnTo>
                      <a:pt x="10" y="2"/>
                    </a:lnTo>
                    <a:lnTo>
                      <a:pt x="10" y="2"/>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4" name="Freeform 144"/>
              <p:cNvSpPr/>
              <p:nvPr/>
            </p:nvSpPr>
            <p:spPr bwMode="auto">
              <a:xfrm>
                <a:off x="8300040" y="2472271"/>
                <a:ext cx="16608" cy="8916"/>
              </a:xfrm>
              <a:custGeom>
                <a:avLst/>
                <a:gdLst>
                  <a:gd name="T0" fmla="*/ 8 w 10"/>
                  <a:gd name="T1" fmla="*/ 6 h 6"/>
                  <a:gd name="T2" fmla="*/ 8 w 10"/>
                  <a:gd name="T3" fmla="*/ 6 h 6"/>
                  <a:gd name="T4" fmla="*/ 0 w 10"/>
                  <a:gd name="T5" fmla="*/ 4 h 6"/>
                  <a:gd name="T6" fmla="*/ 0 w 10"/>
                  <a:gd name="T7" fmla="*/ 0 h 6"/>
                  <a:gd name="T8" fmla="*/ 0 w 10"/>
                  <a:gd name="T9" fmla="*/ 0 h 6"/>
                  <a:gd name="T10" fmla="*/ 10 w 10"/>
                  <a:gd name="T11" fmla="*/ 4 h 6"/>
                  <a:gd name="T12" fmla="*/ 8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8" y="6"/>
                    </a:moveTo>
                    <a:lnTo>
                      <a:pt x="8" y="6"/>
                    </a:lnTo>
                    <a:lnTo>
                      <a:pt x="0" y="4"/>
                    </a:lnTo>
                    <a:lnTo>
                      <a:pt x="0" y="0"/>
                    </a:lnTo>
                    <a:lnTo>
                      <a:pt x="0" y="0"/>
                    </a:lnTo>
                    <a:lnTo>
                      <a:pt x="10" y="4"/>
                    </a:lnTo>
                    <a:lnTo>
                      <a:pt x="8"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5" name="Freeform 145"/>
              <p:cNvSpPr/>
              <p:nvPr/>
            </p:nvSpPr>
            <p:spPr bwMode="auto">
              <a:xfrm>
                <a:off x="7888151" y="2469299"/>
                <a:ext cx="16608" cy="8916"/>
              </a:xfrm>
              <a:custGeom>
                <a:avLst/>
                <a:gdLst>
                  <a:gd name="T0" fmla="*/ 2 w 10"/>
                  <a:gd name="T1" fmla="*/ 6 h 6"/>
                  <a:gd name="T2" fmla="*/ 0 w 10"/>
                  <a:gd name="T3" fmla="*/ 2 h 6"/>
                  <a:gd name="T4" fmla="*/ 0 w 10"/>
                  <a:gd name="T5" fmla="*/ 2 h 6"/>
                  <a:gd name="T6" fmla="*/ 10 w 10"/>
                  <a:gd name="T7" fmla="*/ 0 h 6"/>
                  <a:gd name="T8" fmla="*/ 10 w 10"/>
                  <a:gd name="T9" fmla="*/ 2 h 6"/>
                  <a:gd name="T10" fmla="*/ 10 w 10"/>
                  <a:gd name="T11" fmla="*/ 2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2"/>
                    </a:lnTo>
                    <a:lnTo>
                      <a:pt x="0" y="2"/>
                    </a:lnTo>
                    <a:lnTo>
                      <a:pt x="10" y="0"/>
                    </a:lnTo>
                    <a:lnTo>
                      <a:pt x="10" y="2"/>
                    </a:lnTo>
                    <a:lnTo>
                      <a:pt x="10" y="2"/>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6" name="Freeform 146"/>
              <p:cNvSpPr/>
              <p:nvPr/>
            </p:nvSpPr>
            <p:spPr bwMode="auto">
              <a:xfrm>
                <a:off x="8266823" y="2466327"/>
                <a:ext cx="19930" cy="5944"/>
              </a:xfrm>
              <a:custGeom>
                <a:avLst/>
                <a:gdLst>
                  <a:gd name="T0" fmla="*/ 10 w 12"/>
                  <a:gd name="T1" fmla="*/ 4 h 4"/>
                  <a:gd name="T2" fmla="*/ 10 w 12"/>
                  <a:gd name="T3" fmla="*/ 4 h 4"/>
                  <a:gd name="T4" fmla="*/ 0 w 12"/>
                  <a:gd name="T5" fmla="*/ 2 h 4"/>
                  <a:gd name="T6" fmla="*/ 2 w 12"/>
                  <a:gd name="T7" fmla="*/ 0 h 4"/>
                  <a:gd name="T8" fmla="*/ 2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lnTo>
                      <a:pt x="10" y="4"/>
                    </a:lnTo>
                    <a:lnTo>
                      <a:pt x="0" y="2"/>
                    </a:lnTo>
                    <a:lnTo>
                      <a:pt x="2" y="0"/>
                    </a:lnTo>
                    <a:lnTo>
                      <a:pt x="2" y="0"/>
                    </a:lnTo>
                    <a:lnTo>
                      <a:pt x="12" y="2"/>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7" name="Freeform 147"/>
              <p:cNvSpPr/>
              <p:nvPr/>
            </p:nvSpPr>
            <p:spPr bwMode="auto">
              <a:xfrm>
                <a:off x="7918046" y="2460383"/>
                <a:ext cx="16608" cy="8916"/>
              </a:xfrm>
              <a:custGeom>
                <a:avLst/>
                <a:gdLst>
                  <a:gd name="T0" fmla="*/ 2 w 10"/>
                  <a:gd name="T1" fmla="*/ 6 h 6"/>
                  <a:gd name="T2" fmla="*/ 0 w 10"/>
                  <a:gd name="T3" fmla="*/ 4 h 6"/>
                  <a:gd name="T4" fmla="*/ 0 w 10"/>
                  <a:gd name="T5" fmla="*/ 4 h 6"/>
                  <a:gd name="T6" fmla="*/ 10 w 10"/>
                  <a:gd name="T7" fmla="*/ 0 h 6"/>
                  <a:gd name="T8" fmla="*/ 10 w 10"/>
                  <a:gd name="T9" fmla="*/ 4 h 6"/>
                  <a:gd name="T10" fmla="*/ 10 w 10"/>
                  <a:gd name="T11" fmla="*/ 4 h 6"/>
                  <a:gd name="T12" fmla="*/ 2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2" y="6"/>
                    </a:moveTo>
                    <a:lnTo>
                      <a:pt x="0" y="4"/>
                    </a:lnTo>
                    <a:lnTo>
                      <a:pt x="0" y="4"/>
                    </a:lnTo>
                    <a:lnTo>
                      <a:pt x="10" y="0"/>
                    </a:lnTo>
                    <a:lnTo>
                      <a:pt x="10" y="4"/>
                    </a:lnTo>
                    <a:lnTo>
                      <a:pt x="10" y="4"/>
                    </a:lnTo>
                    <a:lnTo>
                      <a:pt x="2"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8" name="Freeform 148"/>
              <p:cNvSpPr/>
              <p:nvPr/>
            </p:nvSpPr>
            <p:spPr bwMode="auto">
              <a:xfrm>
                <a:off x="8236928" y="2457411"/>
                <a:ext cx="16608" cy="8916"/>
              </a:xfrm>
              <a:custGeom>
                <a:avLst/>
                <a:gdLst>
                  <a:gd name="T0" fmla="*/ 10 w 10"/>
                  <a:gd name="T1" fmla="*/ 6 h 6"/>
                  <a:gd name="T2" fmla="*/ 10 w 10"/>
                  <a:gd name="T3" fmla="*/ 6 h 6"/>
                  <a:gd name="T4" fmla="*/ 0 w 10"/>
                  <a:gd name="T5" fmla="*/ 4 h 6"/>
                  <a:gd name="T6" fmla="*/ 0 w 10"/>
                  <a:gd name="T7" fmla="*/ 0 h 6"/>
                  <a:gd name="T8" fmla="*/ 0 w 10"/>
                  <a:gd name="T9" fmla="*/ 0 h 6"/>
                  <a:gd name="T10" fmla="*/ 10 w 10"/>
                  <a:gd name="T11" fmla="*/ 2 h 6"/>
                  <a:gd name="T12" fmla="*/ 10 w 10"/>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6"/>
                    </a:moveTo>
                    <a:lnTo>
                      <a:pt x="10" y="6"/>
                    </a:lnTo>
                    <a:lnTo>
                      <a:pt x="0" y="4"/>
                    </a:lnTo>
                    <a:lnTo>
                      <a:pt x="0" y="0"/>
                    </a:lnTo>
                    <a:lnTo>
                      <a:pt x="0" y="0"/>
                    </a:lnTo>
                    <a:lnTo>
                      <a:pt x="10" y="2"/>
                    </a:lnTo>
                    <a:lnTo>
                      <a:pt x="1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89" name="Freeform 149"/>
              <p:cNvSpPr/>
              <p:nvPr/>
            </p:nvSpPr>
            <p:spPr bwMode="auto">
              <a:xfrm>
                <a:off x="7951263" y="2457411"/>
                <a:ext cx="16608" cy="5944"/>
              </a:xfrm>
              <a:custGeom>
                <a:avLst/>
                <a:gdLst>
                  <a:gd name="T0" fmla="*/ 0 w 10"/>
                  <a:gd name="T1" fmla="*/ 4 h 4"/>
                  <a:gd name="T2" fmla="*/ 0 w 10"/>
                  <a:gd name="T3" fmla="*/ 0 h 4"/>
                  <a:gd name="T4" fmla="*/ 0 w 10"/>
                  <a:gd name="T5" fmla="*/ 0 h 4"/>
                  <a:gd name="T6" fmla="*/ 10 w 10"/>
                  <a:gd name="T7" fmla="*/ 0 h 4"/>
                  <a:gd name="T8" fmla="*/ 10 w 10"/>
                  <a:gd name="T9" fmla="*/ 2 h 4"/>
                  <a:gd name="T10" fmla="*/ 10 w 10"/>
                  <a:gd name="T11" fmla="*/ 2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0"/>
                    </a:lnTo>
                    <a:lnTo>
                      <a:pt x="0" y="0"/>
                    </a:lnTo>
                    <a:lnTo>
                      <a:pt x="10" y="0"/>
                    </a:lnTo>
                    <a:lnTo>
                      <a:pt x="10" y="2"/>
                    </a:lnTo>
                    <a:lnTo>
                      <a:pt x="1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0" name="Freeform 150"/>
              <p:cNvSpPr/>
              <p:nvPr/>
            </p:nvSpPr>
            <p:spPr bwMode="auto">
              <a:xfrm>
                <a:off x="8207032" y="2454439"/>
                <a:ext cx="16608" cy="5944"/>
              </a:xfrm>
              <a:custGeom>
                <a:avLst/>
                <a:gdLst>
                  <a:gd name="T0" fmla="*/ 8 w 10"/>
                  <a:gd name="T1" fmla="*/ 4 h 4"/>
                  <a:gd name="T2" fmla="*/ 8 w 10"/>
                  <a:gd name="T3" fmla="*/ 4 h 4"/>
                  <a:gd name="T4" fmla="*/ 0 w 10"/>
                  <a:gd name="T5" fmla="*/ 2 h 4"/>
                  <a:gd name="T6" fmla="*/ 0 w 10"/>
                  <a:gd name="T7" fmla="*/ 0 h 4"/>
                  <a:gd name="T8" fmla="*/ 0 w 10"/>
                  <a:gd name="T9" fmla="*/ 0 h 4"/>
                  <a:gd name="T10" fmla="*/ 10 w 10"/>
                  <a:gd name="T11" fmla="*/ 2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2"/>
                    </a:lnTo>
                    <a:lnTo>
                      <a:pt x="0" y="0"/>
                    </a:lnTo>
                    <a:lnTo>
                      <a:pt x="0" y="0"/>
                    </a:lnTo>
                    <a:lnTo>
                      <a:pt x="10" y="2"/>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1" name="Freeform 151"/>
              <p:cNvSpPr/>
              <p:nvPr/>
            </p:nvSpPr>
            <p:spPr bwMode="auto">
              <a:xfrm>
                <a:off x="7981158" y="2451467"/>
                <a:ext cx="16608" cy="5944"/>
              </a:xfrm>
              <a:custGeom>
                <a:avLst/>
                <a:gdLst>
                  <a:gd name="T0" fmla="*/ 2 w 10"/>
                  <a:gd name="T1" fmla="*/ 4 h 4"/>
                  <a:gd name="T2" fmla="*/ 0 w 10"/>
                  <a:gd name="T3" fmla="*/ 2 h 4"/>
                  <a:gd name="T4" fmla="*/ 0 w 10"/>
                  <a:gd name="T5" fmla="*/ 2 h 4"/>
                  <a:gd name="T6" fmla="*/ 10 w 10"/>
                  <a:gd name="T7" fmla="*/ 0 h 4"/>
                  <a:gd name="T8" fmla="*/ 10 w 10"/>
                  <a:gd name="T9" fmla="*/ 4 h 4"/>
                  <a:gd name="T10" fmla="*/ 10 w 10"/>
                  <a:gd name="T11" fmla="*/ 4 h 4"/>
                  <a:gd name="T12" fmla="*/ 2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2" y="4"/>
                    </a:moveTo>
                    <a:lnTo>
                      <a:pt x="0" y="2"/>
                    </a:lnTo>
                    <a:lnTo>
                      <a:pt x="0" y="2"/>
                    </a:lnTo>
                    <a:lnTo>
                      <a:pt x="10" y="0"/>
                    </a:lnTo>
                    <a:lnTo>
                      <a:pt x="10" y="4"/>
                    </a:lnTo>
                    <a:lnTo>
                      <a:pt x="10" y="4"/>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2" name="Freeform 152"/>
              <p:cNvSpPr/>
              <p:nvPr/>
            </p:nvSpPr>
            <p:spPr bwMode="auto">
              <a:xfrm>
                <a:off x="8173816" y="2451467"/>
                <a:ext cx="16608" cy="5944"/>
              </a:xfrm>
              <a:custGeom>
                <a:avLst/>
                <a:gdLst>
                  <a:gd name="T0" fmla="*/ 10 w 10"/>
                  <a:gd name="T1" fmla="*/ 4 h 4"/>
                  <a:gd name="T2" fmla="*/ 10 w 10"/>
                  <a:gd name="T3" fmla="*/ 4 h 4"/>
                  <a:gd name="T4" fmla="*/ 0 w 10"/>
                  <a:gd name="T5" fmla="*/ 2 h 4"/>
                  <a:gd name="T6" fmla="*/ 0 w 10"/>
                  <a:gd name="T7" fmla="*/ 0 h 4"/>
                  <a:gd name="T8" fmla="*/ 0 w 10"/>
                  <a:gd name="T9" fmla="*/ 0 h 4"/>
                  <a:gd name="T10" fmla="*/ 10 w 10"/>
                  <a:gd name="T11" fmla="*/ 0 h 4"/>
                  <a:gd name="T12" fmla="*/ 1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10" y="4"/>
                    </a:moveTo>
                    <a:lnTo>
                      <a:pt x="10" y="4"/>
                    </a:lnTo>
                    <a:lnTo>
                      <a:pt x="0" y="2"/>
                    </a:lnTo>
                    <a:lnTo>
                      <a:pt x="0" y="0"/>
                    </a:lnTo>
                    <a:lnTo>
                      <a:pt x="0" y="0"/>
                    </a:lnTo>
                    <a:lnTo>
                      <a:pt x="10" y="0"/>
                    </a:lnTo>
                    <a:lnTo>
                      <a:pt x="1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3" name="Freeform 153"/>
              <p:cNvSpPr/>
              <p:nvPr/>
            </p:nvSpPr>
            <p:spPr bwMode="auto">
              <a:xfrm>
                <a:off x="8014375" y="2448495"/>
                <a:ext cx="16608" cy="5944"/>
              </a:xfrm>
              <a:custGeom>
                <a:avLst/>
                <a:gdLst>
                  <a:gd name="T0" fmla="*/ 0 w 10"/>
                  <a:gd name="T1" fmla="*/ 4 h 4"/>
                  <a:gd name="T2" fmla="*/ 0 w 10"/>
                  <a:gd name="T3" fmla="*/ 2 h 4"/>
                  <a:gd name="T4" fmla="*/ 0 w 10"/>
                  <a:gd name="T5" fmla="*/ 2 h 4"/>
                  <a:gd name="T6" fmla="*/ 10 w 10"/>
                  <a:gd name="T7" fmla="*/ 0 h 4"/>
                  <a:gd name="T8" fmla="*/ 10 w 10"/>
                  <a:gd name="T9" fmla="*/ 4 h 4"/>
                  <a:gd name="T10" fmla="*/ 10 w 10"/>
                  <a:gd name="T11" fmla="*/ 4 h 4"/>
                  <a:gd name="T12" fmla="*/ 0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0" y="4"/>
                    </a:moveTo>
                    <a:lnTo>
                      <a:pt x="0" y="2"/>
                    </a:lnTo>
                    <a:lnTo>
                      <a:pt x="0" y="2"/>
                    </a:lnTo>
                    <a:lnTo>
                      <a:pt x="10" y="0"/>
                    </a:lnTo>
                    <a:lnTo>
                      <a:pt x="10" y="4"/>
                    </a:lnTo>
                    <a:lnTo>
                      <a:pt x="1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4" name="Freeform 154"/>
              <p:cNvSpPr/>
              <p:nvPr/>
            </p:nvSpPr>
            <p:spPr bwMode="auto">
              <a:xfrm>
                <a:off x="8143921" y="2448495"/>
                <a:ext cx="16608" cy="5944"/>
              </a:xfrm>
              <a:custGeom>
                <a:avLst/>
                <a:gdLst>
                  <a:gd name="T0" fmla="*/ 8 w 10"/>
                  <a:gd name="T1" fmla="*/ 4 h 4"/>
                  <a:gd name="T2" fmla="*/ 8 w 10"/>
                  <a:gd name="T3" fmla="*/ 4 h 4"/>
                  <a:gd name="T4" fmla="*/ 0 w 10"/>
                  <a:gd name="T5" fmla="*/ 2 h 4"/>
                  <a:gd name="T6" fmla="*/ 0 w 10"/>
                  <a:gd name="T7" fmla="*/ 0 h 4"/>
                  <a:gd name="T8" fmla="*/ 0 w 10"/>
                  <a:gd name="T9" fmla="*/ 0 h 4"/>
                  <a:gd name="T10" fmla="*/ 10 w 10"/>
                  <a:gd name="T11" fmla="*/ 0 h 4"/>
                  <a:gd name="T12" fmla="*/ 8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8" y="4"/>
                    </a:moveTo>
                    <a:lnTo>
                      <a:pt x="8" y="4"/>
                    </a:lnTo>
                    <a:lnTo>
                      <a:pt x="0" y="2"/>
                    </a:lnTo>
                    <a:lnTo>
                      <a:pt x="0" y="0"/>
                    </a:lnTo>
                    <a:lnTo>
                      <a:pt x="0" y="0"/>
                    </a:lnTo>
                    <a:lnTo>
                      <a:pt x="10" y="0"/>
                    </a:lnTo>
                    <a:lnTo>
                      <a:pt x="8"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5" name="Freeform 155"/>
              <p:cNvSpPr/>
              <p:nvPr/>
            </p:nvSpPr>
            <p:spPr bwMode="auto">
              <a:xfrm>
                <a:off x="8047592" y="2448495"/>
                <a:ext cx="13287" cy="2972"/>
              </a:xfrm>
              <a:custGeom>
                <a:avLst/>
                <a:gdLst>
                  <a:gd name="T0" fmla="*/ 0 w 8"/>
                  <a:gd name="T1" fmla="*/ 2 h 2"/>
                  <a:gd name="T2" fmla="*/ 0 w 8"/>
                  <a:gd name="T3" fmla="*/ 0 h 2"/>
                  <a:gd name="T4" fmla="*/ 0 w 8"/>
                  <a:gd name="T5" fmla="*/ 0 h 2"/>
                  <a:gd name="T6" fmla="*/ 8 w 8"/>
                  <a:gd name="T7" fmla="*/ 0 h 2"/>
                  <a:gd name="T8" fmla="*/ 8 w 8"/>
                  <a:gd name="T9" fmla="*/ 2 h 2"/>
                  <a:gd name="T10" fmla="*/ 8 w 8"/>
                  <a:gd name="T11" fmla="*/ 2 h 2"/>
                  <a:gd name="T12" fmla="*/ 0 w 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8" h="2">
                    <a:moveTo>
                      <a:pt x="0" y="2"/>
                    </a:moveTo>
                    <a:lnTo>
                      <a:pt x="0" y="0"/>
                    </a:lnTo>
                    <a:lnTo>
                      <a:pt x="0" y="0"/>
                    </a:lnTo>
                    <a:lnTo>
                      <a:pt x="8" y="0"/>
                    </a:lnTo>
                    <a:lnTo>
                      <a:pt x="8" y="2"/>
                    </a:lnTo>
                    <a:lnTo>
                      <a:pt x="8"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6" name="Freeform 156"/>
              <p:cNvSpPr/>
              <p:nvPr/>
            </p:nvSpPr>
            <p:spPr bwMode="auto">
              <a:xfrm>
                <a:off x="8110704" y="2448495"/>
                <a:ext cx="16608" cy="2972"/>
              </a:xfrm>
              <a:custGeom>
                <a:avLst/>
                <a:gdLst>
                  <a:gd name="T0" fmla="*/ 10 w 10"/>
                  <a:gd name="T1" fmla="*/ 2 h 2"/>
                  <a:gd name="T2" fmla="*/ 10 w 10"/>
                  <a:gd name="T3" fmla="*/ 2 h 2"/>
                  <a:gd name="T4" fmla="*/ 0 w 10"/>
                  <a:gd name="T5" fmla="*/ 2 h 2"/>
                  <a:gd name="T6" fmla="*/ 0 w 10"/>
                  <a:gd name="T7" fmla="*/ 0 h 2"/>
                  <a:gd name="T8" fmla="*/ 0 w 10"/>
                  <a:gd name="T9" fmla="*/ 0 h 2"/>
                  <a:gd name="T10" fmla="*/ 10 w 10"/>
                  <a:gd name="T11" fmla="*/ 0 h 2"/>
                  <a:gd name="T12" fmla="*/ 10 w 10"/>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10" y="2"/>
                    </a:moveTo>
                    <a:lnTo>
                      <a:pt x="10" y="2"/>
                    </a:lnTo>
                    <a:lnTo>
                      <a:pt x="0" y="2"/>
                    </a:lnTo>
                    <a:lnTo>
                      <a:pt x="0" y="0"/>
                    </a:lnTo>
                    <a:lnTo>
                      <a:pt x="0" y="0"/>
                    </a:lnTo>
                    <a:lnTo>
                      <a:pt x="10" y="0"/>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7" name="Freeform 157"/>
              <p:cNvSpPr/>
              <p:nvPr/>
            </p:nvSpPr>
            <p:spPr bwMode="auto">
              <a:xfrm>
                <a:off x="8077487" y="2445523"/>
                <a:ext cx="16608" cy="5944"/>
              </a:xfrm>
              <a:custGeom>
                <a:avLst/>
                <a:gdLst>
                  <a:gd name="T0" fmla="*/ 0 w 10"/>
                  <a:gd name="T1" fmla="*/ 4 h 4"/>
                  <a:gd name="T2" fmla="*/ 0 w 10"/>
                  <a:gd name="T3" fmla="*/ 0 h 4"/>
                  <a:gd name="T4" fmla="*/ 0 w 10"/>
                  <a:gd name="T5" fmla="*/ 0 h 4"/>
                  <a:gd name="T6" fmla="*/ 10 w 10"/>
                  <a:gd name="T7" fmla="*/ 0 h 4"/>
                  <a:gd name="T8" fmla="*/ 10 w 10"/>
                  <a:gd name="T9" fmla="*/ 0 h 4"/>
                  <a:gd name="T10" fmla="*/ 10 w 10"/>
                  <a:gd name="T11" fmla="*/ 4 h 4"/>
                  <a:gd name="T12" fmla="*/ 10 w 10"/>
                  <a:gd name="T13" fmla="*/ 4 h 4"/>
                  <a:gd name="T14" fmla="*/ 10 w 10"/>
                  <a:gd name="T15" fmla="*/ 4 h 4"/>
                  <a:gd name="T16" fmla="*/ 0 w 10"/>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
                    <a:moveTo>
                      <a:pt x="0" y="4"/>
                    </a:moveTo>
                    <a:lnTo>
                      <a:pt x="0" y="0"/>
                    </a:lnTo>
                    <a:lnTo>
                      <a:pt x="0" y="0"/>
                    </a:lnTo>
                    <a:lnTo>
                      <a:pt x="10" y="0"/>
                    </a:lnTo>
                    <a:lnTo>
                      <a:pt x="10" y="0"/>
                    </a:lnTo>
                    <a:lnTo>
                      <a:pt x="10" y="4"/>
                    </a:lnTo>
                    <a:lnTo>
                      <a:pt x="10" y="4"/>
                    </a:lnTo>
                    <a:lnTo>
                      <a:pt x="10" y="4"/>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8" name="Freeform 158"/>
              <p:cNvSpPr/>
              <p:nvPr/>
            </p:nvSpPr>
            <p:spPr bwMode="auto">
              <a:xfrm>
                <a:off x="8007732" y="2475242"/>
                <a:ext cx="195979" cy="181288"/>
              </a:xfrm>
              <a:custGeom>
                <a:avLst/>
                <a:gdLst>
                  <a:gd name="T0" fmla="*/ 80 w 118"/>
                  <a:gd name="T1" fmla="*/ 42 h 122"/>
                  <a:gd name="T2" fmla="*/ 74 w 118"/>
                  <a:gd name="T3" fmla="*/ 32 h 122"/>
                  <a:gd name="T4" fmla="*/ 58 w 118"/>
                  <a:gd name="T5" fmla="*/ 28 h 122"/>
                  <a:gd name="T6" fmla="*/ 52 w 118"/>
                  <a:gd name="T7" fmla="*/ 28 h 122"/>
                  <a:gd name="T8" fmla="*/ 48 w 118"/>
                  <a:gd name="T9" fmla="*/ 34 h 122"/>
                  <a:gd name="T10" fmla="*/ 48 w 118"/>
                  <a:gd name="T11" fmla="*/ 36 h 122"/>
                  <a:gd name="T12" fmla="*/ 58 w 118"/>
                  <a:gd name="T13" fmla="*/ 42 h 122"/>
                  <a:gd name="T14" fmla="*/ 94 w 118"/>
                  <a:gd name="T15" fmla="*/ 54 h 122"/>
                  <a:gd name="T16" fmla="*/ 114 w 118"/>
                  <a:gd name="T17" fmla="*/ 68 h 122"/>
                  <a:gd name="T18" fmla="*/ 118 w 118"/>
                  <a:gd name="T19" fmla="*/ 78 h 122"/>
                  <a:gd name="T20" fmla="*/ 118 w 118"/>
                  <a:gd name="T21" fmla="*/ 86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08 h 122"/>
                  <a:gd name="T34" fmla="*/ 34 w 118"/>
                  <a:gd name="T35" fmla="*/ 96 h 122"/>
                  <a:gd name="T36" fmla="*/ 0 w 118"/>
                  <a:gd name="T37" fmla="*/ 110 h 122"/>
                  <a:gd name="T38" fmla="*/ 34 w 118"/>
                  <a:gd name="T39" fmla="*/ 70 h 122"/>
                  <a:gd name="T40" fmla="*/ 36 w 118"/>
                  <a:gd name="T41" fmla="*/ 74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4 h 122"/>
                  <a:gd name="T66" fmla="*/ 46 w 118"/>
                  <a:gd name="T67" fmla="*/ 8 h 122"/>
                  <a:gd name="T68" fmla="*/ 52 w 118"/>
                  <a:gd name="T69" fmla="*/ 8 h 122"/>
                  <a:gd name="T70" fmla="*/ 62 w 118"/>
                  <a:gd name="T71" fmla="*/ 0 h 122"/>
                  <a:gd name="T72" fmla="*/ 62 w 118"/>
                  <a:gd name="T73" fmla="*/ 10 h 122"/>
                  <a:gd name="T74" fmla="*/ 80 w 118"/>
                  <a:gd name="T75" fmla="*/ 20 h 122"/>
                  <a:gd name="T76" fmla="*/ 108 w 118"/>
                  <a:gd name="T77" fmla="*/ 10 h 122"/>
                  <a:gd name="T78" fmla="*/ 80 w 118"/>
                  <a:gd name="T79" fmla="*/ 4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2"/>
                    </a:moveTo>
                    <a:lnTo>
                      <a:pt x="80" y="42"/>
                    </a:lnTo>
                    <a:lnTo>
                      <a:pt x="78" y="36"/>
                    </a:lnTo>
                    <a:lnTo>
                      <a:pt x="74" y="32"/>
                    </a:lnTo>
                    <a:lnTo>
                      <a:pt x="68" y="28"/>
                    </a:lnTo>
                    <a:lnTo>
                      <a:pt x="58" y="28"/>
                    </a:lnTo>
                    <a:lnTo>
                      <a:pt x="58" y="28"/>
                    </a:lnTo>
                    <a:lnTo>
                      <a:pt x="52" y="28"/>
                    </a:lnTo>
                    <a:lnTo>
                      <a:pt x="48" y="32"/>
                    </a:lnTo>
                    <a:lnTo>
                      <a:pt x="48" y="34"/>
                    </a:lnTo>
                    <a:lnTo>
                      <a:pt x="48" y="34"/>
                    </a:lnTo>
                    <a:lnTo>
                      <a:pt x="48" y="36"/>
                    </a:lnTo>
                    <a:lnTo>
                      <a:pt x="50" y="38"/>
                    </a:lnTo>
                    <a:lnTo>
                      <a:pt x="58" y="42"/>
                    </a:lnTo>
                    <a:lnTo>
                      <a:pt x="82" y="48"/>
                    </a:lnTo>
                    <a:lnTo>
                      <a:pt x="94" y="54"/>
                    </a:lnTo>
                    <a:lnTo>
                      <a:pt x="106" y="60"/>
                    </a:lnTo>
                    <a:lnTo>
                      <a:pt x="114" y="68"/>
                    </a:lnTo>
                    <a:lnTo>
                      <a:pt x="116" y="72"/>
                    </a:lnTo>
                    <a:lnTo>
                      <a:pt x="118" y="78"/>
                    </a:lnTo>
                    <a:lnTo>
                      <a:pt x="118" y="78"/>
                    </a:lnTo>
                    <a:lnTo>
                      <a:pt x="118" y="86"/>
                    </a:lnTo>
                    <a:lnTo>
                      <a:pt x="114" y="94"/>
                    </a:lnTo>
                    <a:lnTo>
                      <a:pt x="110" y="100"/>
                    </a:lnTo>
                    <a:lnTo>
                      <a:pt x="104" y="104"/>
                    </a:lnTo>
                    <a:lnTo>
                      <a:pt x="98" y="108"/>
                    </a:lnTo>
                    <a:lnTo>
                      <a:pt x="90" y="110"/>
                    </a:lnTo>
                    <a:lnTo>
                      <a:pt x="72" y="112"/>
                    </a:lnTo>
                    <a:lnTo>
                      <a:pt x="72" y="112"/>
                    </a:lnTo>
                    <a:lnTo>
                      <a:pt x="66" y="112"/>
                    </a:lnTo>
                    <a:lnTo>
                      <a:pt x="66" y="122"/>
                    </a:lnTo>
                    <a:lnTo>
                      <a:pt x="54" y="122"/>
                    </a:lnTo>
                    <a:lnTo>
                      <a:pt x="54" y="108"/>
                    </a:lnTo>
                    <a:lnTo>
                      <a:pt x="54" y="108"/>
                    </a:lnTo>
                    <a:lnTo>
                      <a:pt x="42" y="104"/>
                    </a:lnTo>
                    <a:lnTo>
                      <a:pt x="34" y="96"/>
                    </a:lnTo>
                    <a:lnTo>
                      <a:pt x="32" y="110"/>
                    </a:lnTo>
                    <a:lnTo>
                      <a:pt x="0" y="110"/>
                    </a:lnTo>
                    <a:lnTo>
                      <a:pt x="2" y="70"/>
                    </a:lnTo>
                    <a:lnTo>
                      <a:pt x="34" y="70"/>
                    </a:lnTo>
                    <a:lnTo>
                      <a:pt x="34" y="70"/>
                    </a:lnTo>
                    <a:lnTo>
                      <a:pt x="36" y="74"/>
                    </a:lnTo>
                    <a:lnTo>
                      <a:pt x="36" y="78"/>
                    </a:lnTo>
                    <a:lnTo>
                      <a:pt x="42" y="82"/>
                    </a:lnTo>
                    <a:lnTo>
                      <a:pt x="50" y="84"/>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6"/>
                    </a:lnTo>
                    <a:lnTo>
                      <a:pt x="6" y="42"/>
                    </a:lnTo>
                    <a:lnTo>
                      <a:pt x="6" y="36"/>
                    </a:lnTo>
                    <a:lnTo>
                      <a:pt x="6" y="36"/>
                    </a:lnTo>
                    <a:lnTo>
                      <a:pt x="8" y="28"/>
                    </a:lnTo>
                    <a:lnTo>
                      <a:pt x="10" y="24"/>
                    </a:lnTo>
                    <a:lnTo>
                      <a:pt x="16" y="18"/>
                    </a:lnTo>
                    <a:lnTo>
                      <a:pt x="20" y="14"/>
                    </a:lnTo>
                    <a:lnTo>
                      <a:pt x="32" y="10"/>
                    </a:lnTo>
                    <a:lnTo>
                      <a:pt x="46" y="8"/>
                    </a:lnTo>
                    <a:lnTo>
                      <a:pt x="46" y="8"/>
                    </a:lnTo>
                    <a:lnTo>
                      <a:pt x="52" y="8"/>
                    </a:lnTo>
                    <a:lnTo>
                      <a:pt x="52" y="0"/>
                    </a:lnTo>
                    <a:lnTo>
                      <a:pt x="62" y="0"/>
                    </a:lnTo>
                    <a:lnTo>
                      <a:pt x="62" y="10"/>
                    </a:lnTo>
                    <a:lnTo>
                      <a:pt x="62" y="10"/>
                    </a:lnTo>
                    <a:lnTo>
                      <a:pt x="72" y="14"/>
                    </a:lnTo>
                    <a:lnTo>
                      <a:pt x="80" y="20"/>
                    </a:lnTo>
                    <a:lnTo>
                      <a:pt x="80" y="10"/>
                    </a:lnTo>
                    <a:lnTo>
                      <a:pt x="108" y="10"/>
                    </a:lnTo>
                    <a:lnTo>
                      <a:pt x="110" y="42"/>
                    </a:lnTo>
                    <a:lnTo>
                      <a:pt x="80" y="42"/>
                    </a:lnTo>
                    <a:close/>
                  </a:path>
                </a:pathLst>
              </a:custGeom>
              <a:solidFill>
                <a:srgbClr val="D5B7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199" name="Freeform 159"/>
              <p:cNvSpPr/>
              <p:nvPr/>
            </p:nvSpPr>
            <p:spPr bwMode="auto">
              <a:xfrm>
                <a:off x="8007732" y="2475242"/>
                <a:ext cx="195979" cy="181288"/>
              </a:xfrm>
              <a:custGeom>
                <a:avLst/>
                <a:gdLst>
                  <a:gd name="T0" fmla="*/ 80 w 118"/>
                  <a:gd name="T1" fmla="*/ 42 h 122"/>
                  <a:gd name="T2" fmla="*/ 74 w 118"/>
                  <a:gd name="T3" fmla="*/ 32 h 122"/>
                  <a:gd name="T4" fmla="*/ 58 w 118"/>
                  <a:gd name="T5" fmla="*/ 28 h 122"/>
                  <a:gd name="T6" fmla="*/ 52 w 118"/>
                  <a:gd name="T7" fmla="*/ 28 h 122"/>
                  <a:gd name="T8" fmla="*/ 48 w 118"/>
                  <a:gd name="T9" fmla="*/ 34 h 122"/>
                  <a:gd name="T10" fmla="*/ 48 w 118"/>
                  <a:gd name="T11" fmla="*/ 36 h 122"/>
                  <a:gd name="T12" fmla="*/ 58 w 118"/>
                  <a:gd name="T13" fmla="*/ 42 h 122"/>
                  <a:gd name="T14" fmla="*/ 94 w 118"/>
                  <a:gd name="T15" fmla="*/ 54 h 122"/>
                  <a:gd name="T16" fmla="*/ 114 w 118"/>
                  <a:gd name="T17" fmla="*/ 68 h 122"/>
                  <a:gd name="T18" fmla="*/ 118 w 118"/>
                  <a:gd name="T19" fmla="*/ 78 h 122"/>
                  <a:gd name="T20" fmla="*/ 118 w 118"/>
                  <a:gd name="T21" fmla="*/ 86 h 122"/>
                  <a:gd name="T22" fmla="*/ 110 w 118"/>
                  <a:gd name="T23" fmla="*/ 100 h 122"/>
                  <a:gd name="T24" fmla="*/ 98 w 118"/>
                  <a:gd name="T25" fmla="*/ 108 h 122"/>
                  <a:gd name="T26" fmla="*/ 72 w 118"/>
                  <a:gd name="T27" fmla="*/ 112 h 122"/>
                  <a:gd name="T28" fmla="*/ 66 w 118"/>
                  <a:gd name="T29" fmla="*/ 112 h 122"/>
                  <a:gd name="T30" fmla="*/ 54 w 118"/>
                  <a:gd name="T31" fmla="*/ 122 h 122"/>
                  <a:gd name="T32" fmla="*/ 54 w 118"/>
                  <a:gd name="T33" fmla="*/ 108 h 122"/>
                  <a:gd name="T34" fmla="*/ 34 w 118"/>
                  <a:gd name="T35" fmla="*/ 96 h 122"/>
                  <a:gd name="T36" fmla="*/ 0 w 118"/>
                  <a:gd name="T37" fmla="*/ 110 h 122"/>
                  <a:gd name="T38" fmla="*/ 34 w 118"/>
                  <a:gd name="T39" fmla="*/ 70 h 122"/>
                  <a:gd name="T40" fmla="*/ 36 w 118"/>
                  <a:gd name="T41" fmla="*/ 74 h 122"/>
                  <a:gd name="T42" fmla="*/ 42 w 118"/>
                  <a:gd name="T43" fmla="*/ 82 h 122"/>
                  <a:gd name="T44" fmla="*/ 56 w 118"/>
                  <a:gd name="T45" fmla="*/ 86 h 122"/>
                  <a:gd name="T46" fmla="*/ 66 w 118"/>
                  <a:gd name="T47" fmla="*/ 84 h 122"/>
                  <a:gd name="T48" fmla="*/ 72 w 118"/>
                  <a:gd name="T49" fmla="*/ 78 h 122"/>
                  <a:gd name="T50" fmla="*/ 70 w 118"/>
                  <a:gd name="T51" fmla="*/ 76 h 122"/>
                  <a:gd name="T52" fmla="*/ 60 w 118"/>
                  <a:gd name="T53" fmla="*/ 72 h 122"/>
                  <a:gd name="T54" fmla="*/ 26 w 118"/>
                  <a:gd name="T55" fmla="*/ 62 h 122"/>
                  <a:gd name="T56" fmla="*/ 12 w 118"/>
                  <a:gd name="T57" fmla="*/ 52 h 122"/>
                  <a:gd name="T58" fmla="*/ 6 w 118"/>
                  <a:gd name="T59" fmla="*/ 42 h 122"/>
                  <a:gd name="T60" fmla="*/ 6 w 118"/>
                  <a:gd name="T61" fmla="*/ 36 h 122"/>
                  <a:gd name="T62" fmla="*/ 10 w 118"/>
                  <a:gd name="T63" fmla="*/ 24 h 122"/>
                  <a:gd name="T64" fmla="*/ 20 w 118"/>
                  <a:gd name="T65" fmla="*/ 14 h 122"/>
                  <a:gd name="T66" fmla="*/ 46 w 118"/>
                  <a:gd name="T67" fmla="*/ 8 h 122"/>
                  <a:gd name="T68" fmla="*/ 52 w 118"/>
                  <a:gd name="T69" fmla="*/ 8 h 122"/>
                  <a:gd name="T70" fmla="*/ 62 w 118"/>
                  <a:gd name="T71" fmla="*/ 0 h 122"/>
                  <a:gd name="T72" fmla="*/ 62 w 118"/>
                  <a:gd name="T73" fmla="*/ 10 h 122"/>
                  <a:gd name="T74" fmla="*/ 80 w 118"/>
                  <a:gd name="T75" fmla="*/ 20 h 122"/>
                  <a:gd name="T76" fmla="*/ 108 w 118"/>
                  <a:gd name="T77" fmla="*/ 10 h 122"/>
                  <a:gd name="T78" fmla="*/ 80 w 118"/>
                  <a:gd name="T79" fmla="*/ 4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 h="122">
                    <a:moveTo>
                      <a:pt x="80" y="42"/>
                    </a:moveTo>
                    <a:lnTo>
                      <a:pt x="80" y="42"/>
                    </a:lnTo>
                    <a:lnTo>
                      <a:pt x="78" y="36"/>
                    </a:lnTo>
                    <a:lnTo>
                      <a:pt x="74" y="32"/>
                    </a:lnTo>
                    <a:lnTo>
                      <a:pt x="68" y="28"/>
                    </a:lnTo>
                    <a:lnTo>
                      <a:pt x="58" y="28"/>
                    </a:lnTo>
                    <a:lnTo>
                      <a:pt x="58" y="28"/>
                    </a:lnTo>
                    <a:lnTo>
                      <a:pt x="52" y="28"/>
                    </a:lnTo>
                    <a:lnTo>
                      <a:pt x="48" y="32"/>
                    </a:lnTo>
                    <a:lnTo>
                      <a:pt x="48" y="34"/>
                    </a:lnTo>
                    <a:lnTo>
                      <a:pt x="48" y="34"/>
                    </a:lnTo>
                    <a:lnTo>
                      <a:pt x="48" y="36"/>
                    </a:lnTo>
                    <a:lnTo>
                      <a:pt x="50" y="38"/>
                    </a:lnTo>
                    <a:lnTo>
                      <a:pt x="58" y="42"/>
                    </a:lnTo>
                    <a:lnTo>
                      <a:pt x="82" y="48"/>
                    </a:lnTo>
                    <a:lnTo>
                      <a:pt x="94" y="54"/>
                    </a:lnTo>
                    <a:lnTo>
                      <a:pt x="106" y="60"/>
                    </a:lnTo>
                    <a:lnTo>
                      <a:pt x="114" y="68"/>
                    </a:lnTo>
                    <a:lnTo>
                      <a:pt x="116" y="72"/>
                    </a:lnTo>
                    <a:lnTo>
                      <a:pt x="118" y="78"/>
                    </a:lnTo>
                    <a:lnTo>
                      <a:pt x="118" y="78"/>
                    </a:lnTo>
                    <a:lnTo>
                      <a:pt x="118" y="86"/>
                    </a:lnTo>
                    <a:lnTo>
                      <a:pt x="114" y="94"/>
                    </a:lnTo>
                    <a:lnTo>
                      <a:pt x="110" y="100"/>
                    </a:lnTo>
                    <a:lnTo>
                      <a:pt x="104" y="104"/>
                    </a:lnTo>
                    <a:lnTo>
                      <a:pt x="98" y="108"/>
                    </a:lnTo>
                    <a:lnTo>
                      <a:pt x="90" y="110"/>
                    </a:lnTo>
                    <a:lnTo>
                      <a:pt x="72" y="112"/>
                    </a:lnTo>
                    <a:lnTo>
                      <a:pt x="72" y="112"/>
                    </a:lnTo>
                    <a:lnTo>
                      <a:pt x="66" y="112"/>
                    </a:lnTo>
                    <a:lnTo>
                      <a:pt x="66" y="122"/>
                    </a:lnTo>
                    <a:lnTo>
                      <a:pt x="54" y="122"/>
                    </a:lnTo>
                    <a:lnTo>
                      <a:pt x="54" y="108"/>
                    </a:lnTo>
                    <a:lnTo>
                      <a:pt x="54" y="108"/>
                    </a:lnTo>
                    <a:lnTo>
                      <a:pt x="42" y="104"/>
                    </a:lnTo>
                    <a:lnTo>
                      <a:pt x="34" y="96"/>
                    </a:lnTo>
                    <a:lnTo>
                      <a:pt x="32" y="110"/>
                    </a:lnTo>
                    <a:lnTo>
                      <a:pt x="0" y="110"/>
                    </a:lnTo>
                    <a:lnTo>
                      <a:pt x="2" y="70"/>
                    </a:lnTo>
                    <a:lnTo>
                      <a:pt x="34" y="70"/>
                    </a:lnTo>
                    <a:lnTo>
                      <a:pt x="34" y="70"/>
                    </a:lnTo>
                    <a:lnTo>
                      <a:pt x="36" y="74"/>
                    </a:lnTo>
                    <a:lnTo>
                      <a:pt x="36" y="78"/>
                    </a:lnTo>
                    <a:lnTo>
                      <a:pt x="42" y="82"/>
                    </a:lnTo>
                    <a:lnTo>
                      <a:pt x="50" y="84"/>
                    </a:lnTo>
                    <a:lnTo>
                      <a:pt x="56" y="86"/>
                    </a:lnTo>
                    <a:lnTo>
                      <a:pt x="56" y="86"/>
                    </a:lnTo>
                    <a:lnTo>
                      <a:pt x="66" y="84"/>
                    </a:lnTo>
                    <a:lnTo>
                      <a:pt x="70" y="82"/>
                    </a:lnTo>
                    <a:lnTo>
                      <a:pt x="72" y="78"/>
                    </a:lnTo>
                    <a:lnTo>
                      <a:pt x="72" y="78"/>
                    </a:lnTo>
                    <a:lnTo>
                      <a:pt x="70" y="76"/>
                    </a:lnTo>
                    <a:lnTo>
                      <a:pt x="68" y="74"/>
                    </a:lnTo>
                    <a:lnTo>
                      <a:pt x="60" y="72"/>
                    </a:lnTo>
                    <a:lnTo>
                      <a:pt x="38" y="66"/>
                    </a:lnTo>
                    <a:lnTo>
                      <a:pt x="26" y="62"/>
                    </a:lnTo>
                    <a:lnTo>
                      <a:pt x="16" y="56"/>
                    </a:lnTo>
                    <a:lnTo>
                      <a:pt x="12" y="52"/>
                    </a:lnTo>
                    <a:lnTo>
                      <a:pt x="8" y="46"/>
                    </a:lnTo>
                    <a:lnTo>
                      <a:pt x="6" y="42"/>
                    </a:lnTo>
                    <a:lnTo>
                      <a:pt x="6" y="36"/>
                    </a:lnTo>
                    <a:lnTo>
                      <a:pt x="6" y="36"/>
                    </a:lnTo>
                    <a:lnTo>
                      <a:pt x="8" y="28"/>
                    </a:lnTo>
                    <a:lnTo>
                      <a:pt x="10" y="24"/>
                    </a:lnTo>
                    <a:lnTo>
                      <a:pt x="16" y="18"/>
                    </a:lnTo>
                    <a:lnTo>
                      <a:pt x="20" y="14"/>
                    </a:lnTo>
                    <a:lnTo>
                      <a:pt x="32" y="10"/>
                    </a:lnTo>
                    <a:lnTo>
                      <a:pt x="46" y="8"/>
                    </a:lnTo>
                    <a:lnTo>
                      <a:pt x="46" y="8"/>
                    </a:lnTo>
                    <a:lnTo>
                      <a:pt x="52" y="8"/>
                    </a:lnTo>
                    <a:lnTo>
                      <a:pt x="52" y="0"/>
                    </a:lnTo>
                    <a:lnTo>
                      <a:pt x="62" y="0"/>
                    </a:lnTo>
                    <a:lnTo>
                      <a:pt x="62" y="10"/>
                    </a:lnTo>
                    <a:lnTo>
                      <a:pt x="62" y="10"/>
                    </a:lnTo>
                    <a:lnTo>
                      <a:pt x="72" y="14"/>
                    </a:lnTo>
                    <a:lnTo>
                      <a:pt x="80" y="20"/>
                    </a:lnTo>
                    <a:lnTo>
                      <a:pt x="80" y="10"/>
                    </a:lnTo>
                    <a:lnTo>
                      <a:pt x="108" y="10"/>
                    </a:lnTo>
                    <a:lnTo>
                      <a:pt x="110" y="42"/>
                    </a:lnTo>
                    <a:lnTo>
                      <a:pt x="80"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0" name="Freeform 160"/>
              <p:cNvSpPr/>
              <p:nvPr/>
            </p:nvSpPr>
            <p:spPr bwMode="auto">
              <a:xfrm>
                <a:off x="7695494" y="2591148"/>
                <a:ext cx="797203" cy="222895"/>
              </a:xfrm>
              <a:custGeom>
                <a:avLst/>
                <a:gdLst>
                  <a:gd name="T0" fmla="*/ 436 w 480"/>
                  <a:gd name="T1" fmla="*/ 48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4"/>
                    </a:lnTo>
                    <a:lnTo>
                      <a:pt x="464" y="82"/>
                    </a:lnTo>
                    <a:lnTo>
                      <a:pt x="474" y="70"/>
                    </a:lnTo>
                    <a:lnTo>
                      <a:pt x="480" y="58"/>
                    </a:lnTo>
                    <a:lnTo>
                      <a:pt x="480" y="58"/>
                    </a:lnTo>
                    <a:lnTo>
                      <a:pt x="480" y="0"/>
                    </a:lnTo>
                    <a:lnTo>
                      <a:pt x="480" y="0"/>
                    </a:lnTo>
                    <a:lnTo>
                      <a:pt x="474" y="12"/>
                    </a:lnTo>
                    <a:lnTo>
                      <a:pt x="464" y="26"/>
                    </a:lnTo>
                    <a:lnTo>
                      <a:pt x="452" y="36"/>
                    </a:lnTo>
                    <a:lnTo>
                      <a:pt x="436" y="48"/>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1" name="Freeform 161"/>
              <p:cNvSpPr/>
              <p:nvPr/>
            </p:nvSpPr>
            <p:spPr bwMode="auto">
              <a:xfrm>
                <a:off x="7695494" y="2591148"/>
                <a:ext cx="797203" cy="222895"/>
              </a:xfrm>
              <a:custGeom>
                <a:avLst/>
                <a:gdLst>
                  <a:gd name="T0" fmla="*/ 436 w 480"/>
                  <a:gd name="T1" fmla="*/ 48 h 150"/>
                  <a:gd name="T2" fmla="*/ 392 w 480"/>
                  <a:gd name="T3" fmla="*/ 68 h 150"/>
                  <a:gd name="T4" fmla="*/ 372 w 480"/>
                  <a:gd name="T5" fmla="*/ 74 h 150"/>
                  <a:gd name="T6" fmla="*/ 348 w 480"/>
                  <a:gd name="T7" fmla="*/ 80 h 150"/>
                  <a:gd name="T8" fmla="*/ 306 w 480"/>
                  <a:gd name="T9" fmla="*/ 88 h 150"/>
                  <a:gd name="T10" fmla="*/ 262 w 480"/>
                  <a:gd name="T11" fmla="*/ 92 h 150"/>
                  <a:gd name="T12" fmla="*/ 240 w 480"/>
                  <a:gd name="T13" fmla="*/ 92 h 150"/>
                  <a:gd name="T14" fmla="*/ 218 w 480"/>
                  <a:gd name="T15" fmla="*/ 92 h 150"/>
                  <a:gd name="T16" fmla="*/ 174 w 480"/>
                  <a:gd name="T17" fmla="*/ 88 h 150"/>
                  <a:gd name="T18" fmla="*/ 130 w 480"/>
                  <a:gd name="T19" fmla="*/ 80 h 150"/>
                  <a:gd name="T20" fmla="*/ 86 w 480"/>
                  <a:gd name="T21" fmla="*/ 68 h 150"/>
                  <a:gd name="T22" fmla="*/ 64 w 480"/>
                  <a:gd name="T23" fmla="*/ 58 h 150"/>
                  <a:gd name="T24" fmla="*/ 42 w 480"/>
                  <a:gd name="T25" fmla="*/ 46 h 150"/>
                  <a:gd name="T26" fmla="*/ 16 w 480"/>
                  <a:gd name="T27" fmla="*/ 24 h 150"/>
                  <a:gd name="T28" fmla="*/ 0 w 480"/>
                  <a:gd name="T29" fmla="*/ 0 h 150"/>
                  <a:gd name="T30" fmla="*/ 0 w 480"/>
                  <a:gd name="T31" fmla="*/ 58 h 150"/>
                  <a:gd name="T32" fmla="*/ 6 w 480"/>
                  <a:gd name="T33" fmla="*/ 70 h 150"/>
                  <a:gd name="T34" fmla="*/ 28 w 480"/>
                  <a:gd name="T35" fmla="*/ 92 h 150"/>
                  <a:gd name="T36" fmla="*/ 42 w 480"/>
                  <a:gd name="T37" fmla="*/ 102 h 150"/>
                  <a:gd name="T38" fmla="*/ 86 w 480"/>
                  <a:gd name="T39" fmla="*/ 124 h 150"/>
                  <a:gd name="T40" fmla="*/ 108 w 480"/>
                  <a:gd name="T41" fmla="*/ 130 h 150"/>
                  <a:gd name="T42" fmla="*/ 130 w 480"/>
                  <a:gd name="T43" fmla="*/ 138 h 150"/>
                  <a:gd name="T44" fmla="*/ 174 w 480"/>
                  <a:gd name="T45" fmla="*/ 146 h 150"/>
                  <a:gd name="T46" fmla="*/ 218 w 480"/>
                  <a:gd name="T47" fmla="*/ 150 h 150"/>
                  <a:gd name="T48" fmla="*/ 240 w 480"/>
                  <a:gd name="T49" fmla="*/ 150 h 150"/>
                  <a:gd name="T50" fmla="*/ 262 w 480"/>
                  <a:gd name="T51" fmla="*/ 150 h 150"/>
                  <a:gd name="T52" fmla="*/ 306 w 480"/>
                  <a:gd name="T53" fmla="*/ 146 h 150"/>
                  <a:gd name="T54" fmla="*/ 348 w 480"/>
                  <a:gd name="T55" fmla="*/ 138 h 150"/>
                  <a:gd name="T56" fmla="*/ 392 w 480"/>
                  <a:gd name="T57" fmla="*/ 124 h 150"/>
                  <a:gd name="T58" fmla="*/ 416 w 480"/>
                  <a:gd name="T59" fmla="*/ 114 h 150"/>
                  <a:gd name="T60" fmla="*/ 436 w 480"/>
                  <a:gd name="T61" fmla="*/ 104 h 150"/>
                  <a:gd name="T62" fmla="*/ 464 w 480"/>
                  <a:gd name="T63" fmla="*/ 82 h 150"/>
                  <a:gd name="T64" fmla="*/ 480 w 480"/>
                  <a:gd name="T65" fmla="*/ 58 h 150"/>
                  <a:gd name="T66" fmla="*/ 480 w 480"/>
                  <a:gd name="T67" fmla="*/ 0 h 150"/>
                  <a:gd name="T68" fmla="*/ 474 w 480"/>
                  <a:gd name="T69" fmla="*/ 12 h 150"/>
                  <a:gd name="T70" fmla="*/ 452 w 480"/>
                  <a:gd name="T71" fmla="*/ 36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0" h="150">
                    <a:moveTo>
                      <a:pt x="436" y="48"/>
                    </a:moveTo>
                    <a:lnTo>
                      <a:pt x="436" y="48"/>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2"/>
                    </a:lnTo>
                    <a:lnTo>
                      <a:pt x="218" y="92"/>
                    </a:lnTo>
                    <a:lnTo>
                      <a:pt x="174" y="88"/>
                    </a:lnTo>
                    <a:lnTo>
                      <a:pt x="174" y="88"/>
                    </a:lnTo>
                    <a:lnTo>
                      <a:pt x="130" y="80"/>
                    </a:lnTo>
                    <a:lnTo>
                      <a:pt x="130" y="80"/>
                    </a:lnTo>
                    <a:lnTo>
                      <a:pt x="108" y="74"/>
                    </a:lnTo>
                    <a:lnTo>
                      <a:pt x="86" y="68"/>
                    </a:lnTo>
                    <a:lnTo>
                      <a:pt x="86" y="68"/>
                    </a:lnTo>
                    <a:lnTo>
                      <a:pt x="64" y="58"/>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8"/>
                    </a:lnTo>
                    <a:lnTo>
                      <a:pt x="130" y="138"/>
                    </a:lnTo>
                    <a:lnTo>
                      <a:pt x="174" y="146"/>
                    </a:lnTo>
                    <a:lnTo>
                      <a:pt x="174" y="146"/>
                    </a:lnTo>
                    <a:lnTo>
                      <a:pt x="218" y="150"/>
                    </a:lnTo>
                    <a:lnTo>
                      <a:pt x="218" y="150"/>
                    </a:lnTo>
                    <a:lnTo>
                      <a:pt x="240" y="150"/>
                    </a:lnTo>
                    <a:lnTo>
                      <a:pt x="240" y="150"/>
                    </a:lnTo>
                    <a:lnTo>
                      <a:pt x="262" y="150"/>
                    </a:lnTo>
                    <a:lnTo>
                      <a:pt x="262" y="150"/>
                    </a:lnTo>
                    <a:lnTo>
                      <a:pt x="306" y="146"/>
                    </a:lnTo>
                    <a:lnTo>
                      <a:pt x="306" y="146"/>
                    </a:lnTo>
                    <a:lnTo>
                      <a:pt x="348" y="138"/>
                    </a:lnTo>
                    <a:lnTo>
                      <a:pt x="348" y="138"/>
                    </a:lnTo>
                    <a:lnTo>
                      <a:pt x="372" y="132"/>
                    </a:lnTo>
                    <a:lnTo>
                      <a:pt x="392" y="124"/>
                    </a:lnTo>
                    <a:lnTo>
                      <a:pt x="392" y="124"/>
                    </a:lnTo>
                    <a:lnTo>
                      <a:pt x="416" y="114"/>
                    </a:lnTo>
                    <a:lnTo>
                      <a:pt x="436" y="104"/>
                    </a:lnTo>
                    <a:lnTo>
                      <a:pt x="436" y="104"/>
                    </a:lnTo>
                    <a:lnTo>
                      <a:pt x="452" y="94"/>
                    </a:lnTo>
                    <a:lnTo>
                      <a:pt x="464" y="82"/>
                    </a:lnTo>
                    <a:lnTo>
                      <a:pt x="474" y="70"/>
                    </a:lnTo>
                    <a:lnTo>
                      <a:pt x="480" y="58"/>
                    </a:lnTo>
                    <a:lnTo>
                      <a:pt x="480" y="58"/>
                    </a:lnTo>
                    <a:lnTo>
                      <a:pt x="480" y="0"/>
                    </a:lnTo>
                    <a:lnTo>
                      <a:pt x="480" y="0"/>
                    </a:lnTo>
                    <a:lnTo>
                      <a:pt x="474" y="12"/>
                    </a:lnTo>
                    <a:lnTo>
                      <a:pt x="464" y="26"/>
                    </a:lnTo>
                    <a:lnTo>
                      <a:pt x="452" y="36"/>
                    </a:lnTo>
                    <a:lnTo>
                      <a:pt x="436" y="4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2" name="Freeform 162"/>
              <p:cNvSpPr/>
              <p:nvPr/>
            </p:nvSpPr>
            <p:spPr bwMode="auto">
              <a:xfrm>
                <a:off x="7695494" y="2320702"/>
                <a:ext cx="797203" cy="323941"/>
              </a:xfrm>
              <a:custGeom>
                <a:avLst/>
                <a:gdLst>
                  <a:gd name="T0" fmla="*/ 240 w 480"/>
                  <a:gd name="T1" fmla="*/ 0 h 218"/>
                  <a:gd name="T2" fmla="*/ 240 w 480"/>
                  <a:gd name="T3" fmla="*/ 0 h 218"/>
                  <a:gd name="T4" fmla="*/ 192 w 480"/>
                  <a:gd name="T5" fmla="*/ 2 h 218"/>
                  <a:gd name="T6" fmla="*/ 146 w 480"/>
                  <a:gd name="T7" fmla="*/ 8 h 218"/>
                  <a:gd name="T8" fmla="*/ 106 w 480"/>
                  <a:gd name="T9" fmla="*/ 18 h 218"/>
                  <a:gd name="T10" fmla="*/ 88 w 480"/>
                  <a:gd name="T11" fmla="*/ 24 h 218"/>
                  <a:gd name="T12" fmla="*/ 70 w 480"/>
                  <a:gd name="T13" fmla="*/ 32 h 218"/>
                  <a:gd name="T14" fmla="*/ 54 w 480"/>
                  <a:gd name="T15" fmla="*/ 40 h 218"/>
                  <a:gd name="T16" fmla="*/ 42 w 480"/>
                  <a:gd name="T17" fmla="*/ 48 h 218"/>
                  <a:gd name="T18" fmla="*/ 30 w 480"/>
                  <a:gd name="T19" fmla="*/ 56 h 218"/>
                  <a:gd name="T20" fmla="*/ 20 w 480"/>
                  <a:gd name="T21" fmla="*/ 66 h 218"/>
                  <a:gd name="T22" fmla="*/ 10 w 480"/>
                  <a:gd name="T23" fmla="*/ 76 h 218"/>
                  <a:gd name="T24" fmla="*/ 6 w 480"/>
                  <a:gd name="T25" fmla="*/ 86 h 218"/>
                  <a:gd name="T26" fmla="*/ 2 w 480"/>
                  <a:gd name="T27" fmla="*/ 98 h 218"/>
                  <a:gd name="T28" fmla="*/ 0 w 480"/>
                  <a:gd name="T29" fmla="*/ 110 h 218"/>
                  <a:gd name="T30" fmla="*/ 0 w 480"/>
                  <a:gd name="T31" fmla="*/ 110 h 218"/>
                  <a:gd name="T32" fmla="*/ 2 w 480"/>
                  <a:gd name="T33" fmla="*/ 120 h 218"/>
                  <a:gd name="T34" fmla="*/ 6 w 480"/>
                  <a:gd name="T35" fmla="*/ 132 h 218"/>
                  <a:gd name="T36" fmla="*/ 10 w 480"/>
                  <a:gd name="T37" fmla="*/ 142 h 218"/>
                  <a:gd name="T38" fmla="*/ 20 w 480"/>
                  <a:gd name="T39" fmla="*/ 152 h 218"/>
                  <a:gd name="T40" fmla="*/ 30 w 480"/>
                  <a:gd name="T41" fmla="*/ 162 h 218"/>
                  <a:gd name="T42" fmla="*/ 42 w 480"/>
                  <a:gd name="T43" fmla="*/ 170 h 218"/>
                  <a:gd name="T44" fmla="*/ 54 w 480"/>
                  <a:gd name="T45" fmla="*/ 178 h 218"/>
                  <a:gd name="T46" fmla="*/ 70 w 480"/>
                  <a:gd name="T47" fmla="*/ 186 h 218"/>
                  <a:gd name="T48" fmla="*/ 88 w 480"/>
                  <a:gd name="T49" fmla="*/ 194 h 218"/>
                  <a:gd name="T50" fmla="*/ 106 w 480"/>
                  <a:gd name="T51" fmla="*/ 200 h 218"/>
                  <a:gd name="T52" fmla="*/ 146 w 480"/>
                  <a:gd name="T53" fmla="*/ 210 h 218"/>
                  <a:gd name="T54" fmla="*/ 192 w 480"/>
                  <a:gd name="T55" fmla="*/ 216 h 218"/>
                  <a:gd name="T56" fmla="*/ 240 w 480"/>
                  <a:gd name="T57" fmla="*/ 218 h 218"/>
                  <a:gd name="T58" fmla="*/ 240 w 480"/>
                  <a:gd name="T59" fmla="*/ 218 h 218"/>
                  <a:gd name="T60" fmla="*/ 288 w 480"/>
                  <a:gd name="T61" fmla="*/ 216 h 218"/>
                  <a:gd name="T62" fmla="*/ 334 w 480"/>
                  <a:gd name="T63" fmla="*/ 210 h 218"/>
                  <a:gd name="T64" fmla="*/ 374 w 480"/>
                  <a:gd name="T65" fmla="*/ 200 h 218"/>
                  <a:gd name="T66" fmla="*/ 392 w 480"/>
                  <a:gd name="T67" fmla="*/ 194 h 218"/>
                  <a:gd name="T68" fmla="*/ 410 w 480"/>
                  <a:gd name="T69" fmla="*/ 186 h 218"/>
                  <a:gd name="T70" fmla="*/ 426 w 480"/>
                  <a:gd name="T71" fmla="*/ 178 h 218"/>
                  <a:gd name="T72" fmla="*/ 440 w 480"/>
                  <a:gd name="T73" fmla="*/ 170 h 218"/>
                  <a:gd name="T74" fmla="*/ 452 w 480"/>
                  <a:gd name="T75" fmla="*/ 162 h 218"/>
                  <a:gd name="T76" fmla="*/ 462 w 480"/>
                  <a:gd name="T77" fmla="*/ 152 h 218"/>
                  <a:gd name="T78" fmla="*/ 470 w 480"/>
                  <a:gd name="T79" fmla="*/ 142 h 218"/>
                  <a:gd name="T80" fmla="*/ 476 w 480"/>
                  <a:gd name="T81" fmla="*/ 132 h 218"/>
                  <a:gd name="T82" fmla="*/ 478 w 480"/>
                  <a:gd name="T83" fmla="*/ 120 h 218"/>
                  <a:gd name="T84" fmla="*/ 480 w 480"/>
                  <a:gd name="T85" fmla="*/ 110 h 218"/>
                  <a:gd name="T86" fmla="*/ 480 w 480"/>
                  <a:gd name="T87" fmla="*/ 110 h 218"/>
                  <a:gd name="T88" fmla="*/ 478 w 480"/>
                  <a:gd name="T89" fmla="*/ 98 h 218"/>
                  <a:gd name="T90" fmla="*/ 476 w 480"/>
                  <a:gd name="T91" fmla="*/ 86 h 218"/>
                  <a:gd name="T92" fmla="*/ 470 w 480"/>
                  <a:gd name="T93" fmla="*/ 76 h 218"/>
                  <a:gd name="T94" fmla="*/ 462 w 480"/>
                  <a:gd name="T95" fmla="*/ 66 h 218"/>
                  <a:gd name="T96" fmla="*/ 452 w 480"/>
                  <a:gd name="T97" fmla="*/ 56 h 218"/>
                  <a:gd name="T98" fmla="*/ 440 w 480"/>
                  <a:gd name="T99" fmla="*/ 48 h 218"/>
                  <a:gd name="T100" fmla="*/ 426 w 480"/>
                  <a:gd name="T101" fmla="*/ 40 h 218"/>
                  <a:gd name="T102" fmla="*/ 410 w 480"/>
                  <a:gd name="T103" fmla="*/ 32 h 218"/>
                  <a:gd name="T104" fmla="*/ 392 w 480"/>
                  <a:gd name="T105" fmla="*/ 24 h 218"/>
                  <a:gd name="T106" fmla="*/ 374 w 480"/>
                  <a:gd name="T107" fmla="*/ 18 h 218"/>
                  <a:gd name="T108" fmla="*/ 334 w 480"/>
                  <a:gd name="T109" fmla="*/ 8 h 218"/>
                  <a:gd name="T110" fmla="*/ 288 w 480"/>
                  <a:gd name="T111" fmla="*/ 2 h 218"/>
                  <a:gd name="T112" fmla="*/ 240 w 480"/>
                  <a:gd name="T11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18">
                    <a:moveTo>
                      <a:pt x="240" y="0"/>
                    </a:moveTo>
                    <a:lnTo>
                      <a:pt x="240" y="0"/>
                    </a:lnTo>
                    <a:lnTo>
                      <a:pt x="192" y="2"/>
                    </a:lnTo>
                    <a:lnTo>
                      <a:pt x="146" y="8"/>
                    </a:lnTo>
                    <a:lnTo>
                      <a:pt x="106" y="18"/>
                    </a:lnTo>
                    <a:lnTo>
                      <a:pt x="88" y="24"/>
                    </a:lnTo>
                    <a:lnTo>
                      <a:pt x="70" y="32"/>
                    </a:lnTo>
                    <a:lnTo>
                      <a:pt x="54" y="40"/>
                    </a:lnTo>
                    <a:lnTo>
                      <a:pt x="42" y="48"/>
                    </a:lnTo>
                    <a:lnTo>
                      <a:pt x="30" y="56"/>
                    </a:lnTo>
                    <a:lnTo>
                      <a:pt x="20" y="66"/>
                    </a:lnTo>
                    <a:lnTo>
                      <a:pt x="10" y="76"/>
                    </a:lnTo>
                    <a:lnTo>
                      <a:pt x="6" y="86"/>
                    </a:lnTo>
                    <a:lnTo>
                      <a:pt x="2" y="98"/>
                    </a:lnTo>
                    <a:lnTo>
                      <a:pt x="0" y="110"/>
                    </a:lnTo>
                    <a:lnTo>
                      <a:pt x="0" y="110"/>
                    </a:lnTo>
                    <a:lnTo>
                      <a:pt x="2" y="120"/>
                    </a:lnTo>
                    <a:lnTo>
                      <a:pt x="6" y="132"/>
                    </a:lnTo>
                    <a:lnTo>
                      <a:pt x="10" y="142"/>
                    </a:lnTo>
                    <a:lnTo>
                      <a:pt x="20" y="152"/>
                    </a:lnTo>
                    <a:lnTo>
                      <a:pt x="30" y="162"/>
                    </a:lnTo>
                    <a:lnTo>
                      <a:pt x="42" y="170"/>
                    </a:lnTo>
                    <a:lnTo>
                      <a:pt x="54" y="178"/>
                    </a:lnTo>
                    <a:lnTo>
                      <a:pt x="70" y="186"/>
                    </a:lnTo>
                    <a:lnTo>
                      <a:pt x="88" y="194"/>
                    </a:lnTo>
                    <a:lnTo>
                      <a:pt x="106" y="200"/>
                    </a:lnTo>
                    <a:lnTo>
                      <a:pt x="146" y="210"/>
                    </a:lnTo>
                    <a:lnTo>
                      <a:pt x="192" y="216"/>
                    </a:lnTo>
                    <a:lnTo>
                      <a:pt x="240" y="218"/>
                    </a:lnTo>
                    <a:lnTo>
                      <a:pt x="240" y="218"/>
                    </a:lnTo>
                    <a:lnTo>
                      <a:pt x="288" y="216"/>
                    </a:lnTo>
                    <a:lnTo>
                      <a:pt x="334" y="210"/>
                    </a:lnTo>
                    <a:lnTo>
                      <a:pt x="374" y="200"/>
                    </a:lnTo>
                    <a:lnTo>
                      <a:pt x="392" y="194"/>
                    </a:lnTo>
                    <a:lnTo>
                      <a:pt x="410" y="186"/>
                    </a:lnTo>
                    <a:lnTo>
                      <a:pt x="426" y="178"/>
                    </a:lnTo>
                    <a:lnTo>
                      <a:pt x="440" y="170"/>
                    </a:lnTo>
                    <a:lnTo>
                      <a:pt x="452" y="162"/>
                    </a:lnTo>
                    <a:lnTo>
                      <a:pt x="462" y="152"/>
                    </a:lnTo>
                    <a:lnTo>
                      <a:pt x="470" y="142"/>
                    </a:lnTo>
                    <a:lnTo>
                      <a:pt x="476" y="132"/>
                    </a:lnTo>
                    <a:lnTo>
                      <a:pt x="478" y="120"/>
                    </a:lnTo>
                    <a:lnTo>
                      <a:pt x="480" y="110"/>
                    </a:lnTo>
                    <a:lnTo>
                      <a:pt x="480" y="110"/>
                    </a:lnTo>
                    <a:lnTo>
                      <a:pt x="478" y="98"/>
                    </a:lnTo>
                    <a:lnTo>
                      <a:pt x="476" y="86"/>
                    </a:lnTo>
                    <a:lnTo>
                      <a:pt x="470" y="76"/>
                    </a:lnTo>
                    <a:lnTo>
                      <a:pt x="462" y="66"/>
                    </a:lnTo>
                    <a:lnTo>
                      <a:pt x="452" y="56"/>
                    </a:lnTo>
                    <a:lnTo>
                      <a:pt x="440" y="48"/>
                    </a:lnTo>
                    <a:lnTo>
                      <a:pt x="426" y="40"/>
                    </a:lnTo>
                    <a:lnTo>
                      <a:pt x="410" y="32"/>
                    </a:lnTo>
                    <a:lnTo>
                      <a:pt x="392" y="24"/>
                    </a:lnTo>
                    <a:lnTo>
                      <a:pt x="374" y="18"/>
                    </a:lnTo>
                    <a:lnTo>
                      <a:pt x="334" y="8"/>
                    </a:lnTo>
                    <a:lnTo>
                      <a:pt x="288" y="2"/>
                    </a:lnTo>
                    <a:lnTo>
                      <a:pt x="240" y="0"/>
                    </a:lnTo>
                    <a:close/>
                  </a:path>
                </a:pathLst>
              </a:custGeom>
              <a:solidFill>
                <a:srgbClr val="FFCD0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3" name="Freeform 163"/>
              <p:cNvSpPr/>
              <p:nvPr/>
            </p:nvSpPr>
            <p:spPr bwMode="auto">
              <a:xfrm>
                <a:off x="7695494" y="2320702"/>
                <a:ext cx="797203" cy="323941"/>
              </a:xfrm>
              <a:custGeom>
                <a:avLst/>
                <a:gdLst>
                  <a:gd name="T0" fmla="*/ 240 w 480"/>
                  <a:gd name="T1" fmla="*/ 0 h 218"/>
                  <a:gd name="T2" fmla="*/ 240 w 480"/>
                  <a:gd name="T3" fmla="*/ 0 h 218"/>
                  <a:gd name="T4" fmla="*/ 192 w 480"/>
                  <a:gd name="T5" fmla="*/ 2 h 218"/>
                  <a:gd name="T6" fmla="*/ 146 w 480"/>
                  <a:gd name="T7" fmla="*/ 8 h 218"/>
                  <a:gd name="T8" fmla="*/ 106 w 480"/>
                  <a:gd name="T9" fmla="*/ 18 h 218"/>
                  <a:gd name="T10" fmla="*/ 88 w 480"/>
                  <a:gd name="T11" fmla="*/ 24 h 218"/>
                  <a:gd name="T12" fmla="*/ 70 w 480"/>
                  <a:gd name="T13" fmla="*/ 32 h 218"/>
                  <a:gd name="T14" fmla="*/ 54 w 480"/>
                  <a:gd name="T15" fmla="*/ 40 h 218"/>
                  <a:gd name="T16" fmla="*/ 42 w 480"/>
                  <a:gd name="T17" fmla="*/ 48 h 218"/>
                  <a:gd name="T18" fmla="*/ 30 w 480"/>
                  <a:gd name="T19" fmla="*/ 56 h 218"/>
                  <a:gd name="T20" fmla="*/ 20 w 480"/>
                  <a:gd name="T21" fmla="*/ 66 h 218"/>
                  <a:gd name="T22" fmla="*/ 10 w 480"/>
                  <a:gd name="T23" fmla="*/ 76 h 218"/>
                  <a:gd name="T24" fmla="*/ 6 w 480"/>
                  <a:gd name="T25" fmla="*/ 86 h 218"/>
                  <a:gd name="T26" fmla="*/ 2 w 480"/>
                  <a:gd name="T27" fmla="*/ 98 h 218"/>
                  <a:gd name="T28" fmla="*/ 0 w 480"/>
                  <a:gd name="T29" fmla="*/ 110 h 218"/>
                  <a:gd name="T30" fmla="*/ 0 w 480"/>
                  <a:gd name="T31" fmla="*/ 110 h 218"/>
                  <a:gd name="T32" fmla="*/ 2 w 480"/>
                  <a:gd name="T33" fmla="*/ 120 h 218"/>
                  <a:gd name="T34" fmla="*/ 6 w 480"/>
                  <a:gd name="T35" fmla="*/ 132 h 218"/>
                  <a:gd name="T36" fmla="*/ 10 w 480"/>
                  <a:gd name="T37" fmla="*/ 142 h 218"/>
                  <a:gd name="T38" fmla="*/ 20 w 480"/>
                  <a:gd name="T39" fmla="*/ 152 h 218"/>
                  <a:gd name="T40" fmla="*/ 30 w 480"/>
                  <a:gd name="T41" fmla="*/ 162 h 218"/>
                  <a:gd name="T42" fmla="*/ 42 w 480"/>
                  <a:gd name="T43" fmla="*/ 170 h 218"/>
                  <a:gd name="T44" fmla="*/ 54 w 480"/>
                  <a:gd name="T45" fmla="*/ 178 h 218"/>
                  <a:gd name="T46" fmla="*/ 70 w 480"/>
                  <a:gd name="T47" fmla="*/ 186 h 218"/>
                  <a:gd name="T48" fmla="*/ 88 w 480"/>
                  <a:gd name="T49" fmla="*/ 194 h 218"/>
                  <a:gd name="T50" fmla="*/ 106 w 480"/>
                  <a:gd name="T51" fmla="*/ 200 h 218"/>
                  <a:gd name="T52" fmla="*/ 146 w 480"/>
                  <a:gd name="T53" fmla="*/ 210 h 218"/>
                  <a:gd name="T54" fmla="*/ 192 w 480"/>
                  <a:gd name="T55" fmla="*/ 216 h 218"/>
                  <a:gd name="T56" fmla="*/ 240 w 480"/>
                  <a:gd name="T57" fmla="*/ 218 h 218"/>
                  <a:gd name="T58" fmla="*/ 240 w 480"/>
                  <a:gd name="T59" fmla="*/ 218 h 218"/>
                  <a:gd name="T60" fmla="*/ 288 w 480"/>
                  <a:gd name="T61" fmla="*/ 216 h 218"/>
                  <a:gd name="T62" fmla="*/ 334 w 480"/>
                  <a:gd name="T63" fmla="*/ 210 h 218"/>
                  <a:gd name="T64" fmla="*/ 374 w 480"/>
                  <a:gd name="T65" fmla="*/ 200 h 218"/>
                  <a:gd name="T66" fmla="*/ 392 w 480"/>
                  <a:gd name="T67" fmla="*/ 194 h 218"/>
                  <a:gd name="T68" fmla="*/ 410 w 480"/>
                  <a:gd name="T69" fmla="*/ 186 h 218"/>
                  <a:gd name="T70" fmla="*/ 426 w 480"/>
                  <a:gd name="T71" fmla="*/ 178 h 218"/>
                  <a:gd name="T72" fmla="*/ 440 w 480"/>
                  <a:gd name="T73" fmla="*/ 170 h 218"/>
                  <a:gd name="T74" fmla="*/ 452 w 480"/>
                  <a:gd name="T75" fmla="*/ 162 h 218"/>
                  <a:gd name="T76" fmla="*/ 462 w 480"/>
                  <a:gd name="T77" fmla="*/ 152 h 218"/>
                  <a:gd name="T78" fmla="*/ 470 w 480"/>
                  <a:gd name="T79" fmla="*/ 142 h 218"/>
                  <a:gd name="T80" fmla="*/ 476 w 480"/>
                  <a:gd name="T81" fmla="*/ 132 h 218"/>
                  <a:gd name="T82" fmla="*/ 478 w 480"/>
                  <a:gd name="T83" fmla="*/ 120 h 218"/>
                  <a:gd name="T84" fmla="*/ 480 w 480"/>
                  <a:gd name="T85" fmla="*/ 110 h 218"/>
                  <a:gd name="T86" fmla="*/ 480 w 480"/>
                  <a:gd name="T87" fmla="*/ 110 h 218"/>
                  <a:gd name="T88" fmla="*/ 478 w 480"/>
                  <a:gd name="T89" fmla="*/ 98 h 218"/>
                  <a:gd name="T90" fmla="*/ 476 w 480"/>
                  <a:gd name="T91" fmla="*/ 86 h 218"/>
                  <a:gd name="T92" fmla="*/ 470 w 480"/>
                  <a:gd name="T93" fmla="*/ 76 h 218"/>
                  <a:gd name="T94" fmla="*/ 462 w 480"/>
                  <a:gd name="T95" fmla="*/ 66 h 218"/>
                  <a:gd name="T96" fmla="*/ 452 w 480"/>
                  <a:gd name="T97" fmla="*/ 56 h 218"/>
                  <a:gd name="T98" fmla="*/ 440 w 480"/>
                  <a:gd name="T99" fmla="*/ 48 h 218"/>
                  <a:gd name="T100" fmla="*/ 426 w 480"/>
                  <a:gd name="T101" fmla="*/ 40 h 218"/>
                  <a:gd name="T102" fmla="*/ 410 w 480"/>
                  <a:gd name="T103" fmla="*/ 32 h 218"/>
                  <a:gd name="T104" fmla="*/ 392 w 480"/>
                  <a:gd name="T105" fmla="*/ 24 h 218"/>
                  <a:gd name="T106" fmla="*/ 374 w 480"/>
                  <a:gd name="T107" fmla="*/ 18 h 218"/>
                  <a:gd name="T108" fmla="*/ 334 w 480"/>
                  <a:gd name="T109" fmla="*/ 8 h 218"/>
                  <a:gd name="T110" fmla="*/ 288 w 480"/>
                  <a:gd name="T111" fmla="*/ 2 h 218"/>
                  <a:gd name="T112" fmla="*/ 240 w 480"/>
                  <a:gd name="T11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0" h="218">
                    <a:moveTo>
                      <a:pt x="240" y="0"/>
                    </a:moveTo>
                    <a:lnTo>
                      <a:pt x="240" y="0"/>
                    </a:lnTo>
                    <a:lnTo>
                      <a:pt x="192" y="2"/>
                    </a:lnTo>
                    <a:lnTo>
                      <a:pt x="146" y="8"/>
                    </a:lnTo>
                    <a:lnTo>
                      <a:pt x="106" y="18"/>
                    </a:lnTo>
                    <a:lnTo>
                      <a:pt x="88" y="24"/>
                    </a:lnTo>
                    <a:lnTo>
                      <a:pt x="70" y="32"/>
                    </a:lnTo>
                    <a:lnTo>
                      <a:pt x="54" y="40"/>
                    </a:lnTo>
                    <a:lnTo>
                      <a:pt x="42" y="48"/>
                    </a:lnTo>
                    <a:lnTo>
                      <a:pt x="30" y="56"/>
                    </a:lnTo>
                    <a:lnTo>
                      <a:pt x="20" y="66"/>
                    </a:lnTo>
                    <a:lnTo>
                      <a:pt x="10" y="76"/>
                    </a:lnTo>
                    <a:lnTo>
                      <a:pt x="6" y="86"/>
                    </a:lnTo>
                    <a:lnTo>
                      <a:pt x="2" y="98"/>
                    </a:lnTo>
                    <a:lnTo>
                      <a:pt x="0" y="110"/>
                    </a:lnTo>
                    <a:lnTo>
                      <a:pt x="0" y="110"/>
                    </a:lnTo>
                    <a:lnTo>
                      <a:pt x="2" y="120"/>
                    </a:lnTo>
                    <a:lnTo>
                      <a:pt x="6" y="132"/>
                    </a:lnTo>
                    <a:lnTo>
                      <a:pt x="10" y="142"/>
                    </a:lnTo>
                    <a:lnTo>
                      <a:pt x="20" y="152"/>
                    </a:lnTo>
                    <a:lnTo>
                      <a:pt x="30" y="162"/>
                    </a:lnTo>
                    <a:lnTo>
                      <a:pt x="42" y="170"/>
                    </a:lnTo>
                    <a:lnTo>
                      <a:pt x="54" y="178"/>
                    </a:lnTo>
                    <a:lnTo>
                      <a:pt x="70" y="186"/>
                    </a:lnTo>
                    <a:lnTo>
                      <a:pt x="88" y="194"/>
                    </a:lnTo>
                    <a:lnTo>
                      <a:pt x="106" y="200"/>
                    </a:lnTo>
                    <a:lnTo>
                      <a:pt x="146" y="210"/>
                    </a:lnTo>
                    <a:lnTo>
                      <a:pt x="192" y="216"/>
                    </a:lnTo>
                    <a:lnTo>
                      <a:pt x="240" y="218"/>
                    </a:lnTo>
                    <a:lnTo>
                      <a:pt x="240" y="218"/>
                    </a:lnTo>
                    <a:lnTo>
                      <a:pt x="288" y="216"/>
                    </a:lnTo>
                    <a:lnTo>
                      <a:pt x="334" y="210"/>
                    </a:lnTo>
                    <a:lnTo>
                      <a:pt x="374" y="200"/>
                    </a:lnTo>
                    <a:lnTo>
                      <a:pt x="392" y="194"/>
                    </a:lnTo>
                    <a:lnTo>
                      <a:pt x="410" y="186"/>
                    </a:lnTo>
                    <a:lnTo>
                      <a:pt x="426" y="178"/>
                    </a:lnTo>
                    <a:lnTo>
                      <a:pt x="440" y="170"/>
                    </a:lnTo>
                    <a:lnTo>
                      <a:pt x="452" y="162"/>
                    </a:lnTo>
                    <a:lnTo>
                      <a:pt x="462" y="152"/>
                    </a:lnTo>
                    <a:lnTo>
                      <a:pt x="470" y="142"/>
                    </a:lnTo>
                    <a:lnTo>
                      <a:pt x="476" y="132"/>
                    </a:lnTo>
                    <a:lnTo>
                      <a:pt x="478" y="120"/>
                    </a:lnTo>
                    <a:lnTo>
                      <a:pt x="480" y="110"/>
                    </a:lnTo>
                    <a:lnTo>
                      <a:pt x="480" y="110"/>
                    </a:lnTo>
                    <a:lnTo>
                      <a:pt x="478" y="98"/>
                    </a:lnTo>
                    <a:lnTo>
                      <a:pt x="476" y="86"/>
                    </a:lnTo>
                    <a:lnTo>
                      <a:pt x="470" y="76"/>
                    </a:lnTo>
                    <a:lnTo>
                      <a:pt x="462" y="66"/>
                    </a:lnTo>
                    <a:lnTo>
                      <a:pt x="452" y="56"/>
                    </a:lnTo>
                    <a:lnTo>
                      <a:pt x="440" y="48"/>
                    </a:lnTo>
                    <a:lnTo>
                      <a:pt x="426" y="40"/>
                    </a:lnTo>
                    <a:lnTo>
                      <a:pt x="410" y="32"/>
                    </a:lnTo>
                    <a:lnTo>
                      <a:pt x="392" y="24"/>
                    </a:lnTo>
                    <a:lnTo>
                      <a:pt x="374" y="18"/>
                    </a:lnTo>
                    <a:lnTo>
                      <a:pt x="334" y="8"/>
                    </a:lnTo>
                    <a:lnTo>
                      <a:pt x="288" y="2"/>
                    </a:lnTo>
                    <a:lnTo>
                      <a:pt x="2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4" name="Freeform 164"/>
              <p:cNvSpPr/>
              <p:nvPr/>
            </p:nvSpPr>
            <p:spPr bwMode="auto">
              <a:xfrm>
                <a:off x="7761927" y="2347449"/>
                <a:ext cx="664336" cy="240727"/>
              </a:xfrm>
              <a:custGeom>
                <a:avLst/>
                <a:gdLst>
                  <a:gd name="T0" fmla="*/ 200 w 400"/>
                  <a:gd name="T1" fmla="*/ 0 h 162"/>
                  <a:gd name="T2" fmla="*/ 200 w 400"/>
                  <a:gd name="T3" fmla="*/ 0 h 162"/>
                  <a:gd name="T4" fmla="*/ 160 w 400"/>
                  <a:gd name="T5" fmla="*/ 2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50 h 162"/>
                  <a:gd name="T18" fmla="*/ 10 w 400"/>
                  <a:gd name="T19" fmla="*/ 58 h 162"/>
                  <a:gd name="T20" fmla="*/ 4 w 400"/>
                  <a:gd name="T21" fmla="*/ 64 h 162"/>
                  <a:gd name="T22" fmla="*/ 2 w 400"/>
                  <a:gd name="T23" fmla="*/ 72 h 162"/>
                  <a:gd name="T24" fmla="*/ 0 w 400"/>
                  <a:gd name="T25" fmla="*/ 82 h 162"/>
                  <a:gd name="T26" fmla="*/ 0 w 400"/>
                  <a:gd name="T27" fmla="*/ 82 h 162"/>
                  <a:gd name="T28" fmla="*/ 2 w 400"/>
                  <a:gd name="T29" fmla="*/ 90 h 162"/>
                  <a:gd name="T30" fmla="*/ 4 w 400"/>
                  <a:gd name="T31" fmla="*/ 98 h 162"/>
                  <a:gd name="T32" fmla="*/ 10 w 400"/>
                  <a:gd name="T33" fmla="*/ 106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2 h 162"/>
                  <a:gd name="T48" fmla="*/ 200 w 400"/>
                  <a:gd name="T49" fmla="*/ 162 h 162"/>
                  <a:gd name="T50" fmla="*/ 200 w 400"/>
                  <a:gd name="T51" fmla="*/ 162 h 162"/>
                  <a:gd name="T52" fmla="*/ 240 w 400"/>
                  <a:gd name="T53" fmla="*/ 162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6 h 162"/>
                  <a:gd name="T68" fmla="*/ 396 w 400"/>
                  <a:gd name="T69" fmla="*/ 98 h 162"/>
                  <a:gd name="T70" fmla="*/ 400 w 400"/>
                  <a:gd name="T71" fmla="*/ 90 h 162"/>
                  <a:gd name="T72" fmla="*/ 400 w 400"/>
                  <a:gd name="T73" fmla="*/ 82 h 162"/>
                  <a:gd name="T74" fmla="*/ 400 w 400"/>
                  <a:gd name="T75" fmla="*/ 82 h 162"/>
                  <a:gd name="T76" fmla="*/ 400 w 400"/>
                  <a:gd name="T77" fmla="*/ 72 h 162"/>
                  <a:gd name="T78" fmla="*/ 396 w 400"/>
                  <a:gd name="T79" fmla="*/ 64 h 162"/>
                  <a:gd name="T80" fmla="*/ 392 w 400"/>
                  <a:gd name="T81" fmla="*/ 58 h 162"/>
                  <a:gd name="T82" fmla="*/ 384 w 400"/>
                  <a:gd name="T83" fmla="*/ 50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2 h 162"/>
                  <a:gd name="T96" fmla="*/ 200 w 400"/>
                  <a:gd name="T9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2">
                    <a:moveTo>
                      <a:pt x="200" y="0"/>
                    </a:moveTo>
                    <a:lnTo>
                      <a:pt x="200" y="0"/>
                    </a:lnTo>
                    <a:lnTo>
                      <a:pt x="160" y="2"/>
                    </a:lnTo>
                    <a:lnTo>
                      <a:pt x="122" y="6"/>
                    </a:lnTo>
                    <a:lnTo>
                      <a:pt x="88" y="14"/>
                    </a:lnTo>
                    <a:lnTo>
                      <a:pt x="58" y="24"/>
                    </a:lnTo>
                    <a:lnTo>
                      <a:pt x="34" y="36"/>
                    </a:lnTo>
                    <a:lnTo>
                      <a:pt x="24" y="42"/>
                    </a:lnTo>
                    <a:lnTo>
                      <a:pt x="16" y="50"/>
                    </a:lnTo>
                    <a:lnTo>
                      <a:pt x="10" y="58"/>
                    </a:lnTo>
                    <a:lnTo>
                      <a:pt x="4" y="64"/>
                    </a:lnTo>
                    <a:lnTo>
                      <a:pt x="2" y="72"/>
                    </a:lnTo>
                    <a:lnTo>
                      <a:pt x="0" y="82"/>
                    </a:lnTo>
                    <a:lnTo>
                      <a:pt x="0" y="82"/>
                    </a:lnTo>
                    <a:lnTo>
                      <a:pt x="2" y="90"/>
                    </a:lnTo>
                    <a:lnTo>
                      <a:pt x="4" y="98"/>
                    </a:lnTo>
                    <a:lnTo>
                      <a:pt x="10" y="106"/>
                    </a:lnTo>
                    <a:lnTo>
                      <a:pt x="16" y="112"/>
                    </a:lnTo>
                    <a:lnTo>
                      <a:pt x="24" y="120"/>
                    </a:lnTo>
                    <a:lnTo>
                      <a:pt x="34" y="126"/>
                    </a:lnTo>
                    <a:lnTo>
                      <a:pt x="58" y="138"/>
                    </a:lnTo>
                    <a:lnTo>
                      <a:pt x="88" y="148"/>
                    </a:lnTo>
                    <a:lnTo>
                      <a:pt x="122" y="156"/>
                    </a:lnTo>
                    <a:lnTo>
                      <a:pt x="160" y="162"/>
                    </a:lnTo>
                    <a:lnTo>
                      <a:pt x="200" y="162"/>
                    </a:lnTo>
                    <a:lnTo>
                      <a:pt x="200" y="162"/>
                    </a:lnTo>
                    <a:lnTo>
                      <a:pt x="240" y="162"/>
                    </a:lnTo>
                    <a:lnTo>
                      <a:pt x="278" y="156"/>
                    </a:lnTo>
                    <a:lnTo>
                      <a:pt x="312" y="148"/>
                    </a:lnTo>
                    <a:lnTo>
                      <a:pt x="342" y="138"/>
                    </a:lnTo>
                    <a:lnTo>
                      <a:pt x="366" y="126"/>
                    </a:lnTo>
                    <a:lnTo>
                      <a:pt x="376" y="120"/>
                    </a:lnTo>
                    <a:lnTo>
                      <a:pt x="384" y="112"/>
                    </a:lnTo>
                    <a:lnTo>
                      <a:pt x="392" y="106"/>
                    </a:lnTo>
                    <a:lnTo>
                      <a:pt x="396" y="98"/>
                    </a:lnTo>
                    <a:lnTo>
                      <a:pt x="400" y="90"/>
                    </a:lnTo>
                    <a:lnTo>
                      <a:pt x="400" y="82"/>
                    </a:lnTo>
                    <a:lnTo>
                      <a:pt x="400" y="82"/>
                    </a:lnTo>
                    <a:lnTo>
                      <a:pt x="400" y="72"/>
                    </a:lnTo>
                    <a:lnTo>
                      <a:pt x="396" y="64"/>
                    </a:lnTo>
                    <a:lnTo>
                      <a:pt x="392" y="58"/>
                    </a:lnTo>
                    <a:lnTo>
                      <a:pt x="384" y="50"/>
                    </a:lnTo>
                    <a:lnTo>
                      <a:pt x="376" y="42"/>
                    </a:lnTo>
                    <a:lnTo>
                      <a:pt x="366" y="36"/>
                    </a:lnTo>
                    <a:lnTo>
                      <a:pt x="342" y="24"/>
                    </a:lnTo>
                    <a:lnTo>
                      <a:pt x="312" y="14"/>
                    </a:lnTo>
                    <a:lnTo>
                      <a:pt x="278" y="6"/>
                    </a:lnTo>
                    <a:lnTo>
                      <a:pt x="240" y="2"/>
                    </a:lnTo>
                    <a:lnTo>
                      <a:pt x="200" y="0"/>
                    </a:lnTo>
                    <a:close/>
                  </a:path>
                </a:pathLst>
              </a:custGeom>
              <a:solidFill>
                <a:srgbClr val="FFD5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5" name="Freeform 165"/>
              <p:cNvSpPr/>
              <p:nvPr/>
            </p:nvSpPr>
            <p:spPr bwMode="auto">
              <a:xfrm>
                <a:off x="7761927" y="2347449"/>
                <a:ext cx="664336" cy="240727"/>
              </a:xfrm>
              <a:custGeom>
                <a:avLst/>
                <a:gdLst>
                  <a:gd name="T0" fmla="*/ 200 w 400"/>
                  <a:gd name="T1" fmla="*/ 0 h 162"/>
                  <a:gd name="T2" fmla="*/ 200 w 400"/>
                  <a:gd name="T3" fmla="*/ 0 h 162"/>
                  <a:gd name="T4" fmla="*/ 160 w 400"/>
                  <a:gd name="T5" fmla="*/ 2 h 162"/>
                  <a:gd name="T6" fmla="*/ 122 w 400"/>
                  <a:gd name="T7" fmla="*/ 6 h 162"/>
                  <a:gd name="T8" fmla="*/ 88 w 400"/>
                  <a:gd name="T9" fmla="*/ 14 h 162"/>
                  <a:gd name="T10" fmla="*/ 58 w 400"/>
                  <a:gd name="T11" fmla="*/ 24 h 162"/>
                  <a:gd name="T12" fmla="*/ 34 w 400"/>
                  <a:gd name="T13" fmla="*/ 36 h 162"/>
                  <a:gd name="T14" fmla="*/ 24 w 400"/>
                  <a:gd name="T15" fmla="*/ 42 h 162"/>
                  <a:gd name="T16" fmla="*/ 16 w 400"/>
                  <a:gd name="T17" fmla="*/ 50 h 162"/>
                  <a:gd name="T18" fmla="*/ 10 w 400"/>
                  <a:gd name="T19" fmla="*/ 58 h 162"/>
                  <a:gd name="T20" fmla="*/ 4 w 400"/>
                  <a:gd name="T21" fmla="*/ 64 h 162"/>
                  <a:gd name="T22" fmla="*/ 2 w 400"/>
                  <a:gd name="T23" fmla="*/ 72 h 162"/>
                  <a:gd name="T24" fmla="*/ 0 w 400"/>
                  <a:gd name="T25" fmla="*/ 82 h 162"/>
                  <a:gd name="T26" fmla="*/ 0 w 400"/>
                  <a:gd name="T27" fmla="*/ 82 h 162"/>
                  <a:gd name="T28" fmla="*/ 2 w 400"/>
                  <a:gd name="T29" fmla="*/ 90 h 162"/>
                  <a:gd name="T30" fmla="*/ 4 w 400"/>
                  <a:gd name="T31" fmla="*/ 98 h 162"/>
                  <a:gd name="T32" fmla="*/ 10 w 400"/>
                  <a:gd name="T33" fmla="*/ 106 h 162"/>
                  <a:gd name="T34" fmla="*/ 16 w 400"/>
                  <a:gd name="T35" fmla="*/ 112 h 162"/>
                  <a:gd name="T36" fmla="*/ 24 w 400"/>
                  <a:gd name="T37" fmla="*/ 120 h 162"/>
                  <a:gd name="T38" fmla="*/ 34 w 400"/>
                  <a:gd name="T39" fmla="*/ 126 h 162"/>
                  <a:gd name="T40" fmla="*/ 58 w 400"/>
                  <a:gd name="T41" fmla="*/ 138 h 162"/>
                  <a:gd name="T42" fmla="*/ 88 w 400"/>
                  <a:gd name="T43" fmla="*/ 148 h 162"/>
                  <a:gd name="T44" fmla="*/ 122 w 400"/>
                  <a:gd name="T45" fmla="*/ 156 h 162"/>
                  <a:gd name="T46" fmla="*/ 160 w 400"/>
                  <a:gd name="T47" fmla="*/ 162 h 162"/>
                  <a:gd name="T48" fmla="*/ 200 w 400"/>
                  <a:gd name="T49" fmla="*/ 162 h 162"/>
                  <a:gd name="T50" fmla="*/ 200 w 400"/>
                  <a:gd name="T51" fmla="*/ 162 h 162"/>
                  <a:gd name="T52" fmla="*/ 240 w 400"/>
                  <a:gd name="T53" fmla="*/ 162 h 162"/>
                  <a:gd name="T54" fmla="*/ 278 w 400"/>
                  <a:gd name="T55" fmla="*/ 156 h 162"/>
                  <a:gd name="T56" fmla="*/ 312 w 400"/>
                  <a:gd name="T57" fmla="*/ 148 h 162"/>
                  <a:gd name="T58" fmla="*/ 342 w 400"/>
                  <a:gd name="T59" fmla="*/ 138 h 162"/>
                  <a:gd name="T60" fmla="*/ 366 w 400"/>
                  <a:gd name="T61" fmla="*/ 126 h 162"/>
                  <a:gd name="T62" fmla="*/ 376 w 400"/>
                  <a:gd name="T63" fmla="*/ 120 h 162"/>
                  <a:gd name="T64" fmla="*/ 384 w 400"/>
                  <a:gd name="T65" fmla="*/ 112 h 162"/>
                  <a:gd name="T66" fmla="*/ 392 w 400"/>
                  <a:gd name="T67" fmla="*/ 106 h 162"/>
                  <a:gd name="T68" fmla="*/ 396 w 400"/>
                  <a:gd name="T69" fmla="*/ 98 h 162"/>
                  <a:gd name="T70" fmla="*/ 400 w 400"/>
                  <a:gd name="T71" fmla="*/ 90 h 162"/>
                  <a:gd name="T72" fmla="*/ 400 w 400"/>
                  <a:gd name="T73" fmla="*/ 82 h 162"/>
                  <a:gd name="T74" fmla="*/ 400 w 400"/>
                  <a:gd name="T75" fmla="*/ 82 h 162"/>
                  <a:gd name="T76" fmla="*/ 400 w 400"/>
                  <a:gd name="T77" fmla="*/ 72 h 162"/>
                  <a:gd name="T78" fmla="*/ 396 w 400"/>
                  <a:gd name="T79" fmla="*/ 64 h 162"/>
                  <a:gd name="T80" fmla="*/ 392 w 400"/>
                  <a:gd name="T81" fmla="*/ 58 h 162"/>
                  <a:gd name="T82" fmla="*/ 384 w 400"/>
                  <a:gd name="T83" fmla="*/ 50 h 162"/>
                  <a:gd name="T84" fmla="*/ 376 w 400"/>
                  <a:gd name="T85" fmla="*/ 42 h 162"/>
                  <a:gd name="T86" fmla="*/ 366 w 400"/>
                  <a:gd name="T87" fmla="*/ 36 h 162"/>
                  <a:gd name="T88" fmla="*/ 342 w 400"/>
                  <a:gd name="T89" fmla="*/ 24 h 162"/>
                  <a:gd name="T90" fmla="*/ 312 w 400"/>
                  <a:gd name="T91" fmla="*/ 14 h 162"/>
                  <a:gd name="T92" fmla="*/ 278 w 400"/>
                  <a:gd name="T93" fmla="*/ 6 h 162"/>
                  <a:gd name="T94" fmla="*/ 240 w 400"/>
                  <a:gd name="T95" fmla="*/ 2 h 162"/>
                  <a:gd name="T96" fmla="*/ 200 w 400"/>
                  <a:gd name="T9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0" h="162">
                    <a:moveTo>
                      <a:pt x="200" y="0"/>
                    </a:moveTo>
                    <a:lnTo>
                      <a:pt x="200" y="0"/>
                    </a:lnTo>
                    <a:lnTo>
                      <a:pt x="160" y="2"/>
                    </a:lnTo>
                    <a:lnTo>
                      <a:pt x="122" y="6"/>
                    </a:lnTo>
                    <a:lnTo>
                      <a:pt x="88" y="14"/>
                    </a:lnTo>
                    <a:lnTo>
                      <a:pt x="58" y="24"/>
                    </a:lnTo>
                    <a:lnTo>
                      <a:pt x="34" y="36"/>
                    </a:lnTo>
                    <a:lnTo>
                      <a:pt x="24" y="42"/>
                    </a:lnTo>
                    <a:lnTo>
                      <a:pt x="16" y="50"/>
                    </a:lnTo>
                    <a:lnTo>
                      <a:pt x="10" y="58"/>
                    </a:lnTo>
                    <a:lnTo>
                      <a:pt x="4" y="64"/>
                    </a:lnTo>
                    <a:lnTo>
                      <a:pt x="2" y="72"/>
                    </a:lnTo>
                    <a:lnTo>
                      <a:pt x="0" y="82"/>
                    </a:lnTo>
                    <a:lnTo>
                      <a:pt x="0" y="82"/>
                    </a:lnTo>
                    <a:lnTo>
                      <a:pt x="2" y="90"/>
                    </a:lnTo>
                    <a:lnTo>
                      <a:pt x="4" y="98"/>
                    </a:lnTo>
                    <a:lnTo>
                      <a:pt x="10" y="106"/>
                    </a:lnTo>
                    <a:lnTo>
                      <a:pt x="16" y="112"/>
                    </a:lnTo>
                    <a:lnTo>
                      <a:pt x="24" y="120"/>
                    </a:lnTo>
                    <a:lnTo>
                      <a:pt x="34" y="126"/>
                    </a:lnTo>
                    <a:lnTo>
                      <a:pt x="58" y="138"/>
                    </a:lnTo>
                    <a:lnTo>
                      <a:pt x="88" y="148"/>
                    </a:lnTo>
                    <a:lnTo>
                      <a:pt x="122" y="156"/>
                    </a:lnTo>
                    <a:lnTo>
                      <a:pt x="160" y="162"/>
                    </a:lnTo>
                    <a:lnTo>
                      <a:pt x="200" y="162"/>
                    </a:lnTo>
                    <a:lnTo>
                      <a:pt x="200" y="162"/>
                    </a:lnTo>
                    <a:lnTo>
                      <a:pt x="240" y="162"/>
                    </a:lnTo>
                    <a:lnTo>
                      <a:pt x="278" y="156"/>
                    </a:lnTo>
                    <a:lnTo>
                      <a:pt x="312" y="148"/>
                    </a:lnTo>
                    <a:lnTo>
                      <a:pt x="342" y="138"/>
                    </a:lnTo>
                    <a:lnTo>
                      <a:pt x="366" y="126"/>
                    </a:lnTo>
                    <a:lnTo>
                      <a:pt x="376" y="120"/>
                    </a:lnTo>
                    <a:lnTo>
                      <a:pt x="384" y="112"/>
                    </a:lnTo>
                    <a:lnTo>
                      <a:pt x="392" y="106"/>
                    </a:lnTo>
                    <a:lnTo>
                      <a:pt x="396" y="98"/>
                    </a:lnTo>
                    <a:lnTo>
                      <a:pt x="400" y="90"/>
                    </a:lnTo>
                    <a:lnTo>
                      <a:pt x="400" y="82"/>
                    </a:lnTo>
                    <a:lnTo>
                      <a:pt x="400" y="82"/>
                    </a:lnTo>
                    <a:lnTo>
                      <a:pt x="400" y="72"/>
                    </a:lnTo>
                    <a:lnTo>
                      <a:pt x="396" y="64"/>
                    </a:lnTo>
                    <a:lnTo>
                      <a:pt x="392" y="58"/>
                    </a:lnTo>
                    <a:lnTo>
                      <a:pt x="384" y="50"/>
                    </a:lnTo>
                    <a:lnTo>
                      <a:pt x="376" y="42"/>
                    </a:lnTo>
                    <a:lnTo>
                      <a:pt x="366" y="36"/>
                    </a:lnTo>
                    <a:lnTo>
                      <a:pt x="342" y="24"/>
                    </a:lnTo>
                    <a:lnTo>
                      <a:pt x="312" y="14"/>
                    </a:lnTo>
                    <a:lnTo>
                      <a:pt x="278" y="6"/>
                    </a:lnTo>
                    <a:lnTo>
                      <a:pt x="240" y="2"/>
                    </a:lnTo>
                    <a:lnTo>
                      <a:pt x="2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6" name="Freeform 166"/>
              <p:cNvSpPr/>
              <p:nvPr/>
            </p:nvSpPr>
            <p:spPr bwMode="auto">
              <a:xfrm>
                <a:off x="7695494" y="2490102"/>
                <a:ext cx="797203" cy="219923"/>
              </a:xfrm>
              <a:custGeom>
                <a:avLst/>
                <a:gdLst>
                  <a:gd name="T0" fmla="*/ 436 w 480"/>
                  <a:gd name="T1" fmla="*/ 46 h 148"/>
                  <a:gd name="T2" fmla="*/ 392 w 480"/>
                  <a:gd name="T3" fmla="*/ 68 h 148"/>
                  <a:gd name="T4" fmla="*/ 372 w 480"/>
                  <a:gd name="T5" fmla="*/ 74 h 148"/>
                  <a:gd name="T6" fmla="*/ 348 w 480"/>
                  <a:gd name="T7" fmla="*/ 80 h 148"/>
                  <a:gd name="T8" fmla="*/ 306 w 480"/>
                  <a:gd name="T9" fmla="*/ 88 h 148"/>
                  <a:gd name="T10" fmla="*/ 262 w 480"/>
                  <a:gd name="T11" fmla="*/ 92 h 148"/>
                  <a:gd name="T12" fmla="*/ 240 w 480"/>
                  <a:gd name="T13" fmla="*/ 92 h 148"/>
                  <a:gd name="T14" fmla="*/ 218 w 480"/>
                  <a:gd name="T15" fmla="*/ 90 h 148"/>
                  <a:gd name="T16" fmla="*/ 174 w 480"/>
                  <a:gd name="T17" fmla="*/ 88 h 148"/>
                  <a:gd name="T18" fmla="*/ 130 w 480"/>
                  <a:gd name="T19" fmla="*/ 80 h 148"/>
                  <a:gd name="T20" fmla="*/ 86 w 480"/>
                  <a:gd name="T21" fmla="*/ 66 h 148"/>
                  <a:gd name="T22" fmla="*/ 64 w 480"/>
                  <a:gd name="T23" fmla="*/ 56 h 148"/>
                  <a:gd name="T24" fmla="*/ 42 w 480"/>
                  <a:gd name="T25" fmla="*/ 46 h 148"/>
                  <a:gd name="T26" fmla="*/ 16 w 480"/>
                  <a:gd name="T27" fmla="*/ 24 h 148"/>
                  <a:gd name="T28" fmla="*/ 0 w 480"/>
                  <a:gd name="T29" fmla="*/ 0 h 148"/>
                  <a:gd name="T30" fmla="*/ 0 w 480"/>
                  <a:gd name="T31" fmla="*/ 58 h 148"/>
                  <a:gd name="T32" fmla="*/ 6 w 480"/>
                  <a:gd name="T33" fmla="*/ 70 h 148"/>
                  <a:gd name="T34" fmla="*/ 28 w 480"/>
                  <a:gd name="T35" fmla="*/ 92 h 148"/>
                  <a:gd name="T36" fmla="*/ 42 w 480"/>
                  <a:gd name="T37" fmla="*/ 102 h 148"/>
                  <a:gd name="T38" fmla="*/ 86 w 480"/>
                  <a:gd name="T39" fmla="*/ 124 h 148"/>
                  <a:gd name="T40" fmla="*/ 108 w 480"/>
                  <a:gd name="T41" fmla="*/ 130 h 148"/>
                  <a:gd name="T42" fmla="*/ 130 w 480"/>
                  <a:gd name="T43" fmla="*/ 136 h 148"/>
                  <a:gd name="T44" fmla="*/ 174 w 480"/>
                  <a:gd name="T45" fmla="*/ 144 h 148"/>
                  <a:gd name="T46" fmla="*/ 218 w 480"/>
                  <a:gd name="T47" fmla="*/ 148 h 148"/>
                  <a:gd name="T48" fmla="*/ 240 w 480"/>
                  <a:gd name="T49" fmla="*/ 148 h 148"/>
                  <a:gd name="T50" fmla="*/ 262 w 480"/>
                  <a:gd name="T51" fmla="*/ 148 h 148"/>
                  <a:gd name="T52" fmla="*/ 306 w 480"/>
                  <a:gd name="T53" fmla="*/ 144 h 148"/>
                  <a:gd name="T54" fmla="*/ 348 w 480"/>
                  <a:gd name="T55" fmla="*/ 136 h 148"/>
                  <a:gd name="T56" fmla="*/ 392 w 480"/>
                  <a:gd name="T57" fmla="*/ 124 h 148"/>
                  <a:gd name="T58" fmla="*/ 416 w 480"/>
                  <a:gd name="T59" fmla="*/ 114 h 148"/>
                  <a:gd name="T60" fmla="*/ 436 w 480"/>
                  <a:gd name="T61" fmla="*/ 102 h 148"/>
                  <a:gd name="T62" fmla="*/ 464 w 480"/>
                  <a:gd name="T63" fmla="*/ 82 h 148"/>
                  <a:gd name="T64" fmla="*/ 480 w 480"/>
                  <a:gd name="T65" fmla="*/ 58 h 148"/>
                  <a:gd name="T66" fmla="*/ 480 w 480"/>
                  <a:gd name="T67" fmla="*/ 0 h 148"/>
                  <a:gd name="T68" fmla="*/ 474 w 480"/>
                  <a:gd name="T69" fmla="*/ 12 h 148"/>
                  <a:gd name="T70" fmla="*/ 452 w 480"/>
                  <a:gd name="T71" fmla="*/ 36 h 148"/>
                  <a:gd name="T72" fmla="*/ 436 w 480"/>
                  <a:gd name="T73" fmla="*/ 4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0" h="148">
                    <a:moveTo>
                      <a:pt x="436" y="46"/>
                    </a:moveTo>
                    <a:lnTo>
                      <a:pt x="436" y="46"/>
                    </a:lnTo>
                    <a:lnTo>
                      <a:pt x="416" y="58"/>
                    </a:lnTo>
                    <a:lnTo>
                      <a:pt x="392" y="68"/>
                    </a:lnTo>
                    <a:lnTo>
                      <a:pt x="392" y="68"/>
                    </a:lnTo>
                    <a:lnTo>
                      <a:pt x="372" y="74"/>
                    </a:lnTo>
                    <a:lnTo>
                      <a:pt x="348" y="80"/>
                    </a:lnTo>
                    <a:lnTo>
                      <a:pt x="348" y="80"/>
                    </a:lnTo>
                    <a:lnTo>
                      <a:pt x="306" y="88"/>
                    </a:lnTo>
                    <a:lnTo>
                      <a:pt x="306" y="88"/>
                    </a:lnTo>
                    <a:lnTo>
                      <a:pt x="262" y="92"/>
                    </a:lnTo>
                    <a:lnTo>
                      <a:pt x="262" y="92"/>
                    </a:lnTo>
                    <a:lnTo>
                      <a:pt x="240" y="92"/>
                    </a:lnTo>
                    <a:lnTo>
                      <a:pt x="240" y="92"/>
                    </a:lnTo>
                    <a:lnTo>
                      <a:pt x="218" y="90"/>
                    </a:lnTo>
                    <a:lnTo>
                      <a:pt x="218" y="90"/>
                    </a:lnTo>
                    <a:lnTo>
                      <a:pt x="174" y="88"/>
                    </a:lnTo>
                    <a:lnTo>
                      <a:pt x="174" y="88"/>
                    </a:lnTo>
                    <a:lnTo>
                      <a:pt x="130" y="80"/>
                    </a:lnTo>
                    <a:lnTo>
                      <a:pt x="130" y="80"/>
                    </a:lnTo>
                    <a:lnTo>
                      <a:pt x="108" y="74"/>
                    </a:lnTo>
                    <a:lnTo>
                      <a:pt x="86" y="66"/>
                    </a:lnTo>
                    <a:lnTo>
                      <a:pt x="86" y="66"/>
                    </a:lnTo>
                    <a:lnTo>
                      <a:pt x="64" y="56"/>
                    </a:lnTo>
                    <a:lnTo>
                      <a:pt x="42" y="46"/>
                    </a:lnTo>
                    <a:lnTo>
                      <a:pt x="42" y="46"/>
                    </a:lnTo>
                    <a:lnTo>
                      <a:pt x="28" y="36"/>
                    </a:lnTo>
                    <a:lnTo>
                      <a:pt x="16" y="24"/>
                    </a:lnTo>
                    <a:lnTo>
                      <a:pt x="6" y="12"/>
                    </a:lnTo>
                    <a:lnTo>
                      <a:pt x="0" y="0"/>
                    </a:lnTo>
                    <a:lnTo>
                      <a:pt x="0" y="0"/>
                    </a:lnTo>
                    <a:lnTo>
                      <a:pt x="0" y="58"/>
                    </a:lnTo>
                    <a:lnTo>
                      <a:pt x="0" y="58"/>
                    </a:lnTo>
                    <a:lnTo>
                      <a:pt x="6" y="70"/>
                    </a:lnTo>
                    <a:lnTo>
                      <a:pt x="16" y="82"/>
                    </a:lnTo>
                    <a:lnTo>
                      <a:pt x="28" y="92"/>
                    </a:lnTo>
                    <a:lnTo>
                      <a:pt x="42" y="102"/>
                    </a:lnTo>
                    <a:lnTo>
                      <a:pt x="42" y="102"/>
                    </a:lnTo>
                    <a:lnTo>
                      <a:pt x="64" y="114"/>
                    </a:lnTo>
                    <a:lnTo>
                      <a:pt x="86" y="124"/>
                    </a:lnTo>
                    <a:lnTo>
                      <a:pt x="86" y="124"/>
                    </a:lnTo>
                    <a:lnTo>
                      <a:pt x="108" y="130"/>
                    </a:lnTo>
                    <a:lnTo>
                      <a:pt x="130" y="136"/>
                    </a:lnTo>
                    <a:lnTo>
                      <a:pt x="130" y="136"/>
                    </a:lnTo>
                    <a:lnTo>
                      <a:pt x="174" y="144"/>
                    </a:lnTo>
                    <a:lnTo>
                      <a:pt x="174" y="144"/>
                    </a:lnTo>
                    <a:lnTo>
                      <a:pt x="218" y="148"/>
                    </a:lnTo>
                    <a:lnTo>
                      <a:pt x="218" y="148"/>
                    </a:lnTo>
                    <a:lnTo>
                      <a:pt x="240" y="148"/>
                    </a:lnTo>
                    <a:lnTo>
                      <a:pt x="240" y="148"/>
                    </a:lnTo>
                    <a:lnTo>
                      <a:pt x="262" y="148"/>
                    </a:lnTo>
                    <a:lnTo>
                      <a:pt x="262" y="148"/>
                    </a:lnTo>
                    <a:lnTo>
                      <a:pt x="306" y="144"/>
                    </a:lnTo>
                    <a:lnTo>
                      <a:pt x="306" y="144"/>
                    </a:lnTo>
                    <a:lnTo>
                      <a:pt x="348" y="136"/>
                    </a:lnTo>
                    <a:lnTo>
                      <a:pt x="348" y="136"/>
                    </a:lnTo>
                    <a:lnTo>
                      <a:pt x="372" y="130"/>
                    </a:lnTo>
                    <a:lnTo>
                      <a:pt x="392" y="124"/>
                    </a:lnTo>
                    <a:lnTo>
                      <a:pt x="392" y="124"/>
                    </a:lnTo>
                    <a:lnTo>
                      <a:pt x="416" y="114"/>
                    </a:lnTo>
                    <a:lnTo>
                      <a:pt x="436" y="102"/>
                    </a:lnTo>
                    <a:lnTo>
                      <a:pt x="436" y="102"/>
                    </a:lnTo>
                    <a:lnTo>
                      <a:pt x="452" y="92"/>
                    </a:lnTo>
                    <a:lnTo>
                      <a:pt x="464" y="82"/>
                    </a:lnTo>
                    <a:lnTo>
                      <a:pt x="474" y="70"/>
                    </a:lnTo>
                    <a:lnTo>
                      <a:pt x="480" y="58"/>
                    </a:lnTo>
                    <a:lnTo>
                      <a:pt x="480" y="58"/>
                    </a:lnTo>
                    <a:lnTo>
                      <a:pt x="480" y="0"/>
                    </a:lnTo>
                    <a:lnTo>
                      <a:pt x="480" y="0"/>
                    </a:lnTo>
                    <a:lnTo>
                      <a:pt x="474" y="12"/>
                    </a:lnTo>
                    <a:lnTo>
                      <a:pt x="464" y="24"/>
                    </a:lnTo>
                    <a:lnTo>
                      <a:pt x="452" y="36"/>
                    </a:lnTo>
                    <a:lnTo>
                      <a:pt x="436" y="46"/>
                    </a:lnTo>
                    <a:lnTo>
                      <a:pt x="436" y="46"/>
                    </a:lnTo>
                    <a:close/>
                  </a:path>
                </a:pathLst>
              </a:custGeom>
              <a:solidFill>
                <a:srgbClr val="EBBD1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7" name="Freeform 167"/>
              <p:cNvSpPr>
                <a:spLocks noEditPoints="1"/>
              </p:cNvSpPr>
              <p:nvPr/>
            </p:nvSpPr>
            <p:spPr bwMode="auto">
              <a:xfrm>
                <a:off x="7761927" y="2344477"/>
                <a:ext cx="664336" cy="255586"/>
              </a:xfrm>
              <a:custGeom>
                <a:avLst/>
                <a:gdLst>
                  <a:gd name="T0" fmla="*/ 200 w 400"/>
                  <a:gd name="T1" fmla="*/ 172 h 172"/>
                  <a:gd name="T2" fmla="*/ 164 w 400"/>
                  <a:gd name="T3" fmla="*/ 170 h 172"/>
                  <a:gd name="T4" fmla="*/ 94 w 400"/>
                  <a:gd name="T5" fmla="*/ 158 h 172"/>
                  <a:gd name="T6" fmla="*/ 38 w 400"/>
                  <a:gd name="T7" fmla="*/ 138 h 172"/>
                  <a:gd name="T8" fmla="*/ 18 w 400"/>
                  <a:gd name="T9" fmla="*/ 122 h 172"/>
                  <a:gd name="T10" fmla="*/ 4 w 400"/>
                  <a:gd name="T11" fmla="*/ 106 h 172"/>
                  <a:gd name="T12" fmla="*/ 0 w 400"/>
                  <a:gd name="T13" fmla="*/ 86 h 172"/>
                  <a:gd name="T14" fmla="*/ 2 w 400"/>
                  <a:gd name="T15" fmla="*/ 76 h 172"/>
                  <a:gd name="T16" fmla="*/ 10 w 400"/>
                  <a:gd name="T17" fmla="*/ 58 h 172"/>
                  <a:gd name="T18" fmla="*/ 26 w 400"/>
                  <a:gd name="T19" fmla="*/ 42 h 172"/>
                  <a:gd name="T20" fmla="*/ 64 w 400"/>
                  <a:gd name="T21" fmla="*/ 22 h 172"/>
                  <a:gd name="T22" fmla="*/ 128 w 400"/>
                  <a:gd name="T23" fmla="*/ 6 h 172"/>
                  <a:gd name="T24" fmla="*/ 200 w 400"/>
                  <a:gd name="T25" fmla="*/ 0 h 172"/>
                  <a:gd name="T26" fmla="*/ 236 w 400"/>
                  <a:gd name="T27" fmla="*/ 2 h 172"/>
                  <a:gd name="T28" fmla="*/ 306 w 400"/>
                  <a:gd name="T29" fmla="*/ 14 h 172"/>
                  <a:gd name="T30" fmla="*/ 364 w 400"/>
                  <a:gd name="T31" fmla="*/ 34 h 172"/>
                  <a:gd name="T32" fmla="*/ 384 w 400"/>
                  <a:gd name="T33" fmla="*/ 50 h 172"/>
                  <a:gd name="T34" fmla="*/ 396 w 400"/>
                  <a:gd name="T35" fmla="*/ 66 h 172"/>
                  <a:gd name="T36" fmla="*/ 400 w 400"/>
                  <a:gd name="T37" fmla="*/ 86 h 172"/>
                  <a:gd name="T38" fmla="*/ 400 w 400"/>
                  <a:gd name="T39" fmla="*/ 96 h 172"/>
                  <a:gd name="T40" fmla="*/ 390 w 400"/>
                  <a:gd name="T41" fmla="*/ 114 h 172"/>
                  <a:gd name="T42" fmla="*/ 374 w 400"/>
                  <a:gd name="T43" fmla="*/ 130 h 172"/>
                  <a:gd name="T44" fmla="*/ 338 w 400"/>
                  <a:gd name="T45" fmla="*/ 150 h 172"/>
                  <a:gd name="T46" fmla="*/ 272 w 400"/>
                  <a:gd name="T47" fmla="*/ 166 h 172"/>
                  <a:gd name="T48" fmla="*/ 200 w 400"/>
                  <a:gd name="T49" fmla="*/ 172 h 172"/>
                  <a:gd name="T50" fmla="*/ 200 w 400"/>
                  <a:gd name="T51" fmla="*/ 24 h 172"/>
                  <a:gd name="T52" fmla="*/ 162 w 400"/>
                  <a:gd name="T53" fmla="*/ 26 h 172"/>
                  <a:gd name="T54" fmla="*/ 98 w 400"/>
                  <a:gd name="T55" fmla="*/ 36 h 172"/>
                  <a:gd name="T56" fmla="*/ 52 w 400"/>
                  <a:gd name="T57" fmla="*/ 54 h 172"/>
                  <a:gd name="T58" fmla="*/ 28 w 400"/>
                  <a:gd name="T59" fmla="*/ 76 h 172"/>
                  <a:gd name="T60" fmla="*/ 24 w 400"/>
                  <a:gd name="T61" fmla="*/ 86 h 172"/>
                  <a:gd name="T62" fmla="*/ 24 w 400"/>
                  <a:gd name="T63" fmla="*/ 92 h 172"/>
                  <a:gd name="T64" fmla="*/ 36 w 400"/>
                  <a:gd name="T65" fmla="*/ 108 h 172"/>
                  <a:gd name="T66" fmla="*/ 74 w 400"/>
                  <a:gd name="T67" fmla="*/ 128 h 172"/>
                  <a:gd name="T68" fmla="*/ 128 w 400"/>
                  <a:gd name="T69" fmla="*/ 142 h 172"/>
                  <a:gd name="T70" fmla="*/ 200 w 400"/>
                  <a:gd name="T71" fmla="*/ 148 h 172"/>
                  <a:gd name="T72" fmla="*/ 238 w 400"/>
                  <a:gd name="T73" fmla="*/ 146 h 172"/>
                  <a:gd name="T74" fmla="*/ 302 w 400"/>
                  <a:gd name="T75" fmla="*/ 136 h 172"/>
                  <a:gd name="T76" fmla="*/ 348 w 400"/>
                  <a:gd name="T77" fmla="*/ 118 h 172"/>
                  <a:gd name="T78" fmla="*/ 374 w 400"/>
                  <a:gd name="T79" fmla="*/ 96 h 172"/>
                  <a:gd name="T80" fmla="*/ 378 w 400"/>
                  <a:gd name="T81" fmla="*/ 86 h 172"/>
                  <a:gd name="T82" fmla="*/ 376 w 400"/>
                  <a:gd name="T83" fmla="*/ 80 h 172"/>
                  <a:gd name="T84" fmla="*/ 364 w 400"/>
                  <a:gd name="T85" fmla="*/ 64 h 172"/>
                  <a:gd name="T86" fmla="*/ 328 w 400"/>
                  <a:gd name="T87" fmla="*/ 44 h 172"/>
                  <a:gd name="T88" fmla="*/ 272 w 400"/>
                  <a:gd name="T89" fmla="*/ 30 h 172"/>
                  <a:gd name="T90" fmla="*/ 200 w 400"/>
                  <a:gd name="T91" fmla="*/ 2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0" h="172">
                    <a:moveTo>
                      <a:pt x="200" y="172"/>
                    </a:moveTo>
                    <a:lnTo>
                      <a:pt x="200" y="172"/>
                    </a:lnTo>
                    <a:lnTo>
                      <a:pt x="200" y="172"/>
                    </a:lnTo>
                    <a:lnTo>
                      <a:pt x="164" y="170"/>
                    </a:lnTo>
                    <a:lnTo>
                      <a:pt x="128" y="166"/>
                    </a:lnTo>
                    <a:lnTo>
                      <a:pt x="94" y="158"/>
                    </a:lnTo>
                    <a:lnTo>
                      <a:pt x="64" y="150"/>
                    </a:lnTo>
                    <a:lnTo>
                      <a:pt x="38" y="138"/>
                    </a:lnTo>
                    <a:lnTo>
                      <a:pt x="26" y="130"/>
                    </a:lnTo>
                    <a:lnTo>
                      <a:pt x="18" y="122"/>
                    </a:lnTo>
                    <a:lnTo>
                      <a:pt x="10" y="114"/>
                    </a:lnTo>
                    <a:lnTo>
                      <a:pt x="4" y="106"/>
                    </a:lnTo>
                    <a:lnTo>
                      <a:pt x="2" y="96"/>
                    </a:lnTo>
                    <a:lnTo>
                      <a:pt x="0" y="86"/>
                    </a:lnTo>
                    <a:lnTo>
                      <a:pt x="0" y="86"/>
                    </a:lnTo>
                    <a:lnTo>
                      <a:pt x="2" y="76"/>
                    </a:lnTo>
                    <a:lnTo>
                      <a:pt x="4" y="66"/>
                    </a:lnTo>
                    <a:lnTo>
                      <a:pt x="10" y="58"/>
                    </a:lnTo>
                    <a:lnTo>
                      <a:pt x="18" y="50"/>
                    </a:lnTo>
                    <a:lnTo>
                      <a:pt x="26" y="42"/>
                    </a:lnTo>
                    <a:lnTo>
                      <a:pt x="38" y="34"/>
                    </a:lnTo>
                    <a:lnTo>
                      <a:pt x="64" y="22"/>
                    </a:lnTo>
                    <a:lnTo>
                      <a:pt x="94" y="14"/>
                    </a:lnTo>
                    <a:lnTo>
                      <a:pt x="128" y="6"/>
                    </a:lnTo>
                    <a:lnTo>
                      <a:pt x="164" y="2"/>
                    </a:lnTo>
                    <a:lnTo>
                      <a:pt x="200" y="0"/>
                    </a:lnTo>
                    <a:lnTo>
                      <a:pt x="200" y="0"/>
                    </a:lnTo>
                    <a:lnTo>
                      <a:pt x="236" y="2"/>
                    </a:lnTo>
                    <a:lnTo>
                      <a:pt x="272" y="6"/>
                    </a:lnTo>
                    <a:lnTo>
                      <a:pt x="306" y="14"/>
                    </a:lnTo>
                    <a:lnTo>
                      <a:pt x="338" y="22"/>
                    </a:lnTo>
                    <a:lnTo>
                      <a:pt x="364" y="34"/>
                    </a:lnTo>
                    <a:lnTo>
                      <a:pt x="374" y="42"/>
                    </a:lnTo>
                    <a:lnTo>
                      <a:pt x="384" y="50"/>
                    </a:lnTo>
                    <a:lnTo>
                      <a:pt x="390" y="58"/>
                    </a:lnTo>
                    <a:lnTo>
                      <a:pt x="396" y="66"/>
                    </a:lnTo>
                    <a:lnTo>
                      <a:pt x="400" y="76"/>
                    </a:lnTo>
                    <a:lnTo>
                      <a:pt x="400" y="86"/>
                    </a:lnTo>
                    <a:lnTo>
                      <a:pt x="400" y="86"/>
                    </a:lnTo>
                    <a:lnTo>
                      <a:pt x="400" y="96"/>
                    </a:lnTo>
                    <a:lnTo>
                      <a:pt x="396" y="106"/>
                    </a:lnTo>
                    <a:lnTo>
                      <a:pt x="390" y="114"/>
                    </a:lnTo>
                    <a:lnTo>
                      <a:pt x="384" y="122"/>
                    </a:lnTo>
                    <a:lnTo>
                      <a:pt x="374" y="130"/>
                    </a:lnTo>
                    <a:lnTo>
                      <a:pt x="364" y="138"/>
                    </a:lnTo>
                    <a:lnTo>
                      <a:pt x="338" y="150"/>
                    </a:lnTo>
                    <a:lnTo>
                      <a:pt x="306" y="158"/>
                    </a:lnTo>
                    <a:lnTo>
                      <a:pt x="272" y="166"/>
                    </a:lnTo>
                    <a:lnTo>
                      <a:pt x="236" y="170"/>
                    </a:lnTo>
                    <a:lnTo>
                      <a:pt x="200" y="172"/>
                    </a:lnTo>
                    <a:lnTo>
                      <a:pt x="200" y="172"/>
                    </a:lnTo>
                    <a:close/>
                    <a:moveTo>
                      <a:pt x="200" y="24"/>
                    </a:moveTo>
                    <a:lnTo>
                      <a:pt x="200" y="24"/>
                    </a:lnTo>
                    <a:lnTo>
                      <a:pt x="162" y="26"/>
                    </a:lnTo>
                    <a:lnTo>
                      <a:pt x="128" y="30"/>
                    </a:lnTo>
                    <a:lnTo>
                      <a:pt x="98" y="36"/>
                    </a:lnTo>
                    <a:lnTo>
                      <a:pt x="74" y="44"/>
                    </a:lnTo>
                    <a:lnTo>
                      <a:pt x="52" y="54"/>
                    </a:lnTo>
                    <a:lnTo>
                      <a:pt x="36" y="64"/>
                    </a:lnTo>
                    <a:lnTo>
                      <a:pt x="28" y="76"/>
                    </a:lnTo>
                    <a:lnTo>
                      <a:pt x="24" y="80"/>
                    </a:lnTo>
                    <a:lnTo>
                      <a:pt x="24" y="86"/>
                    </a:lnTo>
                    <a:lnTo>
                      <a:pt x="24" y="86"/>
                    </a:lnTo>
                    <a:lnTo>
                      <a:pt x="24" y="92"/>
                    </a:lnTo>
                    <a:lnTo>
                      <a:pt x="28" y="96"/>
                    </a:lnTo>
                    <a:lnTo>
                      <a:pt x="36" y="108"/>
                    </a:lnTo>
                    <a:lnTo>
                      <a:pt x="52" y="118"/>
                    </a:lnTo>
                    <a:lnTo>
                      <a:pt x="74" y="128"/>
                    </a:lnTo>
                    <a:lnTo>
                      <a:pt x="98" y="136"/>
                    </a:lnTo>
                    <a:lnTo>
                      <a:pt x="128" y="142"/>
                    </a:lnTo>
                    <a:lnTo>
                      <a:pt x="162" y="146"/>
                    </a:lnTo>
                    <a:lnTo>
                      <a:pt x="200" y="148"/>
                    </a:lnTo>
                    <a:lnTo>
                      <a:pt x="200" y="148"/>
                    </a:lnTo>
                    <a:lnTo>
                      <a:pt x="238" y="146"/>
                    </a:lnTo>
                    <a:lnTo>
                      <a:pt x="272" y="142"/>
                    </a:lnTo>
                    <a:lnTo>
                      <a:pt x="302" y="136"/>
                    </a:lnTo>
                    <a:lnTo>
                      <a:pt x="328" y="128"/>
                    </a:lnTo>
                    <a:lnTo>
                      <a:pt x="348" y="118"/>
                    </a:lnTo>
                    <a:lnTo>
                      <a:pt x="364" y="108"/>
                    </a:lnTo>
                    <a:lnTo>
                      <a:pt x="374" y="96"/>
                    </a:lnTo>
                    <a:lnTo>
                      <a:pt x="376" y="92"/>
                    </a:lnTo>
                    <a:lnTo>
                      <a:pt x="378" y="86"/>
                    </a:lnTo>
                    <a:lnTo>
                      <a:pt x="378" y="86"/>
                    </a:lnTo>
                    <a:lnTo>
                      <a:pt x="376" y="80"/>
                    </a:lnTo>
                    <a:lnTo>
                      <a:pt x="374" y="76"/>
                    </a:lnTo>
                    <a:lnTo>
                      <a:pt x="364" y="64"/>
                    </a:lnTo>
                    <a:lnTo>
                      <a:pt x="348" y="54"/>
                    </a:lnTo>
                    <a:lnTo>
                      <a:pt x="328" y="44"/>
                    </a:lnTo>
                    <a:lnTo>
                      <a:pt x="302" y="36"/>
                    </a:lnTo>
                    <a:lnTo>
                      <a:pt x="272" y="30"/>
                    </a:lnTo>
                    <a:lnTo>
                      <a:pt x="238" y="26"/>
                    </a:lnTo>
                    <a:lnTo>
                      <a:pt x="200" y="24"/>
                    </a:lnTo>
                    <a:lnTo>
                      <a:pt x="200" y="24"/>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8" name="Freeform 168"/>
              <p:cNvSpPr/>
              <p:nvPr/>
            </p:nvSpPr>
            <p:spPr bwMode="auto">
              <a:xfrm>
                <a:off x="7981158" y="2412832"/>
                <a:ext cx="265734" cy="112933"/>
              </a:xfrm>
              <a:custGeom>
                <a:avLst/>
                <a:gdLst>
                  <a:gd name="T0" fmla="*/ 112 w 160"/>
                  <a:gd name="T1" fmla="*/ 26 h 76"/>
                  <a:gd name="T2" fmla="*/ 116 w 160"/>
                  <a:gd name="T3" fmla="*/ 24 h 76"/>
                  <a:gd name="T4" fmla="*/ 126 w 160"/>
                  <a:gd name="T5" fmla="*/ 20 h 76"/>
                  <a:gd name="T6" fmla="*/ 122 w 160"/>
                  <a:gd name="T7" fmla="*/ 16 h 76"/>
                  <a:gd name="T8" fmla="*/ 116 w 160"/>
                  <a:gd name="T9" fmla="*/ 16 h 76"/>
                  <a:gd name="T10" fmla="*/ 110 w 160"/>
                  <a:gd name="T11" fmla="*/ 18 h 76"/>
                  <a:gd name="T12" fmla="*/ 104 w 160"/>
                  <a:gd name="T13" fmla="*/ 20 h 76"/>
                  <a:gd name="T14" fmla="*/ 104 w 160"/>
                  <a:gd name="T15" fmla="*/ 22 h 76"/>
                  <a:gd name="T16" fmla="*/ 110 w 160"/>
                  <a:gd name="T17" fmla="*/ 36 h 76"/>
                  <a:gd name="T18" fmla="*/ 116 w 160"/>
                  <a:gd name="T19" fmla="*/ 48 h 76"/>
                  <a:gd name="T20" fmla="*/ 112 w 160"/>
                  <a:gd name="T21" fmla="*/ 56 h 76"/>
                  <a:gd name="T22" fmla="*/ 108 w 160"/>
                  <a:gd name="T23" fmla="*/ 62 h 76"/>
                  <a:gd name="T24" fmla="*/ 98 w 160"/>
                  <a:gd name="T25" fmla="*/ 66 h 76"/>
                  <a:gd name="T26" fmla="*/ 64 w 160"/>
                  <a:gd name="T27" fmla="*/ 76 h 76"/>
                  <a:gd name="T28" fmla="*/ 44 w 160"/>
                  <a:gd name="T29" fmla="*/ 74 h 76"/>
                  <a:gd name="T30" fmla="*/ 14 w 160"/>
                  <a:gd name="T31" fmla="*/ 74 h 76"/>
                  <a:gd name="T32" fmla="*/ 12 w 160"/>
                  <a:gd name="T33" fmla="*/ 62 h 76"/>
                  <a:gd name="T34" fmla="*/ 4 w 160"/>
                  <a:gd name="T35" fmla="*/ 54 h 76"/>
                  <a:gd name="T36" fmla="*/ 2 w 160"/>
                  <a:gd name="T37" fmla="*/ 46 h 76"/>
                  <a:gd name="T38" fmla="*/ 4 w 160"/>
                  <a:gd name="T39" fmla="*/ 42 h 76"/>
                  <a:gd name="T40" fmla="*/ 24 w 160"/>
                  <a:gd name="T41" fmla="*/ 28 h 76"/>
                  <a:gd name="T42" fmla="*/ 58 w 160"/>
                  <a:gd name="T43" fmla="*/ 40 h 76"/>
                  <a:gd name="T44" fmla="*/ 52 w 160"/>
                  <a:gd name="T45" fmla="*/ 44 h 76"/>
                  <a:gd name="T46" fmla="*/ 36 w 160"/>
                  <a:gd name="T47" fmla="*/ 52 h 76"/>
                  <a:gd name="T48" fmla="*/ 38 w 160"/>
                  <a:gd name="T49" fmla="*/ 56 h 76"/>
                  <a:gd name="T50" fmla="*/ 44 w 160"/>
                  <a:gd name="T51" fmla="*/ 56 h 76"/>
                  <a:gd name="T52" fmla="*/ 52 w 160"/>
                  <a:gd name="T53" fmla="*/ 54 h 76"/>
                  <a:gd name="T54" fmla="*/ 66 w 160"/>
                  <a:gd name="T55" fmla="*/ 46 h 76"/>
                  <a:gd name="T56" fmla="*/ 68 w 160"/>
                  <a:gd name="T57" fmla="*/ 42 h 76"/>
                  <a:gd name="T58" fmla="*/ 66 w 160"/>
                  <a:gd name="T59" fmla="*/ 38 h 76"/>
                  <a:gd name="T60" fmla="*/ 60 w 160"/>
                  <a:gd name="T61" fmla="*/ 22 h 76"/>
                  <a:gd name="T62" fmla="*/ 64 w 160"/>
                  <a:gd name="T63" fmla="*/ 14 h 76"/>
                  <a:gd name="T64" fmla="*/ 68 w 160"/>
                  <a:gd name="T65" fmla="*/ 10 h 76"/>
                  <a:gd name="T66" fmla="*/ 76 w 160"/>
                  <a:gd name="T67" fmla="*/ 6 h 76"/>
                  <a:gd name="T68" fmla="*/ 102 w 160"/>
                  <a:gd name="T69" fmla="*/ 0 h 76"/>
                  <a:gd name="T70" fmla="*/ 118 w 160"/>
                  <a:gd name="T71" fmla="*/ 2 h 76"/>
                  <a:gd name="T72" fmla="*/ 142 w 160"/>
                  <a:gd name="T73" fmla="*/ 2 h 76"/>
                  <a:gd name="T74" fmla="*/ 148 w 160"/>
                  <a:gd name="T75" fmla="*/ 12 h 76"/>
                  <a:gd name="T76" fmla="*/ 158 w 160"/>
                  <a:gd name="T77" fmla="*/ 18 h 76"/>
                  <a:gd name="T78" fmla="*/ 160 w 160"/>
                  <a:gd name="T79" fmla="*/ 26 h 76"/>
                  <a:gd name="T80" fmla="*/ 160 w 160"/>
                  <a:gd name="T81" fmla="*/ 28 h 76"/>
                  <a:gd name="T82" fmla="*/ 150 w 160"/>
                  <a:gd name="T83" fmla="*/ 38 h 76"/>
                  <a:gd name="T84" fmla="*/ 144 w 160"/>
                  <a:gd name="T85" fmla="*/ 4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 h="76">
                    <a:moveTo>
                      <a:pt x="144" y="40"/>
                    </a:moveTo>
                    <a:lnTo>
                      <a:pt x="112" y="26"/>
                    </a:lnTo>
                    <a:lnTo>
                      <a:pt x="116" y="24"/>
                    </a:lnTo>
                    <a:lnTo>
                      <a:pt x="116" y="24"/>
                    </a:lnTo>
                    <a:lnTo>
                      <a:pt x="126" y="20"/>
                    </a:lnTo>
                    <a:lnTo>
                      <a:pt x="126" y="20"/>
                    </a:lnTo>
                    <a:lnTo>
                      <a:pt x="126" y="18"/>
                    </a:lnTo>
                    <a:lnTo>
                      <a:pt x="122" y="16"/>
                    </a:lnTo>
                    <a:lnTo>
                      <a:pt x="122" y="16"/>
                    </a:lnTo>
                    <a:lnTo>
                      <a:pt x="116" y="16"/>
                    </a:lnTo>
                    <a:lnTo>
                      <a:pt x="116" y="16"/>
                    </a:lnTo>
                    <a:lnTo>
                      <a:pt x="110" y="18"/>
                    </a:lnTo>
                    <a:lnTo>
                      <a:pt x="110" y="18"/>
                    </a:lnTo>
                    <a:lnTo>
                      <a:pt x="104" y="20"/>
                    </a:lnTo>
                    <a:lnTo>
                      <a:pt x="104" y="22"/>
                    </a:lnTo>
                    <a:lnTo>
                      <a:pt x="104" y="22"/>
                    </a:lnTo>
                    <a:lnTo>
                      <a:pt x="110" y="36"/>
                    </a:lnTo>
                    <a:lnTo>
                      <a:pt x="110" y="36"/>
                    </a:lnTo>
                    <a:lnTo>
                      <a:pt x="116" y="48"/>
                    </a:lnTo>
                    <a:lnTo>
                      <a:pt x="116" y="48"/>
                    </a:lnTo>
                    <a:lnTo>
                      <a:pt x="116" y="52"/>
                    </a:lnTo>
                    <a:lnTo>
                      <a:pt x="112" y="56"/>
                    </a:lnTo>
                    <a:lnTo>
                      <a:pt x="112" y="56"/>
                    </a:lnTo>
                    <a:lnTo>
                      <a:pt x="108" y="62"/>
                    </a:lnTo>
                    <a:lnTo>
                      <a:pt x="98" y="66"/>
                    </a:lnTo>
                    <a:lnTo>
                      <a:pt x="98" y="66"/>
                    </a:lnTo>
                    <a:lnTo>
                      <a:pt x="82" y="72"/>
                    </a:lnTo>
                    <a:lnTo>
                      <a:pt x="64" y="76"/>
                    </a:lnTo>
                    <a:lnTo>
                      <a:pt x="64" y="76"/>
                    </a:lnTo>
                    <a:lnTo>
                      <a:pt x="44" y="74"/>
                    </a:lnTo>
                    <a:lnTo>
                      <a:pt x="26" y="68"/>
                    </a:lnTo>
                    <a:lnTo>
                      <a:pt x="14" y="74"/>
                    </a:lnTo>
                    <a:lnTo>
                      <a:pt x="0" y="68"/>
                    </a:lnTo>
                    <a:lnTo>
                      <a:pt x="12" y="62"/>
                    </a:lnTo>
                    <a:lnTo>
                      <a:pt x="12" y="62"/>
                    </a:lnTo>
                    <a:lnTo>
                      <a:pt x="4" y="54"/>
                    </a:lnTo>
                    <a:lnTo>
                      <a:pt x="2" y="50"/>
                    </a:lnTo>
                    <a:lnTo>
                      <a:pt x="2" y="46"/>
                    </a:lnTo>
                    <a:lnTo>
                      <a:pt x="2" y="46"/>
                    </a:lnTo>
                    <a:lnTo>
                      <a:pt x="4" y="42"/>
                    </a:lnTo>
                    <a:lnTo>
                      <a:pt x="8" y="38"/>
                    </a:lnTo>
                    <a:lnTo>
                      <a:pt x="24" y="28"/>
                    </a:lnTo>
                    <a:lnTo>
                      <a:pt x="30" y="26"/>
                    </a:lnTo>
                    <a:lnTo>
                      <a:pt x="58" y="40"/>
                    </a:lnTo>
                    <a:lnTo>
                      <a:pt x="52" y="44"/>
                    </a:lnTo>
                    <a:lnTo>
                      <a:pt x="52" y="44"/>
                    </a:lnTo>
                    <a:lnTo>
                      <a:pt x="36" y="52"/>
                    </a:lnTo>
                    <a:lnTo>
                      <a:pt x="36" y="52"/>
                    </a:lnTo>
                    <a:lnTo>
                      <a:pt x="36" y="54"/>
                    </a:lnTo>
                    <a:lnTo>
                      <a:pt x="38" y="56"/>
                    </a:lnTo>
                    <a:lnTo>
                      <a:pt x="38" y="56"/>
                    </a:lnTo>
                    <a:lnTo>
                      <a:pt x="44" y="56"/>
                    </a:lnTo>
                    <a:lnTo>
                      <a:pt x="44" y="56"/>
                    </a:lnTo>
                    <a:lnTo>
                      <a:pt x="52" y="54"/>
                    </a:lnTo>
                    <a:lnTo>
                      <a:pt x="52" y="54"/>
                    </a:lnTo>
                    <a:lnTo>
                      <a:pt x="66" y="46"/>
                    </a:lnTo>
                    <a:lnTo>
                      <a:pt x="66" y="46"/>
                    </a:lnTo>
                    <a:lnTo>
                      <a:pt x="68" y="42"/>
                    </a:lnTo>
                    <a:lnTo>
                      <a:pt x="66" y="38"/>
                    </a:lnTo>
                    <a:lnTo>
                      <a:pt x="66" y="38"/>
                    </a:lnTo>
                    <a:lnTo>
                      <a:pt x="60" y="22"/>
                    </a:lnTo>
                    <a:lnTo>
                      <a:pt x="60" y="22"/>
                    </a:lnTo>
                    <a:lnTo>
                      <a:pt x="60" y="18"/>
                    </a:lnTo>
                    <a:lnTo>
                      <a:pt x="64" y="14"/>
                    </a:lnTo>
                    <a:lnTo>
                      <a:pt x="64" y="14"/>
                    </a:lnTo>
                    <a:lnTo>
                      <a:pt x="68" y="10"/>
                    </a:lnTo>
                    <a:lnTo>
                      <a:pt x="76" y="6"/>
                    </a:lnTo>
                    <a:lnTo>
                      <a:pt x="76" y="6"/>
                    </a:lnTo>
                    <a:lnTo>
                      <a:pt x="88" y="2"/>
                    </a:lnTo>
                    <a:lnTo>
                      <a:pt x="102" y="0"/>
                    </a:lnTo>
                    <a:lnTo>
                      <a:pt x="102" y="0"/>
                    </a:lnTo>
                    <a:lnTo>
                      <a:pt x="118" y="2"/>
                    </a:lnTo>
                    <a:lnTo>
                      <a:pt x="134" y="6"/>
                    </a:lnTo>
                    <a:lnTo>
                      <a:pt x="142" y="2"/>
                    </a:lnTo>
                    <a:lnTo>
                      <a:pt x="156" y="8"/>
                    </a:lnTo>
                    <a:lnTo>
                      <a:pt x="148" y="12"/>
                    </a:lnTo>
                    <a:lnTo>
                      <a:pt x="148" y="12"/>
                    </a:lnTo>
                    <a:lnTo>
                      <a:pt x="158" y="18"/>
                    </a:lnTo>
                    <a:lnTo>
                      <a:pt x="160" y="22"/>
                    </a:lnTo>
                    <a:lnTo>
                      <a:pt x="160" y="26"/>
                    </a:lnTo>
                    <a:lnTo>
                      <a:pt x="160" y="26"/>
                    </a:lnTo>
                    <a:lnTo>
                      <a:pt x="160" y="28"/>
                    </a:lnTo>
                    <a:lnTo>
                      <a:pt x="158" y="32"/>
                    </a:lnTo>
                    <a:lnTo>
                      <a:pt x="150" y="38"/>
                    </a:lnTo>
                    <a:lnTo>
                      <a:pt x="150" y="38"/>
                    </a:lnTo>
                    <a:lnTo>
                      <a:pt x="144" y="40"/>
                    </a:lnTo>
                    <a:lnTo>
                      <a:pt x="144" y="40"/>
                    </a:lnTo>
                    <a:close/>
                  </a:path>
                </a:pathLst>
              </a:custGeom>
              <a:solidFill>
                <a:srgbClr val="D8A72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09" name="Freeform 169"/>
              <p:cNvSpPr/>
              <p:nvPr/>
            </p:nvSpPr>
            <p:spPr bwMode="auto">
              <a:xfrm>
                <a:off x="7110878" y="2787295"/>
                <a:ext cx="750700" cy="671657"/>
              </a:xfrm>
              <a:custGeom>
                <a:avLst/>
                <a:gdLst>
                  <a:gd name="T0" fmla="*/ 94 w 452"/>
                  <a:gd name="T1" fmla="*/ 410 h 452"/>
                  <a:gd name="T2" fmla="*/ 60 w 452"/>
                  <a:gd name="T3" fmla="*/ 380 h 452"/>
                  <a:gd name="T4" fmla="*/ 34 w 452"/>
                  <a:gd name="T5" fmla="*/ 344 h 452"/>
                  <a:gd name="T6" fmla="*/ 14 w 452"/>
                  <a:gd name="T7" fmla="*/ 306 h 452"/>
                  <a:gd name="T8" fmla="*/ 2 w 452"/>
                  <a:gd name="T9" fmla="*/ 264 h 452"/>
                  <a:gd name="T10" fmla="*/ 0 w 452"/>
                  <a:gd name="T11" fmla="*/ 220 h 452"/>
                  <a:gd name="T12" fmla="*/ 4 w 452"/>
                  <a:gd name="T13" fmla="*/ 176 h 452"/>
                  <a:gd name="T14" fmla="*/ 18 w 452"/>
                  <a:gd name="T15" fmla="*/ 134 h 452"/>
                  <a:gd name="T16" fmla="*/ 40 w 452"/>
                  <a:gd name="T17" fmla="*/ 94 h 452"/>
                  <a:gd name="T18" fmla="*/ 56 w 452"/>
                  <a:gd name="T19" fmla="*/ 76 h 452"/>
                  <a:gd name="T20" fmla="*/ 88 w 452"/>
                  <a:gd name="T21" fmla="*/ 46 h 452"/>
                  <a:gd name="T22" fmla="*/ 126 w 452"/>
                  <a:gd name="T23" fmla="*/ 22 h 452"/>
                  <a:gd name="T24" fmla="*/ 166 w 452"/>
                  <a:gd name="T25" fmla="*/ 6 h 452"/>
                  <a:gd name="T26" fmla="*/ 210 w 452"/>
                  <a:gd name="T27" fmla="*/ 0 h 452"/>
                  <a:gd name="T28" fmla="*/ 252 w 452"/>
                  <a:gd name="T29" fmla="*/ 0 h 452"/>
                  <a:gd name="T30" fmla="*/ 296 w 452"/>
                  <a:gd name="T31" fmla="*/ 10 h 452"/>
                  <a:gd name="T32" fmla="*/ 336 w 452"/>
                  <a:gd name="T33" fmla="*/ 28 h 452"/>
                  <a:gd name="T34" fmla="*/ 356 w 452"/>
                  <a:gd name="T35" fmla="*/ 40 h 452"/>
                  <a:gd name="T36" fmla="*/ 390 w 452"/>
                  <a:gd name="T37" fmla="*/ 70 h 452"/>
                  <a:gd name="T38" fmla="*/ 418 w 452"/>
                  <a:gd name="T39" fmla="*/ 106 h 452"/>
                  <a:gd name="T40" fmla="*/ 438 w 452"/>
                  <a:gd name="T41" fmla="*/ 146 h 452"/>
                  <a:gd name="T42" fmla="*/ 448 w 452"/>
                  <a:gd name="T43" fmla="*/ 188 h 452"/>
                  <a:gd name="T44" fmla="*/ 452 w 452"/>
                  <a:gd name="T45" fmla="*/ 230 h 452"/>
                  <a:gd name="T46" fmla="*/ 446 w 452"/>
                  <a:gd name="T47" fmla="*/ 274 h 452"/>
                  <a:gd name="T48" fmla="*/ 432 w 452"/>
                  <a:gd name="T49" fmla="*/ 316 h 452"/>
                  <a:gd name="T50" fmla="*/ 410 w 452"/>
                  <a:gd name="T51" fmla="*/ 356 h 452"/>
                  <a:gd name="T52" fmla="*/ 396 w 452"/>
                  <a:gd name="T53" fmla="*/ 374 h 452"/>
                  <a:gd name="T54" fmla="*/ 362 w 452"/>
                  <a:gd name="T55" fmla="*/ 406 h 452"/>
                  <a:gd name="T56" fmla="*/ 326 w 452"/>
                  <a:gd name="T57" fmla="*/ 428 h 452"/>
                  <a:gd name="T58" fmla="*/ 284 w 452"/>
                  <a:gd name="T59" fmla="*/ 444 h 452"/>
                  <a:gd name="T60" fmla="*/ 242 w 452"/>
                  <a:gd name="T61" fmla="*/ 450 h 452"/>
                  <a:gd name="T62" fmla="*/ 198 w 452"/>
                  <a:gd name="T63" fmla="*/ 450 h 452"/>
                  <a:gd name="T64" fmla="*/ 156 w 452"/>
                  <a:gd name="T65" fmla="*/ 440 h 452"/>
                  <a:gd name="T66" fmla="*/ 114 w 452"/>
                  <a:gd name="T67" fmla="*/ 42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2" h="452">
                    <a:moveTo>
                      <a:pt x="94" y="410"/>
                    </a:moveTo>
                    <a:lnTo>
                      <a:pt x="94" y="410"/>
                    </a:lnTo>
                    <a:lnTo>
                      <a:pt x="76" y="396"/>
                    </a:lnTo>
                    <a:lnTo>
                      <a:pt x="60" y="380"/>
                    </a:lnTo>
                    <a:lnTo>
                      <a:pt x="46" y="362"/>
                    </a:lnTo>
                    <a:lnTo>
                      <a:pt x="34" y="344"/>
                    </a:lnTo>
                    <a:lnTo>
                      <a:pt x="22" y="326"/>
                    </a:lnTo>
                    <a:lnTo>
                      <a:pt x="14" y="306"/>
                    </a:lnTo>
                    <a:lnTo>
                      <a:pt x="8" y="284"/>
                    </a:lnTo>
                    <a:lnTo>
                      <a:pt x="2" y="264"/>
                    </a:lnTo>
                    <a:lnTo>
                      <a:pt x="0" y="242"/>
                    </a:lnTo>
                    <a:lnTo>
                      <a:pt x="0" y="220"/>
                    </a:lnTo>
                    <a:lnTo>
                      <a:pt x="0" y="198"/>
                    </a:lnTo>
                    <a:lnTo>
                      <a:pt x="4" y="176"/>
                    </a:lnTo>
                    <a:lnTo>
                      <a:pt x="10" y="156"/>
                    </a:lnTo>
                    <a:lnTo>
                      <a:pt x="18" y="134"/>
                    </a:lnTo>
                    <a:lnTo>
                      <a:pt x="28" y="114"/>
                    </a:lnTo>
                    <a:lnTo>
                      <a:pt x="40" y="94"/>
                    </a:lnTo>
                    <a:lnTo>
                      <a:pt x="40" y="94"/>
                    </a:lnTo>
                    <a:lnTo>
                      <a:pt x="56" y="76"/>
                    </a:lnTo>
                    <a:lnTo>
                      <a:pt x="70" y="60"/>
                    </a:lnTo>
                    <a:lnTo>
                      <a:pt x="88" y="46"/>
                    </a:lnTo>
                    <a:lnTo>
                      <a:pt x="106" y="32"/>
                    </a:lnTo>
                    <a:lnTo>
                      <a:pt x="126" y="22"/>
                    </a:lnTo>
                    <a:lnTo>
                      <a:pt x="146" y="14"/>
                    </a:lnTo>
                    <a:lnTo>
                      <a:pt x="166" y="6"/>
                    </a:lnTo>
                    <a:lnTo>
                      <a:pt x="188" y="2"/>
                    </a:lnTo>
                    <a:lnTo>
                      <a:pt x="210" y="0"/>
                    </a:lnTo>
                    <a:lnTo>
                      <a:pt x="230" y="0"/>
                    </a:lnTo>
                    <a:lnTo>
                      <a:pt x="252" y="0"/>
                    </a:lnTo>
                    <a:lnTo>
                      <a:pt x="274" y="4"/>
                    </a:lnTo>
                    <a:lnTo>
                      <a:pt x="296" y="10"/>
                    </a:lnTo>
                    <a:lnTo>
                      <a:pt x="316" y="18"/>
                    </a:lnTo>
                    <a:lnTo>
                      <a:pt x="336" y="28"/>
                    </a:lnTo>
                    <a:lnTo>
                      <a:pt x="356" y="40"/>
                    </a:lnTo>
                    <a:lnTo>
                      <a:pt x="356" y="40"/>
                    </a:lnTo>
                    <a:lnTo>
                      <a:pt x="374" y="56"/>
                    </a:lnTo>
                    <a:lnTo>
                      <a:pt x="390" y="70"/>
                    </a:lnTo>
                    <a:lnTo>
                      <a:pt x="406" y="88"/>
                    </a:lnTo>
                    <a:lnTo>
                      <a:pt x="418" y="106"/>
                    </a:lnTo>
                    <a:lnTo>
                      <a:pt x="428" y="126"/>
                    </a:lnTo>
                    <a:lnTo>
                      <a:pt x="438" y="146"/>
                    </a:lnTo>
                    <a:lnTo>
                      <a:pt x="444" y="166"/>
                    </a:lnTo>
                    <a:lnTo>
                      <a:pt x="448" y="188"/>
                    </a:lnTo>
                    <a:lnTo>
                      <a:pt x="452" y="208"/>
                    </a:lnTo>
                    <a:lnTo>
                      <a:pt x="452" y="230"/>
                    </a:lnTo>
                    <a:lnTo>
                      <a:pt x="450" y="252"/>
                    </a:lnTo>
                    <a:lnTo>
                      <a:pt x="446" y="274"/>
                    </a:lnTo>
                    <a:lnTo>
                      <a:pt x="440" y="296"/>
                    </a:lnTo>
                    <a:lnTo>
                      <a:pt x="432" y="316"/>
                    </a:lnTo>
                    <a:lnTo>
                      <a:pt x="422" y="336"/>
                    </a:lnTo>
                    <a:lnTo>
                      <a:pt x="410" y="356"/>
                    </a:lnTo>
                    <a:lnTo>
                      <a:pt x="410" y="356"/>
                    </a:lnTo>
                    <a:lnTo>
                      <a:pt x="396" y="374"/>
                    </a:lnTo>
                    <a:lnTo>
                      <a:pt x="380" y="390"/>
                    </a:lnTo>
                    <a:lnTo>
                      <a:pt x="362" y="406"/>
                    </a:lnTo>
                    <a:lnTo>
                      <a:pt x="344" y="418"/>
                    </a:lnTo>
                    <a:lnTo>
                      <a:pt x="326" y="428"/>
                    </a:lnTo>
                    <a:lnTo>
                      <a:pt x="306" y="438"/>
                    </a:lnTo>
                    <a:lnTo>
                      <a:pt x="284" y="444"/>
                    </a:lnTo>
                    <a:lnTo>
                      <a:pt x="264" y="448"/>
                    </a:lnTo>
                    <a:lnTo>
                      <a:pt x="242" y="450"/>
                    </a:lnTo>
                    <a:lnTo>
                      <a:pt x="220" y="452"/>
                    </a:lnTo>
                    <a:lnTo>
                      <a:pt x="198" y="450"/>
                    </a:lnTo>
                    <a:lnTo>
                      <a:pt x="176" y="446"/>
                    </a:lnTo>
                    <a:lnTo>
                      <a:pt x="156" y="440"/>
                    </a:lnTo>
                    <a:lnTo>
                      <a:pt x="134" y="432"/>
                    </a:lnTo>
                    <a:lnTo>
                      <a:pt x="114" y="422"/>
                    </a:lnTo>
                    <a:lnTo>
                      <a:pt x="94" y="410"/>
                    </a:lnTo>
                    <a:close/>
                  </a:path>
                </a:pathLst>
              </a:custGeom>
              <a:solidFill>
                <a:srgbClr val="FBCA0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0" name="Freeform 170"/>
              <p:cNvSpPr/>
              <p:nvPr/>
            </p:nvSpPr>
            <p:spPr bwMode="auto">
              <a:xfrm>
                <a:off x="7110878" y="2787295"/>
                <a:ext cx="750700" cy="671657"/>
              </a:xfrm>
              <a:custGeom>
                <a:avLst/>
                <a:gdLst>
                  <a:gd name="T0" fmla="*/ 94 w 452"/>
                  <a:gd name="T1" fmla="*/ 410 h 452"/>
                  <a:gd name="T2" fmla="*/ 60 w 452"/>
                  <a:gd name="T3" fmla="*/ 380 h 452"/>
                  <a:gd name="T4" fmla="*/ 34 w 452"/>
                  <a:gd name="T5" fmla="*/ 344 h 452"/>
                  <a:gd name="T6" fmla="*/ 14 w 452"/>
                  <a:gd name="T7" fmla="*/ 306 h 452"/>
                  <a:gd name="T8" fmla="*/ 2 w 452"/>
                  <a:gd name="T9" fmla="*/ 264 h 452"/>
                  <a:gd name="T10" fmla="*/ 0 w 452"/>
                  <a:gd name="T11" fmla="*/ 220 h 452"/>
                  <a:gd name="T12" fmla="*/ 4 w 452"/>
                  <a:gd name="T13" fmla="*/ 176 h 452"/>
                  <a:gd name="T14" fmla="*/ 18 w 452"/>
                  <a:gd name="T15" fmla="*/ 134 h 452"/>
                  <a:gd name="T16" fmla="*/ 40 w 452"/>
                  <a:gd name="T17" fmla="*/ 94 h 452"/>
                  <a:gd name="T18" fmla="*/ 56 w 452"/>
                  <a:gd name="T19" fmla="*/ 76 h 452"/>
                  <a:gd name="T20" fmla="*/ 88 w 452"/>
                  <a:gd name="T21" fmla="*/ 46 h 452"/>
                  <a:gd name="T22" fmla="*/ 126 w 452"/>
                  <a:gd name="T23" fmla="*/ 22 h 452"/>
                  <a:gd name="T24" fmla="*/ 166 w 452"/>
                  <a:gd name="T25" fmla="*/ 6 h 452"/>
                  <a:gd name="T26" fmla="*/ 210 w 452"/>
                  <a:gd name="T27" fmla="*/ 0 h 452"/>
                  <a:gd name="T28" fmla="*/ 252 w 452"/>
                  <a:gd name="T29" fmla="*/ 0 h 452"/>
                  <a:gd name="T30" fmla="*/ 296 w 452"/>
                  <a:gd name="T31" fmla="*/ 10 h 452"/>
                  <a:gd name="T32" fmla="*/ 336 w 452"/>
                  <a:gd name="T33" fmla="*/ 28 h 452"/>
                  <a:gd name="T34" fmla="*/ 356 w 452"/>
                  <a:gd name="T35" fmla="*/ 40 h 452"/>
                  <a:gd name="T36" fmla="*/ 390 w 452"/>
                  <a:gd name="T37" fmla="*/ 70 h 452"/>
                  <a:gd name="T38" fmla="*/ 418 w 452"/>
                  <a:gd name="T39" fmla="*/ 106 h 452"/>
                  <a:gd name="T40" fmla="*/ 438 w 452"/>
                  <a:gd name="T41" fmla="*/ 146 h 452"/>
                  <a:gd name="T42" fmla="*/ 448 w 452"/>
                  <a:gd name="T43" fmla="*/ 188 h 452"/>
                  <a:gd name="T44" fmla="*/ 452 w 452"/>
                  <a:gd name="T45" fmla="*/ 230 h 452"/>
                  <a:gd name="T46" fmla="*/ 446 w 452"/>
                  <a:gd name="T47" fmla="*/ 274 h 452"/>
                  <a:gd name="T48" fmla="*/ 432 w 452"/>
                  <a:gd name="T49" fmla="*/ 316 h 452"/>
                  <a:gd name="T50" fmla="*/ 410 w 452"/>
                  <a:gd name="T51" fmla="*/ 356 h 452"/>
                  <a:gd name="T52" fmla="*/ 396 w 452"/>
                  <a:gd name="T53" fmla="*/ 374 h 452"/>
                  <a:gd name="T54" fmla="*/ 362 w 452"/>
                  <a:gd name="T55" fmla="*/ 406 h 452"/>
                  <a:gd name="T56" fmla="*/ 326 w 452"/>
                  <a:gd name="T57" fmla="*/ 428 h 452"/>
                  <a:gd name="T58" fmla="*/ 284 w 452"/>
                  <a:gd name="T59" fmla="*/ 444 h 452"/>
                  <a:gd name="T60" fmla="*/ 242 w 452"/>
                  <a:gd name="T61" fmla="*/ 450 h 452"/>
                  <a:gd name="T62" fmla="*/ 198 w 452"/>
                  <a:gd name="T63" fmla="*/ 450 h 452"/>
                  <a:gd name="T64" fmla="*/ 156 w 452"/>
                  <a:gd name="T65" fmla="*/ 440 h 452"/>
                  <a:gd name="T66" fmla="*/ 114 w 452"/>
                  <a:gd name="T67" fmla="*/ 42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2" h="452">
                    <a:moveTo>
                      <a:pt x="94" y="410"/>
                    </a:moveTo>
                    <a:lnTo>
                      <a:pt x="94" y="410"/>
                    </a:lnTo>
                    <a:lnTo>
                      <a:pt x="76" y="396"/>
                    </a:lnTo>
                    <a:lnTo>
                      <a:pt x="60" y="380"/>
                    </a:lnTo>
                    <a:lnTo>
                      <a:pt x="46" y="362"/>
                    </a:lnTo>
                    <a:lnTo>
                      <a:pt x="34" y="344"/>
                    </a:lnTo>
                    <a:lnTo>
                      <a:pt x="22" y="326"/>
                    </a:lnTo>
                    <a:lnTo>
                      <a:pt x="14" y="306"/>
                    </a:lnTo>
                    <a:lnTo>
                      <a:pt x="8" y="284"/>
                    </a:lnTo>
                    <a:lnTo>
                      <a:pt x="2" y="264"/>
                    </a:lnTo>
                    <a:lnTo>
                      <a:pt x="0" y="242"/>
                    </a:lnTo>
                    <a:lnTo>
                      <a:pt x="0" y="220"/>
                    </a:lnTo>
                    <a:lnTo>
                      <a:pt x="0" y="198"/>
                    </a:lnTo>
                    <a:lnTo>
                      <a:pt x="4" y="176"/>
                    </a:lnTo>
                    <a:lnTo>
                      <a:pt x="10" y="156"/>
                    </a:lnTo>
                    <a:lnTo>
                      <a:pt x="18" y="134"/>
                    </a:lnTo>
                    <a:lnTo>
                      <a:pt x="28" y="114"/>
                    </a:lnTo>
                    <a:lnTo>
                      <a:pt x="40" y="94"/>
                    </a:lnTo>
                    <a:lnTo>
                      <a:pt x="40" y="94"/>
                    </a:lnTo>
                    <a:lnTo>
                      <a:pt x="56" y="76"/>
                    </a:lnTo>
                    <a:lnTo>
                      <a:pt x="70" y="60"/>
                    </a:lnTo>
                    <a:lnTo>
                      <a:pt x="88" y="46"/>
                    </a:lnTo>
                    <a:lnTo>
                      <a:pt x="106" y="32"/>
                    </a:lnTo>
                    <a:lnTo>
                      <a:pt x="126" y="22"/>
                    </a:lnTo>
                    <a:lnTo>
                      <a:pt x="146" y="14"/>
                    </a:lnTo>
                    <a:lnTo>
                      <a:pt x="166" y="6"/>
                    </a:lnTo>
                    <a:lnTo>
                      <a:pt x="188" y="2"/>
                    </a:lnTo>
                    <a:lnTo>
                      <a:pt x="210" y="0"/>
                    </a:lnTo>
                    <a:lnTo>
                      <a:pt x="230" y="0"/>
                    </a:lnTo>
                    <a:lnTo>
                      <a:pt x="252" y="0"/>
                    </a:lnTo>
                    <a:lnTo>
                      <a:pt x="274" y="4"/>
                    </a:lnTo>
                    <a:lnTo>
                      <a:pt x="296" y="10"/>
                    </a:lnTo>
                    <a:lnTo>
                      <a:pt x="316" y="18"/>
                    </a:lnTo>
                    <a:lnTo>
                      <a:pt x="336" y="28"/>
                    </a:lnTo>
                    <a:lnTo>
                      <a:pt x="356" y="40"/>
                    </a:lnTo>
                    <a:lnTo>
                      <a:pt x="356" y="40"/>
                    </a:lnTo>
                    <a:lnTo>
                      <a:pt x="374" y="56"/>
                    </a:lnTo>
                    <a:lnTo>
                      <a:pt x="390" y="70"/>
                    </a:lnTo>
                    <a:lnTo>
                      <a:pt x="406" y="88"/>
                    </a:lnTo>
                    <a:lnTo>
                      <a:pt x="418" y="106"/>
                    </a:lnTo>
                    <a:lnTo>
                      <a:pt x="428" y="126"/>
                    </a:lnTo>
                    <a:lnTo>
                      <a:pt x="438" y="146"/>
                    </a:lnTo>
                    <a:lnTo>
                      <a:pt x="444" y="166"/>
                    </a:lnTo>
                    <a:lnTo>
                      <a:pt x="448" y="188"/>
                    </a:lnTo>
                    <a:lnTo>
                      <a:pt x="452" y="208"/>
                    </a:lnTo>
                    <a:lnTo>
                      <a:pt x="452" y="230"/>
                    </a:lnTo>
                    <a:lnTo>
                      <a:pt x="450" y="252"/>
                    </a:lnTo>
                    <a:lnTo>
                      <a:pt x="446" y="274"/>
                    </a:lnTo>
                    <a:lnTo>
                      <a:pt x="440" y="296"/>
                    </a:lnTo>
                    <a:lnTo>
                      <a:pt x="432" y="316"/>
                    </a:lnTo>
                    <a:lnTo>
                      <a:pt x="422" y="336"/>
                    </a:lnTo>
                    <a:lnTo>
                      <a:pt x="410" y="356"/>
                    </a:lnTo>
                    <a:lnTo>
                      <a:pt x="410" y="356"/>
                    </a:lnTo>
                    <a:lnTo>
                      <a:pt x="396" y="374"/>
                    </a:lnTo>
                    <a:lnTo>
                      <a:pt x="380" y="390"/>
                    </a:lnTo>
                    <a:lnTo>
                      <a:pt x="362" y="406"/>
                    </a:lnTo>
                    <a:lnTo>
                      <a:pt x="344" y="418"/>
                    </a:lnTo>
                    <a:lnTo>
                      <a:pt x="326" y="428"/>
                    </a:lnTo>
                    <a:lnTo>
                      <a:pt x="306" y="438"/>
                    </a:lnTo>
                    <a:lnTo>
                      <a:pt x="284" y="444"/>
                    </a:lnTo>
                    <a:lnTo>
                      <a:pt x="264" y="448"/>
                    </a:lnTo>
                    <a:lnTo>
                      <a:pt x="242" y="450"/>
                    </a:lnTo>
                    <a:lnTo>
                      <a:pt x="220" y="452"/>
                    </a:lnTo>
                    <a:lnTo>
                      <a:pt x="198" y="450"/>
                    </a:lnTo>
                    <a:lnTo>
                      <a:pt x="176" y="446"/>
                    </a:lnTo>
                    <a:lnTo>
                      <a:pt x="156" y="440"/>
                    </a:lnTo>
                    <a:lnTo>
                      <a:pt x="134" y="432"/>
                    </a:lnTo>
                    <a:lnTo>
                      <a:pt x="114" y="422"/>
                    </a:lnTo>
                    <a:lnTo>
                      <a:pt x="94" y="4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1" name="Freeform 171"/>
              <p:cNvSpPr>
                <a:spLocks noEditPoints="1"/>
              </p:cNvSpPr>
              <p:nvPr/>
            </p:nvSpPr>
            <p:spPr bwMode="auto">
              <a:xfrm>
                <a:off x="7180633" y="2849706"/>
                <a:ext cx="607867" cy="543864"/>
              </a:xfrm>
              <a:custGeom>
                <a:avLst/>
                <a:gdLst>
                  <a:gd name="T0" fmla="*/ 46 w 366"/>
                  <a:gd name="T1" fmla="*/ 62 h 366"/>
                  <a:gd name="T2" fmla="*/ 88 w 366"/>
                  <a:gd name="T3" fmla="*/ 28 h 366"/>
                  <a:gd name="T4" fmla="*/ 136 w 366"/>
                  <a:gd name="T5" fmla="*/ 6 h 366"/>
                  <a:gd name="T6" fmla="*/ 188 w 366"/>
                  <a:gd name="T7" fmla="*/ 0 h 366"/>
                  <a:gd name="T8" fmla="*/ 240 w 366"/>
                  <a:gd name="T9" fmla="*/ 10 h 366"/>
                  <a:gd name="T10" fmla="*/ 290 w 366"/>
                  <a:gd name="T11" fmla="*/ 34 h 366"/>
                  <a:gd name="T12" fmla="*/ 318 w 366"/>
                  <a:gd name="T13" fmla="*/ 58 h 366"/>
                  <a:gd name="T14" fmla="*/ 348 w 366"/>
                  <a:gd name="T15" fmla="*/ 102 h 366"/>
                  <a:gd name="T16" fmla="*/ 364 w 366"/>
                  <a:gd name="T17" fmla="*/ 152 h 366"/>
                  <a:gd name="T18" fmla="*/ 366 w 366"/>
                  <a:gd name="T19" fmla="*/ 206 h 366"/>
                  <a:gd name="T20" fmla="*/ 350 w 366"/>
                  <a:gd name="T21" fmla="*/ 256 h 366"/>
                  <a:gd name="T22" fmla="*/ 332 w 366"/>
                  <a:gd name="T23" fmla="*/ 290 h 366"/>
                  <a:gd name="T24" fmla="*/ 294 w 366"/>
                  <a:gd name="T25" fmla="*/ 328 h 366"/>
                  <a:gd name="T26" fmla="*/ 248 w 366"/>
                  <a:gd name="T27" fmla="*/ 354 h 366"/>
                  <a:gd name="T28" fmla="*/ 196 w 366"/>
                  <a:gd name="T29" fmla="*/ 366 h 366"/>
                  <a:gd name="T30" fmla="*/ 144 w 366"/>
                  <a:gd name="T31" fmla="*/ 362 h 366"/>
                  <a:gd name="T32" fmla="*/ 94 w 366"/>
                  <a:gd name="T33" fmla="*/ 342 h 366"/>
                  <a:gd name="T34" fmla="*/ 62 w 366"/>
                  <a:gd name="T35" fmla="*/ 320 h 366"/>
                  <a:gd name="T36" fmla="*/ 28 w 366"/>
                  <a:gd name="T37" fmla="*/ 280 h 366"/>
                  <a:gd name="T38" fmla="*/ 6 w 366"/>
                  <a:gd name="T39" fmla="*/ 232 h 366"/>
                  <a:gd name="T40" fmla="*/ 0 w 366"/>
                  <a:gd name="T41" fmla="*/ 178 h 366"/>
                  <a:gd name="T42" fmla="*/ 10 w 366"/>
                  <a:gd name="T43" fmla="*/ 126 h 366"/>
                  <a:gd name="T44" fmla="*/ 34 w 366"/>
                  <a:gd name="T45" fmla="*/ 78 h 366"/>
                  <a:gd name="T46" fmla="*/ 318 w 366"/>
                  <a:gd name="T47" fmla="*/ 260 h 366"/>
                  <a:gd name="T48" fmla="*/ 334 w 366"/>
                  <a:gd name="T49" fmla="*/ 216 h 366"/>
                  <a:gd name="T50" fmla="*/ 338 w 366"/>
                  <a:gd name="T51" fmla="*/ 172 h 366"/>
                  <a:gd name="T52" fmla="*/ 328 w 366"/>
                  <a:gd name="T53" fmla="*/ 128 h 366"/>
                  <a:gd name="T54" fmla="*/ 306 w 366"/>
                  <a:gd name="T55" fmla="*/ 90 h 366"/>
                  <a:gd name="T56" fmla="*/ 272 w 366"/>
                  <a:gd name="T57" fmla="*/ 58 h 366"/>
                  <a:gd name="T58" fmla="*/ 246 w 366"/>
                  <a:gd name="T59" fmla="*/ 42 h 366"/>
                  <a:gd name="T60" fmla="*/ 202 w 366"/>
                  <a:gd name="T61" fmla="*/ 30 h 366"/>
                  <a:gd name="T62" fmla="*/ 158 w 366"/>
                  <a:gd name="T63" fmla="*/ 32 h 366"/>
                  <a:gd name="T64" fmla="*/ 116 w 366"/>
                  <a:gd name="T65" fmla="*/ 46 h 366"/>
                  <a:gd name="T66" fmla="*/ 78 w 366"/>
                  <a:gd name="T67" fmla="*/ 70 h 366"/>
                  <a:gd name="T68" fmla="*/ 58 w 366"/>
                  <a:gd name="T69" fmla="*/ 94 h 366"/>
                  <a:gd name="T70" fmla="*/ 36 w 366"/>
                  <a:gd name="T71" fmla="*/ 136 h 366"/>
                  <a:gd name="T72" fmla="*/ 30 w 366"/>
                  <a:gd name="T73" fmla="*/ 180 h 366"/>
                  <a:gd name="T74" fmla="*/ 34 w 366"/>
                  <a:gd name="T75" fmla="*/ 224 h 366"/>
                  <a:gd name="T76" fmla="*/ 52 w 366"/>
                  <a:gd name="T77" fmla="*/ 264 h 366"/>
                  <a:gd name="T78" fmla="*/ 82 w 366"/>
                  <a:gd name="T79" fmla="*/ 300 h 366"/>
                  <a:gd name="T80" fmla="*/ 108 w 366"/>
                  <a:gd name="T81" fmla="*/ 318 h 366"/>
                  <a:gd name="T82" fmla="*/ 150 w 366"/>
                  <a:gd name="T83" fmla="*/ 334 h 366"/>
                  <a:gd name="T84" fmla="*/ 194 w 366"/>
                  <a:gd name="T85" fmla="*/ 336 h 366"/>
                  <a:gd name="T86" fmla="*/ 238 w 366"/>
                  <a:gd name="T87" fmla="*/ 328 h 366"/>
                  <a:gd name="T88" fmla="*/ 278 w 366"/>
                  <a:gd name="T89" fmla="*/ 306 h 366"/>
                  <a:gd name="T90" fmla="*/ 310 w 366"/>
                  <a:gd name="T91" fmla="*/ 272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6" h="366">
                    <a:moveTo>
                      <a:pt x="34" y="78"/>
                    </a:moveTo>
                    <a:lnTo>
                      <a:pt x="34" y="78"/>
                    </a:lnTo>
                    <a:lnTo>
                      <a:pt x="46" y="62"/>
                    </a:lnTo>
                    <a:lnTo>
                      <a:pt x="58" y="50"/>
                    </a:lnTo>
                    <a:lnTo>
                      <a:pt x="72" y="38"/>
                    </a:lnTo>
                    <a:lnTo>
                      <a:pt x="88" y="28"/>
                    </a:lnTo>
                    <a:lnTo>
                      <a:pt x="102" y="20"/>
                    </a:lnTo>
                    <a:lnTo>
                      <a:pt x="118" y="12"/>
                    </a:lnTo>
                    <a:lnTo>
                      <a:pt x="136" y="6"/>
                    </a:lnTo>
                    <a:lnTo>
                      <a:pt x="152" y="2"/>
                    </a:lnTo>
                    <a:lnTo>
                      <a:pt x="170" y="0"/>
                    </a:lnTo>
                    <a:lnTo>
                      <a:pt x="188" y="0"/>
                    </a:lnTo>
                    <a:lnTo>
                      <a:pt x="206" y="2"/>
                    </a:lnTo>
                    <a:lnTo>
                      <a:pt x="222" y="4"/>
                    </a:lnTo>
                    <a:lnTo>
                      <a:pt x="240" y="10"/>
                    </a:lnTo>
                    <a:lnTo>
                      <a:pt x="258" y="16"/>
                    </a:lnTo>
                    <a:lnTo>
                      <a:pt x="274" y="24"/>
                    </a:lnTo>
                    <a:lnTo>
                      <a:pt x="290" y="34"/>
                    </a:lnTo>
                    <a:lnTo>
                      <a:pt x="290" y="34"/>
                    </a:lnTo>
                    <a:lnTo>
                      <a:pt x="304" y="46"/>
                    </a:lnTo>
                    <a:lnTo>
                      <a:pt x="318" y="58"/>
                    </a:lnTo>
                    <a:lnTo>
                      <a:pt x="328" y="72"/>
                    </a:lnTo>
                    <a:lnTo>
                      <a:pt x="340" y="86"/>
                    </a:lnTo>
                    <a:lnTo>
                      <a:pt x="348" y="102"/>
                    </a:lnTo>
                    <a:lnTo>
                      <a:pt x="354" y="118"/>
                    </a:lnTo>
                    <a:lnTo>
                      <a:pt x="360" y="136"/>
                    </a:lnTo>
                    <a:lnTo>
                      <a:pt x="364" y="152"/>
                    </a:lnTo>
                    <a:lnTo>
                      <a:pt x="366" y="170"/>
                    </a:lnTo>
                    <a:lnTo>
                      <a:pt x="366" y="188"/>
                    </a:lnTo>
                    <a:lnTo>
                      <a:pt x="366" y="206"/>
                    </a:lnTo>
                    <a:lnTo>
                      <a:pt x="362" y="222"/>
                    </a:lnTo>
                    <a:lnTo>
                      <a:pt x="358" y="240"/>
                    </a:lnTo>
                    <a:lnTo>
                      <a:pt x="350" y="256"/>
                    </a:lnTo>
                    <a:lnTo>
                      <a:pt x="342" y="274"/>
                    </a:lnTo>
                    <a:lnTo>
                      <a:pt x="332" y="290"/>
                    </a:lnTo>
                    <a:lnTo>
                      <a:pt x="332" y="290"/>
                    </a:lnTo>
                    <a:lnTo>
                      <a:pt x="322" y="304"/>
                    </a:lnTo>
                    <a:lnTo>
                      <a:pt x="308" y="316"/>
                    </a:lnTo>
                    <a:lnTo>
                      <a:pt x="294" y="328"/>
                    </a:lnTo>
                    <a:lnTo>
                      <a:pt x="280" y="338"/>
                    </a:lnTo>
                    <a:lnTo>
                      <a:pt x="264" y="348"/>
                    </a:lnTo>
                    <a:lnTo>
                      <a:pt x="248" y="354"/>
                    </a:lnTo>
                    <a:lnTo>
                      <a:pt x="232" y="360"/>
                    </a:lnTo>
                    <a:lnTo>
                      <a:pt x="214" y="364"/>
                    </a:lnTo>
                    <a:lnTo>
                      <a:pt x="196" y="366"/>
                    </a:lnTo>
                    <a:lnTo>
                      <a:pt x="180" y="366"/>
                    </a:lnTo>
                    <a:lnTo>
                      <a:pt x="162" y="364"/>
                    </a:lnTo>
                    <a:lnTo>
                      <a:pt x="144" y="362"/>
                    </a:lnTo>
                    <a:lnTo>
                      <a:pt x="126" y="358"/>
                    </a:lnTo>
                    <a:lnTo>
                      <a:pt x="110" y="350"/>
                    </a:lnTo>
                    <a:lnTo>
                      <a:pt x="94" y="342"/>
                    </a:lnTo>
                    <a:lnTo>
                      <a:pt x="78" y="332"/>
                    </a:lnTo>
                    <a:lnTo>
                      <a:pt x="78" y="332"/>
                    </a:lnTo>
                    <a:lnTo>
                      <a:pt x="62" y="320"/>
                    </a:lnTo>
                    <a:lnTo>
                      <a:pt x="50" y="308"/>
                    </a:lnTo>
                    <a:lnTo>
                      <a:pt x="38" y="294"/>
                    </a:lnTo>
                    <a:lnTo>
                      <a:pt x="28" y="280"/>
                    </a:lnTo>
                    <a:lnTo>
                      <a:pt x="20" y="264"/>
                    </a:lnTo>
                    <a:lnTo>
                      <a:pt x="12" y="248"/>
                    </a:lnTo>
                    <a:lnTo>
                      <a:pt x="6" y="232"/>
                    </a:lnTo>
                    <a:lnTo>
                      <a:pt x="4" y="214"/>
                    </a:lnTo>
                    <a:lnTo>
                      <a:pt x="2" y="196"/>
                    </a:lnTo>
                    <a:lnTo>
                      <a:pt x="0" y="178"/>
                    </a:lnTo>
                    <a:lnTo>
                      <a:pt x="2" y="162"/>
                    </a:lnTo>
                    <a:lnTo>
                      <a:pt x="4" y="144"/>
                    </a:lnTo>
                    <a:lnTo>
                      <a:pt x="10" y="126"/>
                    </a:lnTo>
                    <a:lnTo>
                      <a:pt x="16" y="110"/>
                    </a:lnTo>
                    <a:lnTo>
                      <a:pt x="24" y="94"/>
                    </a:lnTo>
                    <a:lnTo>
                      <a:pt x="34" y="78"/>
                    </a:lnTo>
                    <a:close/>
                    <a:moveTo>
                      <a:pt x="310" y="272"/>
                    </a:moveTo>
                    <a:lnTo>
                      <a:pt x="310" y="272"/>
                    </a:lnTo>
                    <a:lnTo>
                      <a:pt x="318" y="260"/>
                    </a:lnTo>
                    <a:lnTo>
                      <a:pt x="324" y="246"/>
                    </a:lnTo>
                    <a:lnTo>
                      <a:pt x="330" y="232"/>
                    </a:lnTo>
                    <a:lnTo>
                      <a:pt x="334" y="216"/>
                    </a:lnTo>
                    <a:lnTo>
                      <a:pt x="336" y="202"/>
                    </a:lnTo>
                    <a:lnTo>
                      <a:pt x="338" y="186"/>
                    </a:lnTo>
                    <a:lnTo>
                      <a:pt x="338" y="172"/>
                    </a:lnTo>
                    <a:lnTo>
                      <a:pt x="336" y="158"/>
                    </a:lnTo>
                    <a:lnTo>
                      <a:pt x="332" y="142"/>
                    </a:lnTo>
                    <a:lnTo>
                      <a:pt x="328" y="128"/>
                    </a:lnTo>
                    <a:lnTo>
                      <a:pt x="322" y="116"/>
                    </a:lnTo>
                    <a:lnTo>
                      <a:pt x="314" y="102"/>
                    </a:lnTo>
                    <a:lnTo>
                      <a:pt x="306" y="90"/>
                    </a:lnTo>
                    <a:lnTo>
                      <a:pt x="296" y="78"/>
                    </a:lnTo>
                    <a:lnTo>
                      <a:pt x="284" y="68"/>
                    </a:lnTo>
                    <a:lnTo>
                      <a:pt x="272" y="58"/>
                    </a:lnTo>
                    <a:lnTo>
                      <a:pt x="272" y="58"/>
                    </a:lnTo>
                    <a:lnTo>
                      <a:pt x="260" y="50"/>
                    </a:lnTo>
                    <a:lnTo>
                      <a:pt x="246" y="42"/>
                    </a:lnTo>
                    <a:lnTo>
                      <a:pt x="232" y="36"/>
                    </a:lnTo>
                    <a:lnTo>
                      <a:pt x="216" y="32"/>
                    </a:lnTo>
                    <a:lnTo>
                      <a:pt x="202" y="30"/>
                    </a:lnTo>
                    <a:lnTo>
                      <a:pt x="188" y="30"/>
                    </a:lnTo>
                    <a:lnTo>
                      <a:pt x="172" y="30"/>
                    </a:lnTo>
                    <a:lnTo>
                      <a:pt x="158" y="32"/>
                    </a:lnTo>
                    <a:lnTo>
                      <a:pt x="144" y="34"/>
                    </a:lnTo>
                    <a:lnTo>
                      <a:pt x="130" y="40"/>
                    </a:lnTo>
                    <a:lnTo>
                      <a:pt x="116" y="46"/>
                    </a:lnTo>
                    <a:lnTo>
                      <a:pt x="102" y="52"/>
                    </a:lnTo>
                    <a:lnTo>
                      <a:pt x="90" y="60"/>
                    </a:lnTo>
                    <a:lnTo>
                      <a:pt x="78" y="70"/>
                    </a:lnTo>
                    <a:lnTo>
                      <a:pt x="68" y="82"/>
                    </a:lnTo>
                    <a:lnTo>
                      <a:pt x="58" y="94"/>
                    </a:lnTo>
                    <a:lnTo>
                      <a:pt x="58" y="94"/>
                    </a:lnTo>
                    <a:lnTo>
                      <a:pt x="50" y="108"/>
                    </a:lnTo>
                    <a:lnTo>
                      <a:pt x="42" y="122"/>
                    </a:lnTo>
                    <a:lnTo>
                      <a:pt x="36" y="136"/>
                    </a:lnTo>
                    <a:lnTo>
                      <a:pt x="34" y="150"/>
                    </a:lnTo>
                    <a:lnTo>
                      <a:pt x="30" y="164"/>
                    </a:lnTo>
                    <a:lnTo>
                      <a:pt x="30" y="180"/>
                    </a:lnTo>
                    <a:lnTo>
                      <a:pt x="30" y="194"/>
                    </a:lnTo>
                    <a:lnTo>
                      <a:pt x="32" y="210"/>
                    </a:lnTo>
                    <a:lnTo>
                      <a:pt x="34" y="224"/>
                    </a:lnTo>
                    <a:lnTo>
                      <a:pt x="40" y="238"/>
                    </a:lnTo>
                    <a:lnTo>
                      <a:pt x="46" y="252"/>
                    </a:lnTo>
                    <a:lnTo>
                      <a:pt x="52" y="264"/>
                    </a:lnTo>
                    <a:lnTo>
                      <a:pt x="62" y="276"/>
                    </a:lnTo>
                    <a:lnTo>
                      <a:pt x="70" y="288"/>
                    </a:lnTo>
                    <a:lnTo>
                      <a:pt x="82" y="300"/>
                    </a:lnTo>
                    <a:lnTo>
                      <a:pt x="94" y="308"/>
                    </a:lnTo>
                    <a:lnTo>
                      <a:pt x="94" y="308"/>
                    </a:lnTo>
                    <a:lnTo>
                      <a:pt x="108" y="318"/>
                    </a:lnTo>
                    <a:lnTo>
                      <a:pt x="122" y="324"/>
                    </a:lnTo>
                    <a:lnTo>
                      <a:pt x="136" y="330"/>
                    </a:lnTo>
                    <a:lnTo>
                      <a:pt x="150" y="334"/>
                    </a:lnTo>
                    <a:lnTo>
                      <a:pt x="164" y="336"/>
                    </a:lnTo>
                    <a:lnTo>
                      <a:pt x="180" y="338"/>
                    </a:lnTo>
                    <a:lnTo>
                      <a:pt x="194" y="336"/>
                    </a:lnTo>
                    <a:lnTo>
                      <a:pt x="210" y="336"/>
                    </a:lnTo>
                    <a:lnTo>
                      <a:pt x="224" y="332"/>
                    </a:lnTo>
                    <a:lnTo>
                      <a:pt x="238" y="328"/>
                    </a:lnTo>
                    <a:lnTo>
                      <a:pt x="252" y="322"/>
                    </a:lnTo>
                    <a:lnTo>
                      <a:pt x="264" y="314"/>
                    </a:lnTo>
                    <a:lnTo>
                      <a:pt x="278" y="306"/>
                    </a:lnTo>
                    <a:lnTo>
                      <a:pt x="288" y="296"/>
                    </a:lnTo>
                    <a:lnTo>
                      <a:pt x="300" y="284"/>
                    </a:lnTo>
                    <a:lnTo>
                      <a:pt x="310" y="272"/>
                    </a:lnTo>
                    <a:close/>
                  </a:path>
                </a:pathLst>
              </a:custGeom>
              <a:solidFill>
                <a:srgbClr val="D5A4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2" name="Freeform 172"/>
              <p:cNvSpPr/>
              <p:nvPr/>
            </p:nvSpPr>
            <p:spPr bwMode="auto">
              <a:xfrm>
                <a:off x="7180633" y="2849706"/>
                <a:ext cx="607867" cy="543864"/>
              </a:xfrm>
              <a:custGeom>
                <a:avLst/>
                <a:gdLst>
                  <a:gd name="T0" fmla="*/ 34 w 366"/>
                  <a:gd name="T1" fmla="*/ 78 h 366"/>
                  <a:gd name="T2" fmla="*/ 58 w 366"/>
                  <a:gd name="T3" fmla="*/ 50 h 366"/>
                  <a:gd name="T4" fmla="*/ 88 w 366"/>
                  <a:gd name="T5" fmla="*/ 28 h 366"/>
                  <a:gd name="T6" fmla="*/ 118 w 366"/>
                  <a:gd name="T7" fmla="*/ 12 h 366"/>
                  <a:gd name="T8" fmla="*/ 152 w 366"/>
                  <a:gd name="T9" fmla="*/ 2 h 366"/>
                  <a:gd name="T10" fmla="*/ 188 w 366"/>
                  <a:gd name="T11" fmla="*/ 0 h 366"/>
                  <a:gd name="T12" fmla="*/ 222 w 366"/>
                  <a:gd name="T13" fmla="*/ 4 h 366"/>
                  <a:gd name="T14" fmla="*/ 258 w 366"/>
                  <a:gd name="T15" fmla="*/ 16 h 366"/>
                  <a:gd name="T16" fmla="*/ 290 w 366"/>
                  <a:gd name="T17" fmla="*/ 34 h 366"/>
                  <a:gd name="T18" fmla="*/ 304 w 366"/>
                  <a:gd name="T19" fmla="*/ 46 h 366"/>
                  <a:gd name="T20" fmla="*/ 328 w 366"/>
                  <a:gd name="T21" fmla="*/ 72 h 366"/>
                  <a:gd name="T22" fmla="*/ 348 w 366"/>
                  <a:gd name="T23" fmla="*/ 102 h 366"/>
                  <a:gd name="T24" fmla="*/ 360 w 366"/>
                  <a:gd name="T25" fmla="*/ 136 h 366"/>
                  <a:gd name="T26" fmla="*/ 366 w 366"/>
                  <a:gd name="T27" fmla="*/ 170 h 366"/>
                  <a:gd name="T28" fmla="*/ 366 w 366"/>
                  <a:gd name="T29" fmla="*/ 206 h 366"/>
                  <a:gd name="T30" fmla="*/ 358 w 366"/>
                  <a:gd name="T31" fmla="*/ 240 h 366"/>
                  <a:gd name="T32" fmla="*/ 342 w 366"/>
                  <a:gd name="T33" fmla="*/ 274 h 366"/>
                  <a:gd name="T34" fmla="*/ 332 w 366"/>
                  <a:gd name="T35" fmla="*/ 290 h 366"/>
                  <a:gd name="T36" fmla="*/ 308 w 366"/>
                  <a:gd name="T37" fmla="*/ 316 h 366"/>
                  <a:gd name="T38" fmla="*/ 280 w 366"/>
                  <a:gd name="T39" fmla="*/ 338 h 366"/>
                  <a:gd name="T40" fmla="*/ 248 w 366"/>
                  <a:gd name="T41" fmla="*/ 354 h 366"/>
                  <a:gd name="T42" fmla="*/ 214 w 366"/>
                  <a:gd name="T43" fmla="*/ 364 h 366"/>
                  <a:gd name="T44" fmla="*/ 180 w 366"/>
                  <a:gd name="T45" fmla="*/ 366 h 366"/>
                  <a:gd name="T46" fmla="*/ 144 w 366"/>
                  <a:gd name="T47" fmla="*/ 362 h 366"/>
                  <a:gd name="T48" fmla="*/ 110 w 366"/>
                  <a:gd name="T49" fmla="*/ 350 h 366"/>
                  <a:gd name="T50" fmla="*/ 78 w 366"/>
                  <a:gd name="T51" fmla="*/ 332 h 366"/>
                  <a:gd name="T52" fmla="*/ 62 w 366"/>
                  <a:gd name="T53" fmla="*/ 320 h 366"/>
                  <a:gd name="T54" fmla="*/ 38 w 366"/>
                  <a:gd name="T55" fmla="*/ 294 h 366"/>
                  <a:gd name="T56" fmla="*/ 20 w 366"/>
                  <a:gd name="T57" fmla="*/ 264 h 366"/>
                  <a:gd name="T58" fmla="*/ 6 w 366"/>
                  <a:gd name="T59" fmla="*/ 232 h 366"/>
                  <a:gd name="T60" fmla="*/ 2 w 366"/>
                  <a:gd name="T61" fmla="*/ 196 h 366"/>
                  <a:gd name="T62" fmla="*/ 2 w 366"/>
                  <a:gd name="T63" fmla="*/ 162 h 366"/>
                  <a:gd name="T64" fmla="*/ 10 w 366"/>
                  <a:gd name="T65" fmla="*/ 126 h 366"/>
                  <a:gd name="T66" fmla="*/ 24 w 366"/>
                  <a:gd name="T67" fmla="*/ 9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6" h="366">
                    <a:moveTo>
                      <a:pt x="34" y="78"/>
                    </a:moveTo>
                    <a:lnTo>
                      <a:pt x="34" y="78"/>
                    </a:lnTo>
                    <a:lnTo>
                      <a:pt x="46" y="62"/>
                    </a:lnTo>
                    <a:lnTo>
                      <a:pt x="58" y="50"/>
                    </a:lnTo>
                    <a:lnTo>
                      <a:pt x="72" y="38"/>
                    </a:lnTo>
                    <a:lnTo>
                      <a:pt x="88" y="28"/>
                    </a:lnTo>
                    <a:lnTo>
                      <a:pt x="102" y="20"/>
                    </a:lnTo>
                    <a:lnTo>
                      <a:pt x="118" y="12"/>
                    </a:lnTo>
                    <a:lnTo>
                      <a:pt x="136" y="6"/>
                    </a:lnTo>
                    <a:lnTo>
                      <a:pt x="152" y="2"/>
                    </a:lnTo>
                    <a:lnTo>
                      <a:pt x="170" y="0"/>
                    </a:lnTo>
                    <a:lnTo>
                      <a:pt x="188" y="0"/>
                    </a:lnTo>
                    <a:lnTo>
                      <a:pt x="206" y="2"/>
                    </a:lnTo>
                    <a:lnTo>
                      <a:pt x="222" y="4"/>
                    </a:lnTo>
                    <a:lnTo>
                      <a:pt x="240" y="10"/>
                    </a:lnTo>
                    <a:lnTo>
                      <a:pt x="258" y="16"/>
                    </a:lnTo>
                    <a:lnTo>
                      <a:pt x="274" y="24"/>
                    </a:lnTo>
                    <a:lnTo>
                      <a:pt x="290" y="34"/>
                    </a:lnTo>
                    <a:lnTo>
                      <a:pt x="290" y="34"/>
                    </a:lnTo>
                    <a:lnTo>
                      <a:pt x="304" y="46"/>
                    </a:lnTo>
                    <a:lnTo>
                      <a:pt x="318" y="58"/>
                    </a:lnTo>
                    <a:lnTo>
                      <a:pt x="328" y="72"/>
                    </a:lnTo>
                    <a:lnTo>
                      <a:pt x="340" y="86"/>
                    </a:lnTo>
                    <a:lnTo>
                      <a:pt x="348" y="102"/>
                    </a:lnTo>
                    <a:lnTo>
                      <a:pt x="354" y="118"/>
                    </a:lnTo>
                    <a:lnTo>
                      <a:pt x="360" y="136"/>
                    </a:lnTo>
                    <a:lnTo>
                      <a:pt x="364" y="152"/>
                    </a:lnTo>
                    <a:lnTo>
                      <a:pt x="366" y="170"/>
                    </a:lnTo>
                    <a:lnTo>
                      <a:pt x="366" y="188"/>
                    </a:lnTo>
                    <a:lnTo>
                      <a:pt x="366" y="206"/>
                    </a:lnTo>
                    <a:lnTo>
                      <a:pt x="362" y="222"/>
                    </a:lnTo>
                    <a:lnTo>
                      <a:pt x="358" y="240"/>
                    </a:lnTo>
                    <a:lnTo>
                      <a:pt x="350" y="256"/>
                    </a:lnTo>
                    <a:lnTo>
                      <a:pt x="342" y="274"/>
                    </a:lnTo>
                    <a:lnTo>
                      <a:pt x="332" y="290"/>
                    </a:lnTo>
                    <a:lnTo>
                      <a:pt x="332" y="290"/>
                    </a:lnTo>
                    <a:lnTo>
                      <a:pt x="322" y="304"/>
                    </a:lnTo>
                    <a:lnTo>
                      <a:pt x="308" y="316"/>
                    </a:lnTo>
                    <a:lnTo>
                      <a:pt x="294" y="328"/>
                    </a:lnTo>
                    <a:lnTo>
                      <a:pt x="280" y="338"/>
                    </a:lnTo>
                    <a:lnTo>
                      <a:pt x="264" y="348"/>
                    </a:lnTo>
                    <a:lnTo>
                      <a:pt x="248" y="354"/>
                    </a:lnTo>
                    <a:lnTo>
                      <a:pt x="232" y="360"/>
                    </a:lnTo>
                    <a:lnTo>
                      <a:pt x="214" y="364"/>
                    </a:lnTo>
                    <a:lnTo>
                      <a:pt x="196" y="366"/>
                    </a:lnTo>
                    <a:lnTo>
                      <a:pt x="180" y="366"/>
                    </a:lnTo>
                    <a:lnTo>
                      <a:pt x="162" y="364"/>
                    </a:lnTo>
                    <a:lnTo>
                      <a:pt x="144" y="362"/>
                    </a:lnTo>
                    <a:lnTo>
                      <a:pt x="126" y="358"/>
                    </a:lnTo>
                    <a:lnTo>
                      <a:pt x="110" y="350"/>
                    </a:lnTo>
                    <a:lnTo>
                      <a:pt x="94" y="342"/>
                    </a:lnTo>
                    <a:lnTo>
                      <a:pt x="78" y="332"/>
                    </a:lnTo>
                    <a:lnTo>
                      <a:pt x="78" y="332"/>
                    </a:lnTo>
                    <a:lnTo>
                      <a:pt x="62" y="320"/>
                    </a:lnTo>
                    <a:lnTo>
                      <a:pt x="50" y="308"/>
                    </a:lnTo>
                    <a:lnTo>
                      <a:pt x="38" y="294"/>
                    </a:lnTo>
                    <a:lnTo>
                      <a:pt x="28" y="280"/>
                    </a:lnTo>
                    <a:lnTo>
                      <a:pt x="20" y="264"/>
                    </a:lnTo>
                    <a:lnTo>
                      <a:pt x="12" y="248"/>
                    </a:lnTo>
                    <a:lnTo>
                      <a:pt x="6" y="232"/>
                    </a:lnTo>
                    <a:lnTo>
                      <a:pt x="4" y="214"/>
                    </a:lnTo>
                    <a:lnTo>
                      <a:pt x="2" y="196"/>
                    </a:lnTo>
                    <a:lnTo>
                      <a:pt x="0" y="178"/>
                    </a:lnTo>
                    <a:lnTo>
                      <a:pt x="2" y="162"/>
                    </a:lnTo>
                    <a:lnTo>
                      <a:pt x="4" y="144"/>
                    </a:lnTo>
                    <a:lnTo>
                      <a:pt x="10" y="126"/>
                    </a:lnTo>
                    <a:lnTo>
                      <a:pt x="16" y="110"/>
                    </a:lnTo>
                    <a:lnTo>
                      <a:pt x="24" y="94"/>
                    </a:lnTo>
                    <a:lnTo>
                      <a:pt x="34" y="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3" name="Freeform 173"/>
              <p:cNvSpPr/>
              <p:nvPr/>
            </p:nvSpPr>
            <p:spPr bwMode="auto">
              <a:xfrm>
                <a:off x="7230458" y="2894285"/>
                <a:ext cx="511539" cy="457678"/>
              </a:xfrm>
              <a:custGeom>
                <a:avLst/>
                <a:gdLst>
                  <a:gd name="T0" fmla="*/ 280 w 308"/>
                  <a:gd name="T1" fmla="*/ 242 h 308"/>
                  <a:gd name="T2" fmla="*/ 294 w 308"/>
                  <a:gd name="T3" fmla="*/ 216 h 308"/>
                  <a:gd name="T4" fmla="*/ 304 w 308"/>
                  <a:gd name="T5" fmla="*/ 186 h 308"/>
                  <a:gd name="T6" fmla="*/ 308 w 308"/>
                  <a:gd name="T7" fmla="*/ 156 h 308"/>
                  <a:gd name="T8" fmla="*/ 306 w 308"/>
                  <a:gd name="T9" fmla="*/ 128 h 308"/>
                  <a:gd name="T10" fmla="*/ 298 w 308"/>
                  <a:gd name="T11" fmla="*/ 98 h 308"/>
                  <a:gd name="T12" fmla="*/ 284 w 308"/>
                  <a:gd name="T13" fmla="*/ 72 h 308"/>
                  <a:gd name="T14" fmla="*/ 266 w 308"/>
                  <a:gd name="T15" fmla="*/ 48 h 308"/>
                  <a:gd name="T16" fmla="*/ 242 w 308"/>
                  <a:gd name="T17" fmla="*/ 28 h 308"/>
                  <a:gd name="T18" fmla="*/ 230 w 308"/>
                  <a:gd name="T19" fmla="*/ 20 h 308"/>
                  <a:gd name="T20" fmla="*/ 202 w 308"/>
                  <a:gd name="T21" fmla="*/ 6 h 308"/>
                  <a:gd name="T22" fmla="*/ 172 w 308"/>
                  <a:gd name="T23" fmla="*/ 0 h 308"/>
                  <a:gd name="T24" fmla="*/ 142 w 308"/>
                  <a:gd name="T25" fmla="*/ 0 h 308"/>
                  <a:gd name="T26" fmla="*/ 114 w 308"/>
                  <a:gd name="T27" fmla="*/ 4 h 308"/>
                  <a:gd name="T28" fmla="*/ 86 w 308"/>
                  <a:gd name="T29" fmla="*/ 16 h 308"/>
                  <a:gd name="T30" fmla="*/ 60 w 308"/>
                  <a:gd name="T31" fmla="*/ 30 h 308"/>
                  <a:gd name="T32" fmla="*/ 38 w 308"/>
                  <a:gd name="T33" fmla="*/ 52 h 308"/>
                  <a:gd name="T34" fmla="*/ 28 w 308"/>
                  <a:gd name="T35" fmla="*/ 64 h 308"/>
                  <a:gd name="T36" fmla="*/ 12 w 308"/>
                  <a:gd name="T37" fmla="*/ 92 h 308"/>
                  <a:gd name="T38" fmla="*/ 4 w 308"/>
                  <a:gd name="T39" fmla="*/ 120 h 308"/>
                  <a:gd name="T40" fmla="*/ 0 w 308"/>
                  <a:gd name="T41" fmla="*/ 150 h 308"/>
                  <a:gd name="T42" fmla="*/ 2 w 308"/>
                  <a:gd name="T43" fmla="*/ 180 h 308"/>
                  <a:gd name="T44" fmla="*/ 10 w 308"/>
                  <a:gd name="T45" fmla="*/ 208 h 308"/>
                  <a:gd name="T46" fmla="*/ 22 w 308"/>
                  <a:gd name="T47" fmla="*/ 234 h 308"/>
                  <a:gd name="T48" fmla="*/ 40 w 308"/>
                  <a:gd name="T49" fmla="*/ 258 h 308"/>
                  <a:gd name="T50" fmla="*/ 64 w 308"/>
                  <a:gd name="T51" fmla="*/ 278 h 308"/>
                  <a:gd name="T52" fmla="*/ 78 w 308"/>
                  <a:gd name="T53" fmla="*/ 288 h 308"/>
                  <a:gd name="T54" fmla="*/ 106 w 308"/>
                  <a:gd name="T55" fmla="*/ 300 h 308"/>
                  <a:gd name="T56" fmla="*/ 134 w 308"/>
                  <a:gd name="T57" fmla="*/ 306 h 308"/>
                  <a:gd name="T58" fmla="*/ 164 w 308"/>
                  <a:gd name="T59" fmla="*/ 306 h 308"/>
                  <a:gd name="T60" fmla="*/ 194 w 308"/>
                  <a:gd name="T61" fmla="*/ 302 h 308"/>
                  <a:gd name="T62" fmla="*/ 222 w 308"/>
                  <a:gd name="T63" fmla="*/ 292 h 308"/>
                  <a:gd name="T64" fmla="*/ 248 w 308"/>
                  <a:gd name="T65" fmla="*/ 276 h 308"/>
                  <a:gd name="T66" fmla="*/ 270 w 308"/>
                  <a:gd name="T67" fmla="*/ 25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8" h="308">
                    <a:moveTo>
                      <a:pt x="280" y="242"/>
                    </a:moveTo>
                    <a:lnTo>
                      <a:pt x="280" y="242"/>
                    </a:lnTo>
                    <a:lnTo>
                      <a:pt x="288" y="230"/>
                    </a:lnTo>
                    <a:lnTo>
                      <a:pt x="294" y="216"/>
                    </a:lnTo>
                    <a:lnTo>
                      <a:pt x="300" y="202"/>
                    </a:lnTo>
                    <a:lnTo>
                      <a:pt x="304" y="186"/>
                    </a:lnTo>
                    <a:lnTo>
                      <a:pt x="306" y="172"/>
                    </a:lnTo>
                    <a:lnTo>
                      <a:pt x="308" y="156"/>
                    </a:lnTo>
                    <a:lnTo>
                      <a:pt x="308" y="142"/>
                    </a:lnTo>
                    <a:lnTo>
                      <a:pt x="306" y="128"/>
                    </a:lnTo>
                    <a:lnTo>
                      <a:pt x="302" y="112"/>
                    </a:lnTo>
                    <a:lnTo>
                      <a:pt x="298" y="98"/>
                    </a:lnTo>
                    <a:lnTo>
                      <a:pt x="292" y="86"/>
                    </a:lnTo>
                    <a:lnTo>
                      <a:pt x="284" y="72"/>
                    </a:lnTo>
                    <a:lnTo>
                      <a:pt x="276" y="60"/>
                    </a:lnTo>
                    <a:lnTo>
                      <a:pt x="266" y="48"/>
                    </a:lnTo>
                    <a:lnTo>
                      <a:pt x="254" y="38"/>
                    </a:lnTo>
                    <a:lnTo>
                      <a:pt x="242" y="28"/>
                    </a:lnTo>
                    <a:lnTo>
                      <a:pt x="242" y="28"/>
                    </a:lnTo>
                    <a:lnTo>
                      <a:pt x="230" y="20"/>
                    </a:lnTo>
                    <a:lnTo>
                      <a:pt x="216" y="12"/>
                    </a:lnTo>
                    <a:lnTo>
                      <a:pt x="202" y="6"/>
                    </a:lnTo>
                    <a:lnTo>
                      <a:pt x="186" y="2"/>
                    </a:lnTo>
                    <a:lnTo>
                      <a:pt x="172" y="0"/>
                    </a:lnTo>
                    <a:lnTo>
                      <a:pt x="158" y="0"/>
                    </a:lnTo>
                    <a:lnTo>
                      <a:pt x="142" y="0"/>
                    </a:lnTo>
                    <a:lnTo>
                      <a:pt x="128" y="2"/>
                    </a:lnTo>
                    <a:lnTo>
                      <a:pt x="114" y="4"/>
                    </a:lnTo>
                    <a:lnTo>
                      <a:pt x="100" y="10"/>
                    </a:lnTo>
                    <a:lnTo>
                      <a:pt x="86" y="16"/>
                    </a:lnTo>
                    <a:lnTo>
                      <a:pt x="72" y="22"/>
                    </a:lnTo>
                    <a:lnTo>
                      <a:pt x="60" y="30"/>
                    </a:lnTo>
                    <a:lnTo>
                      <a:pt x="48" y="40"/>
                    </a:lnTo>
                    <a:lnTo>
                      <a:pt x="38" y="52"/>
                    </a:lnTo>
                    <a:lnTo>
                      <a:pt x="28" y="64"/>
                    </a:lnTo>
                    <a:lnTo>
                      <a:pt x="28" y="64"/>
                    </a:lnTo>
                    <a:lnTo>
                      <a:pt x="20" y="78"/>
                    </a:lnTo>
                    <a:lnTo>
                      <a:pt x="12" y="92"/>
                    </a:lnTo>
                    <a:lnTo>
                      <a:pt x="6" y="106"/>
                    </a:lnTo>
                    <a:lnTo>
                      <a:pt x="4" y="120"/>
                    </a:lnTo>
                    <a:lnTo>
                      <a:pt x="0" y="134"/>
                    </a:lnTo>
                    <a:lnTo>
                      <a:pt x="0" y="150"/>
                    </a:lnTo>
                    <a:lnTo>
                      <a:pt x="0" y="164"/>
                    </a:lnTo>
                    <a:lnTo>
                      <a:pt x="2" y="180"/>
                    </a:lnTo>
                    <a:lnTo>
                      <a:pt x="4" y="194"/>
                    </a:lnTo>
                    <a:lnTo>
                      <a:pt x="10" y="208"/>
                    </a:lnTo>
                    <a:lnTo>
                      <a:pt x="16" y="222"/>
                    </a:lnTo>
                    <a:lnTo>
                      <a:pt x="22" y="234"/>
                    </a:lnTo>
                    <a:lnTo>
                      <a:pt x="32" y="246"/>
                    </a:lnTo>
                    <a:lnTo>
                      <a:pt x="40" y="258"/>
                    </a:lnTo>
                    <a:lnTo>
                      <a:pt x="52" y="270"/>
                    </a:lnTo>
                    <a:lnTo>
                      <a:pt x="64" y="278"/>
                    </a:lnTo>
                    <a:lnTo>
                      <a:pt x="64" y="278"/>
                    </a:lnTo>
                    <a:lnTo>
                      <a:pt x="78" y="288"/>
                    </a:lnTo>
                    <a:lnTo>
                      <a:pt x="92" y="294"/>
                    </a:lnTo>
                    <a:lnTo>
                      <a:pt x="106" y="300"/>
                    </a:lnTo>
                    <a:lnTo>
                      <a:pt x="120" y="304"/>
                    </a:lnTo>
                    <a:lnTo>
                      <a:pt x="134" y="306"/>
                    </a:lnTo>
                    <a:lnTo>
                      <a:pt x="150" y="308"/>
                    </a:lnTo>
                    <a:lnTo>
                      <a:pt x="164" y="306"/>
                    </a:lnTo>
                    <a:lnTo>
                      <a:pt x="180" y="306"/>
                    </a:lnTo>
                    <a:lnTo>
                      <a:pt x="194" y="302"/>
                    </a:lnTo>
                    <a:lnTo>
                      <a:pt x="208" y="298"/>
                    </a:lnTo>
                    <a:lnTo>
                      <a:pt x="222" y="292"/>
                    </a:lnTo>
                    <a:lnTo>
                      <a:pt x="234" y="284"/>
                    </a:lnTo>
                    <a:lnTo>
                      <a:pt x="248" y="276"/>
                    </a:lnTo>
                    <a:lnTo>
                      <a:pt x="258" y="266"/>
                    </a:lnTo>
                    <a:lnTo>
                      <a:pt x="270" y="254"/>
                    </a:lnTo>
                    <a:lnTo>
                      <a:pt x="280" y="2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4" name="Freeform 174"/>
              <p:cNvSpPr/>
              <p:nvPr/>
            </p:nvSpPr>
            <p:spPr bwMode="auto">
              <a:xfrm>
                <a:off x="7230458" y="2894285"/>
                <a:ext cx="511539" cy="457678"/>
              </a:xfrm>
              <a:custGeom>
                <a:avLst/>
                <a:gdLst>
                  <a:gd name="T0" fmla="*/ 154 w 308"/>
                  <a:gd name="T1" fmla="*/ 0 h 308"/>
                  <a:gd name="T2" fmla="*/ 118 w 308"/>
                  <a:gd name="T3" fmla="*/ 4 h 308"/>
                  <a:gd name="T4" fmla="*/ 84 w 308"/>
                  <a:gd name="T5" fmla="*/ 16 h 308"/>
                  <a:gd name="T6" fmla="*/ 54 w 308"/>
                  <a:gd name="T7" fmla="*/ 36 h 308"/>
                  <a:gd name="T8" fmla="*/ 28 w 308"/>
                  <a:gd name="T9" fmla="*/ 64 h 308"/>
                  <a:gd name="T10" fmla="*/ 20 w 308"/>
                  <a:gd name="T11" fmla="*/ 78 h 308"/>
                  <a:gd name="T12" fmla="*/ 6 w 308"/>
                  <a:gd name="T13" fmla="*/ 106 h 308"/>
                  <a:gd name="T14" fmla="*/ 0 w 308"/>
                  <a:gd name="T15" fmla="*/ 134 h 308"/>
                  <a:gd name="T16" fmla="*/ 0 w 308"/>
                  <a:gd name="T17" fmla="*/ 164 h 308"/>
                  <a:gd name="T18" fmla="*/ 4 w 308"/>
                  <a:gd name="T19" fmla="*/ 194 h 308"/>
                  <a:gd name="T20" fmla="*/ 16 w 308"/>
                  <a:gd name="T21" fmla="*/ 222 h 308"/>
                  <a:gd name="T22" fmla="*/ 32 w 308"/>
                  <a:gd name="T23" fmla="*/ 246 h 308"/>
                  <a:gd name="T24" fmla="*/ 52 w 308"/>
                  <a:gd name="T25" fmla="*/ 270 h 308"/>
                  <a:gd name="T26" fmla="*/ 64 w 308"/>
                  <a:gd name="T27" fmla="*/ 278 h 308"/>
                  <a:gd name="T28" fmla="*/ 66 w 308"/>
                  <a:gd name="T29" fmla="*/ 280 h 308"/>
                  <a:gd name="T30" fmla="*/ 86 w 308"/>
                  <a:gd name="T31" fmla="*/ 292 h 308"/>
                  <a:gd name="T32" fmla="*/ 130 w 308"/>
                  <a:gd name="T33" fmla="*/ 306 h 308"/>
                  <a:gd name="T34" fmla="*/ 154 w 308"/>
                  <a:gd name="T35" fmla="*/ 308 h 308"/>
                  <a:gd name="T36" fmla="*/ 190 w 308"/>
                  <a:gd name="T37" fmla="*/ 304 h 308"/>
                  <a:gd name="T38" fmla="*/ 224 w 308"/>
                  <a:gd name="T39" fmla="*/ 290 h 308"/>
                  <a:gd name="T40" fmla="*/ 254 w 308"/>
                  <a:gd name="T41" fmla="*/ 270 h 308"/>
                  <a:gd name="T42" fmla="*/ 280 w 308"/>
                  <a:gd name="T43" fmla="*/ 242 h 308"/>
                  <a:gd name="T44" fmla="*/ 280 w 308"/>
                  <a:gd name="T45" fmla="*/ 242 h 308"/>
                  <a:gd name="T46" fmla="*/ 288 w 308"/>
                  <a:gd name="T47" fmla="*/ 230 h 308"/>
                  <a:gd name="T48" fmla="*/ 300 w 308"/>
                  <a:gd name="T49" fmla="*/ 202 h 308"/>
                  <a:gd name="T50" fmla="*/ 306 w 308"/>
                  <a:gd name="T51" fmla="*/ 172 h 308"/>
                  <a:gd name="T52" fmla="*/ 308 w 308"/>
                  <a:gd name="T53" fmla="*/ 142 h 308"/>
                  <a:gd name="T54" fmla="*/ 302 w 308"/>
                  <a:gd name="T55" fmla="*/ 114 h 308"/>
                  <a:gd name="T56" fmla="*/ 292 w 308"/>
                  <a:gd name="T57" fmla="*/ 86 h 308"/>
                  <a:gd name="T58" fmla="*/ 276 w 308"/>
                  <a:gd name="T59" fmla="*/ 60 h 308"/>
                  <a:gd name="T60" fmla="*/ 256 w 308"/>
                  <a:gd name="T61" fmla="*/ 38 h 308"/>
                  <a:gd name="T62" fmla="*/ 244 w 308"/>
                  <a:gd name="T63" fmla="*/ 28 h 308"/>
                  <a:gd name="T64" fmla="*/ 242 w 308"/>
                  <a:gd name="T65" fmla="*/ 28 h 308"/>
                  <a:gd name="T66" fmla="*/ 242 w 308"/>
                  <a:gd name="T67" fmla="*/ 28 h 308"/>
                  <a:gd name="T68" fmla="*/ 242 w 308"/>
                  <a:gd name="T69" fmla="*/ 28 h 308"/>
                  <a:gd name="T70" fmla="*/ 200 w 308"/>
                  <a:gd name="T71" fmla="*/ 6 h 308"/>
                  <a:gd name="T72" fmla="*/ 154 w 308"/>
                  <a:gd name="T73"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308">
                    <a:moveTo>
                      <a:pt x="154" y="0"/>
                    </a:moveTo>
                    <a:lnTo>
                      <a:pt x="154" y="0"/>
                    </a:lnTo>
                    <a:lnTo>
                      <a:pt x="136" y="0"/>
                    </a:lnTo>
                    <a:lnTo>
                      <a:pt x="118" y="4"/>
                    </a:lnTo>
                    <a:lnTo>
                      <a:pt x="100" y="8"/>
                    </a:lnTo>
                    <a:lnTo>
                      <a:pt x="84" y="16"/>
                    </a:lnTo>
                    <a:lnTo>
                      <a:pt x="68" y="26"/>
                    </a:lnTo>
                    <a:lnTo>
                      <a:pt x="54" y="36"/>
                    </a:lnTo>
                    <a:lnTo>
                      <a:pt x="40" y="50"/>
                    </a:lnTo>
                    <a:lnTo>
                      <a:pt x="28" y="64"/>
                    </a:lnTo>
                    <a:lnTo>
                      <a:pt x="28" y="64"/>
                    </a:lnTo>
                    <a:lnTo>
                      <a:pt x="20" y="78"/>
                    </a:lnTo>
                    <a:lnTo>
                      <a:pt x="12" y="92"/>
                    </a:lnTo>
                    <a:lnTo>
                      <a:pt x="6" y="106"/>
                    </a:lnTo>
                    <a:lnTo>
                      <a:pt x="4" y="120"/>
                    </a:lnTo>
                    <a:lnTo>
                      <a:pt x="0" y="134"/>
                    </a:lnTo>
                    <a:lnTo>
                      <a:pt x="0" y="150"/>
                    </a:lnTo>
                    <a:lnTo>
                      <a:pt x="0" y="164"/>
                    </a:lnTo>
                    <a:lnTo>
                      <a:pt x="2" y="180"/>
                    </a:lnTo>
                    <a:lnTo>
                      <a:pt x="4" y="194"/>
                    </a:lnTo>
                    <a:lnTo>
                      <a:pt x="10" y="208"/>
                    </a:lnTo>
                    <a:lnTo>
                      <a:pt x="16" y="222"/>
                    </a:lnTo>
                    <a:lnTo>
                      <a:pt x="22" y="234"/>
                    </a:lnTo>
                    <a:lnTo>
                      <a:pt x="32" y="246"/>
                    </a:lnTo>
                    <a:lnTo>
                      <a:pt x="40" y="258"/>
                    </a:lnTo>
                    <a:lnTo>
                      <a:pt x="52" y="270"/>
                    </a:lnTo>
                    <a:lnTo>
                      <a:pt x="64" y="278"/>
                    </a:lnTo>
                    <a:lnTo>
                      <a:pt x="64" y="278"/>
                    </a:lnTo>
                    <a:lnTo>
                      <a:pt x="64" y="278"/>
                    </a:lnTo>
                    <a:lnTo>
                      <a:pt x="66" y="280"/>
                    </a:lnTo>
                    <a:lnTo>
                      <a:pt x="66" y="280"/>
                    </a:lnTo>
                    <a:lnTo>
                      <a:pt x="86" y="292"/>
                    </a:lnTo>
                    <a:lnTo>
                      <a:pt x="108" y="300"/>
                    </a:lnTo>
                    <a:lnTo>
                      <a:pt x="130" y="306"/>
                    </a:lnTo>
                    <a:lnTo>
                      <a:pt x="154" y="308"/>
                    </a:lnTo>
                    <a:lnTo>
                      <a:pt x="154" y="308"/>
                    </a:lnTo>
                    <a:lnTo>
                      <a:pt x="172" y="306"/>
                    </a:lnTo>
                    <a:lnTo>
                      <a:pt x="190" y="304"/>
                    </a:lnTo>
                    <a:lnTo>
                      <a:pt x="206" y="298"/>
                    </a:lnTo>
                    <a:lnTo>
                      <a:pt x="224" y="290"/>
                    </a:lnTo>
                    <a:lnTo>
                      <a:pt x="238" y="282"/>
                    </a:lnTo>
                    <a:lnTo>
                      <a:pt x="254" y="270"/>
                    </a:lnTo>
                    <a:lnTo>
                      <a:pt x="268" y="258"/>
                    </a:lnTo>
                    <a:lnTo>
                      <a:pt x="280" y="242"/>
                    </a:lnTo>
                    <a:lnTo>
                      <a:pt x="280" y="242"/>
                    </a:lnTo>
                    <a:lnTo>
                      <a:pt x="280" y="242"/>
                    </a:lnTo>
                    <a:lnTo>
                      <a:pt x="280" y="242"/>
                    </a:lnTo>
                    <a:lnTo>
                      <a:pt x="288" y="230"/>
                    </a:lnTo>
                    <a:lnTo>
                      <a:pt x="294" y="216"/>
                    </a:lnTo>
                    <a:lnTo>
                      <a:pt x="300" y="202"/>
                    </a:lnTo>
                    <a:lnTo>
                      <a:pt x="304" y="186"/>
                    </a:lnTo>
                    <a:lnTo>
                      <a:pt x="306" y="172"/>
                    </a:lnTo>
                    <a:lnTo>
                      <a:pt x="308" y="158"/>
                    </a:lnTo>
                    <a:lnTo>
                      <a:pt x="308" y="142"/>
                    </a:lnTo>
                    <a:lnTo>
                      <a:pt x="306" y="128"/>
                    </a:lnTo>
                    <a:lnTo>
                      <a:pt x="302" y="114"/>
                    </a:lnTo>
                    <a:lnTo>
                      <a:pt x="298" y="100"/>
                    </a:lnTo>
                    <a:lnTo>
                      <a:pt x="292" y="86"/>
                    </a:lnTo>
                    <a:lnTo>
                      <a:pt x="284" y="72"/>
                    </a:lnTo>
                    <a:lnTo>
                      <a:pt x="276" y="60"/>
                    </a:lnTo>
                    <a:lnTo>
                      <a:pt x="266" y="48"/>
                    </a:lnTo>
                    <a:lnTo>
                      <a:pt x="256" y="38"/>
                    </a:lnTo>
                    <a:lnTo>
                      <a:pt x="244" y="28"/>
                    </a:lnTo>
                    <a:lnTo>
                      <a:pt x="244" y="28"/>
                    </a:lnTo>
                    <a:lnTo>
                      <a:pt x="242" y="28"/>
                    </a:lnTo>
                    <a:lnTo>
                      <a:pt x="242" y="28"/>
                    </a:lnTo>
                    <a:lnTo>
                      <a:pt x="242" y="28"/>
                    </a:lnTo>
                    <a:lnTo>
                      <a:pt x="242" y="28"/>
                    </a:lnTo>
                    <a:lnTo>
                      <a:pt x="242" y="28"/>
                    </a:lnTo>
                    <a:lnTo>
                      <a:pt x="242" y="28"/>
                    </a:lnTo>
                    <a:lnTo>
                      <a:pt x="222" y="14"/>
                    </a:lnTo>
                    <a:lnTo>
                      <a:pt x="200" y="6"/>
                    </a:lnTo>
                    <a:lnTo>
                      <a:pt x="176" y="0"/>
                    </a:lnTo>
                    <a:lnTo>
                      <a:pt x="154" y="0"/>
                    </a:lnTo>
                    <a:close/>
                  </a:path>
                </a:pathLst>
              </a:custGeom>
              <a:solidFill>
                <a:srgbClr val="FDD25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5" name="Freeform 175"/>
              <p:cNvSpPr/>
              <p:nvPr/>
            </p:nvSpPr>
            <p:spPr bwMode="auto">
              <a:xfrm>
                <a:off x="7230458" y="2894285"/>
                <a:ext cx="511539" cy="457678"/>
              </a:xfrm>
              <a:custGeom>
                <a:avLst/>
                <a:gdLst>
                  <a:gd name="T0" fmla="*/ 154 w 308"/>
                  <a:gd name="T1" fmla="*/ 0 h 308"/>
                  <a:gd name="T2" fmla="*/ 118 w 308"/>
                  <a:gd name="T3" fmla="*/ 4 h 308"/>
                  <a:gd name="T4" fmla="*/ 84 w 308"/>
                  <a:gd name="T5" fmla="*/ 16 h 308"/>
                  <a:gd name="T6" fmla="*/ 54 w 308"/>
                  <a:gd name="T7" fmla="*/ 36 h 308"/>
                  <a:gd name="T8" fmla="*/ 28 w 308"/>
                  <a:gd name="T9" fmla="*/ 64 h 308"/>
                  <a:gd name="T10" fmla="*/ 20 w 308"/>
                  <a:gd name="T11" fmla="*/ 78 h 308"/>
                  <a:gd name="T12" fmla="*/ 6 w 308"/>
                  <a:gd name="T13" fmla="*/ 106 h 308"/>
                  <a:gd name="T14" fmla="*/ 0 w 308"/>
                  <a:gd name="T15" fmla="*/ 134 h 308"/>
                  <a:gd name="T16" fmla="*/ 0 w 308"/>
                  <a:gd name="T17" fmla="*/ 164 h 308"/>
                  <a:gd name="T18" fmla="*/ 4 w 308"/>
                  <a:gd name="T19" fmla="*/ 194 h 308"/>
                  <a:gd name="T20" fmla="*/ 16 w 308"/>
                  <a:gd name="T21" fmla="*/ 222 h 308"/>
                  <a:gd name="T22" fmla="*/ 32 w 308"/>
                  <a:gd name="T23" fmla="*/ 246 h 308"/>
                  <a:gd name="T24" fmla="*/ 52 w 308"/>
                  <a:gd name="T25" fmla="*/ 270 h 308"/>
                  <a:gd name="T26" fmla="*/ 64 w 308"/>
                  <a:gd name="T27" fmla="*/ 278 h 308"/>
                  <a:gd name="T28" fmla="*/ 66 w 308"/>
                  <a:gd name="T29" fmla="*/ 280 h 308"/>
                  <a:gd name="T30" fmla="*/ 86 w 308"/>
                  <a:gd name="T31" fmla="*/ 292 h 308"/>
                  <a:gd name="T32" fmla="*/ 130 w 308"/>
                  <a:gd name="T33" fmla="*/ 306 h 308"/>
                  <a:gd name="T34" fmla="*/ 154 w 308"/>
                  <a:gd name="T35" fmla="*/ 308 h 308"/>
                  <a:gd name="T36" fmla="*/ 190 w 308"/>
                  <a:gd name="T37" fmla="*/ 304 h 308"/>
                  <a:gd name="T38" fmla="*/ 224 w 308"/>
                  <a:gd name="T39" fmla="*/ 290 h 308"/>
                  <a:gd name="T40" fmla="*/ 254 w 308"/>
                  <a:gd name="T41" fmla="*/ 270 h 308"/>
                  <a:gd name="T42" fmla="*/ 280 w 308"/>
                  <a:gd name="T43" fmla="*/ 242 h 308"/>
                  <a:gd name="T44" fmla="*/ 280 w 308"/>
                  <a:gd name="T45" fmla="*/ 242 h 308"/>
                  <a:gd name="T46" fmla="*/ 288 w 308"/>
                  <a:gd name="T47" fmla="*/ 230 h 308"/>
                  <a:gd name="T48" fmla="*/ 300 w 308"/>
                  <a:gd name="T49" fmla="*/ 202 h 308"/>
                  <a:gd name="T50" fmla="*/ 306 w 308"/>
                  <a:gd name="T51" fmla="*/ 172 h 308"/>
                  <a:gd name="T52" fmla="*/ 308 w 308"/>
                  <a:gd name="T53" fmla="*/ 142 h 308"/>
                  <a:gd name="T54" fmla="*/ 302 w 308"/>
                  <a:gd name="T55" fmla="*/ 114 h 308"/>
                  <a:gd name="T56" fmla="*/ 292 w 308"/>
                  <a:gd name="T57" fmla="*/ 86 h 308"/>
                  <a:gd name="T58" fmla="*/ 276 w 308"/>
                  <a:gd name="T59" fmla="*/ 60 h 308"/>
                  <a:gd name="T60" fmla="*/ 256 w 308"/>
                  <a:gd name="T61" fmla="*/ 38 h 308"/>
                  <a:gd name="T62" fmla="*/ 244 w 308"/>
                  <a:gd name="T63" fmla="*/ 28 h 308"/>
                  <a:gd name="T64" fmla="*/ 242 w 308"/>
                  <a:gd name="T65" fmla="*/ 28 h 308"/>
                  <a:gd name="T66" fmla="*/ 242 w 308"/>
                  <a:gd name="T67" fmla="*/ 28 h 308"/>
                  <a:gd name="T68" fmla="*/ 242 w 308"/>
                  <a:gd name="T69" fmla="*/ 28 h 308"/>
                  <a:gd name="T70" fmla="*/ 200 w 308"/>
                  <a:gd name="T71" fmla="*/ 6 h 308"/>
                  <a:gd name="T72" fmla="*/ 154 w 308"/>
                  <a:gd name="T73"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308">
                    <a:moveTo>
                      <a:pt x="154" y="0"/>
                    </a:moveTo>
                    <a:lnTo>
                      <a:pt x="154" y="0"/>
                    </a:lnTo>
                    <a:lnTo>
                      <a:pt x="136" y="0"/>
                    </a:lnTo>
                    <a:lnTo>
                      <a:pt x="118" y="4"/>
                    </a:lnTo>
                    <a:lnTo>
                      <a:pt x="100" y="8"/>
                    </a:lnTo>
                    <a:lnTo>
                      <a:pt x="84" y="16"/>
                    </a:lnTo>
                    <a:lnTo>
                      <a:pt x="68" y="26"/>
                    </a:lnTo>
                    <a:lnTo>
                      <a:pt x="54" y="36"/>
                    </a:lnTo>
                    <a:lnTo>
                      <a:pt x="40" y="50"/>
                    </a:lnTo>
                    <a:lnTo>
                      <a:pt x="28" y="64"/>
                    </a:lnTo>
                    <a:lnTo>
                      <a:pt x="28" y="64"/>
                    </a:lnTo>
                    <a:lnTo>
                      <a:pt x="20" y="78"/>
                    </a:lnTo>
                    <a:lnTo>
                      <a:pt x="12" y="92"/>
                    </a:lnTo>
                    <a:lnTo>
                      <a:pt x="6" y="106"/>
                    </a:lnTo>
                    <a:lnTo>
                      <a:pt x="4" y="120"/>
                    </a:lnTo>
                    <a:lnTo>
                      <a:pt x="0" y="134"/>
                    </a:lnTo>
                    <a:lnTo>
                      <a:pt x="0" y="150"/>
                    </a:lnTo>
                    <a:lnTo>
                      <a:pt x="0" y="164"/>
                    </a:lnTo>
                    <a:lnTo>
                      <a:pt x="2" y="180"/>
                    </a:lnTo>
                    <a:lnTo>
                      <a:pt x="4" y="194"/>
                    </a:lnTo>
                    <a:lnTo>
                      <a:pt x="10" y="208"/>
                    </a:lnTo>
                    <a:lnTo>
                      <a:pt x="16" y="222"/>
                    </a:lnTo>
                    <a:lnTo>
                      <a:pt x="22" y="234"/>
                    </a:lnTo>
                    <a:lnTo>
                      <a:pt x="32" y="246"/>
                    </a:lnTo>
                    <a:lnTo>
                      <a:pt x="40" y="258"/>
                    </a:lnTo>
                    <a:lnTo>
                      <a:pt x="52" y="270"/>
                    </a:lnTo>
                    <a:lnTo>
                      <a:pt x="64" y="278"/>
                    </a:lnTo>
                    <a:lnTo>
                      <a:pt x="64" y="278"/>
                    </a:lnTo>
                    <a:lnTo>
                      <a:pt x="64" y="278"/>
                    </a:lnTo>
                    <a:lnTo>
                      <a:pt x="66" y="280"/>
                    </a:lnTo>
                    <a:lnTo>
                      <a:pt x="66" y="280"/>
                    </a:lnTo>
                    <a:lnTo>
                      <a:pt x="86" y="292"/>
                    </a:lnTo>
                    <a:lnTo>
                      <a:pt x="108" y="300"/>
                    </a:lnTo>
                    <a:lnTo>
                      <a:pt x="130" y="306"/>
                    </a:lnTo>
                    <a:lnTo>
                      <a:pt x="154" y="308"/>
                    </a:lnTo>
                    <a:lnTo>
                      <a:pt x="154" y="308"/>
                    </a:lnTo>
                    <a:lnTo>
                      <a:pt x="172" y="306"/>
                    </a:lnTo>
                    <a:lnTo>
                      <a:pt x="190" y="304"/>
                    </a:lnTo>
                    <a:lnTo>
                      <a:pt x="206" y="298"/>
                    </a:lnTo>
                    <a:lnTo>
                      <a:pt x="224" y="290"/>
                    </a:lnTo>
                    <a:lnTo>
                      <a:pt x="238" y="282"/>
                    </a:lnTo>
                    <a:lnTo>
                      <a:pt x="254" y="270"/>
                    </a:lnTo>
                    <a:lnTo>
                      <a:pt x="268" y="258"/>
                    </a:lnTo>
                    <a:lnTo>
                      <a:pt x="280" y="242"/>
                    </a:lnTo>
                    <a:lnTo>
                      <a:pt x="280" y="242"/>
                    </a:lnTo>
                    <a:lnTo>
                      <a:pt x="280" y="242"/>
                    </a:lnTo>
                    <a:lnTo>
                      <a:pt x="280" y="242"/>
                    </a:lnTo>
                    <a:lnTo>
                      <a:pt x="288" y="230"/>
                    </a:lnTo>
                    <a:lnTo>
                      <a:pt x="294" y="216"/>
                    </a:lnTo>
                    <a:lnTo>
                      <a:pt x="300" y="202"/>
                    </a:lnTo>
                    <a:lnTo>
                      <a:pt x="304" y="186"/>
                    </a:lnTo>
                    <a:lnTo>
                      <a:pt x="306" y="172"/>
                    </a:lnTo>
                    <a:lnTo>
                      <a:pt x="308" y="158"/>
                    </a:lnTo>
                    <a:lnTo>
                      <a:pt x="308" y="142"/>
                    </a:lnTo>
                    <a:lnTo>
                      <a:pt x="306" y="128"/>
                    </a:lnTo>
                    <a:lnTo>
                      <a:pt x="302" y="114"/>
                    </a:lnTo>
                    <a:lnTo>
                      <a:pt x="298" y="100"/>
                    </a:lnTo>
                    <a:lnTo>
                      <a:pt x="292" y="86"/>
                    </a:lnTo>
                    <a:lnTo>
                      <a:pt x="284" y="72"/>
                    </a:lnTo>
                    <a:lnTo>
                      <a:pt x="276" y="60"/>
                    </a:lnTo>
                    <a:lnTo>
                      <a:pt x="266" y="48"/>
                    </a:lnTo>
                    <a:lnTo>
                      <a:pt x="256" y="38"/>
                    </a:lnTo>
                    <a:lnTo>
                      <a:pt x="244" y="28"/>
                    </a:lnTo>
                    <a:lnTo>
                      <a:pt x="244" y="28"/>
                    </a:lnTo>
                    <a:lnTo>
                      <a:pt x="242" y="28"/>
                    </a:lnTo>
                    <a:lnTo>
                      <a:pt x="242" y="28"/>
                    </a:lnTo>
                    <a:lnTo>
                      <a:pt x="242" y="28"/>
                    </a:lnTo>
                    <a:lnTo>
                      <a:pt x="242" y="28"/>
                    </a:lnTo>
                    <a:lnTo>
                      <a:pt x="242" y="28"/>
                    </a:lnTo>
                    <a:lnTo>
                      <a:pt x="242" y="28"/>
                    </a:lnTo>
                    <a:lnTo>
                      <a:pt x="222" y="14"/>
                    </a:lnTo>
                    <a:lnTo>
                      <a:pt x="200" y="6"/>
                    </a:lnTo>
                    <a:lnTo>
                      <a:pt x="176"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6" name="Freeform 176"/>
              <p:cNvSpPr>
                <a:spLocks noEditPoints="1"/>
              </p:cNvSpPr>
              <p:nvPr/>
            </p:nvSpPr>
            <p:spPr bwMode="auto">
              <a:xfrm>
                <a:off x="7230458" y="2894285"/>
                <a:ext cx="511539" cy="457678"/>
              </a:xfrm>
              <a:custGeom>
                <a:avLst/>
                <a:gdLst>
                  <a:gd name="T0" fmla="*/ 268 w 308"/>
                  <a:gd name="T1" fmla="*/ 258 h 308"/>
                  <a:gd name="T2" fmla="*/ 224 w 308"/>
                  <a:gd name="T3" fmla="*/ 290 h 308"/>
                  <a:gd name="T4" fmla="*/ 172 w 308"/>
                  <a:gd name="T5" fmla="*/ 306 h 308"/>
                  <a:gd name="T6" fmla="*/ 130 w 308"/>
                  <a:gd name="T7" fmla="*/ 306 h 308"/>
                  <a:gd name="T8" fmla="*/ 66 w 308"/>
                  <a:gd name="T9" fmla="*/ 280 h 308"/>
                  <a:gd name="T10" fmla="*/ 108 w 308"/>
                  <a:gd name="T11" fmla="*/ 300 h 308"/>
                  <a:gd name="T12" fmla="*/ 154 w 308"/>
                  <a:gd name="T13" fmla="*/ 308 h 308"/>
                  <a:gd name="T14" fmla="*/ 206 w 308"/>
                  <a:gd name="T15" fmla="*/ 298 h 308"/>
                  <a:gd name="T16" fmla="*/ 254 w 308"/>
                  <a:gd name="T17" fmla="*/ 270 h 308"/>
                  <a:gd name="T18" fmla="*/ 244 w 308"/>
                  <a:gd name="T19" fmla="*/ 28 h 308"/>
                  <a:gd name="T20" fmla="*/ 266 w 308"/>
                  <a:gd name="T21" fmla="*/ 48 h 308"/>
                  <a:gd name="T22" fmla="*/ 292 w 308"/>
                  <a:gd name="T23" fmla="*/ 86 h 308"/>
                  <a:gd name="T24" fmla="*/ 306 w 308"/>
                  <a:gd name="T25" fmla="*/ 128 h 308"/>
                  <a:gd name="T26" fmla="*/ 306 w 308"/>
                  <a:gd name="T27" fmla="*/ 172 h 308"/>
                  <a:gd name="T28" fmla="*/ 294 w 308"/>
                  <a:gd name="T29" fmla="*/ 216 h 308"/>
                  <a:gd name="T30" fmla="*/ 280 w 308"/>
                  <a:gd name="T31" fmla="*/ 242 h 308"/>
                  <a:gd name="T32" fmla="*/ 300 w 308"/>
                  <a:gd name="T33" fmla="*/ 202 h 308"/>
                  <a:gd name="T34" fmla="*/ 308 w 308"/>
                  <a:gd name="T35" fmla="*/ 158 h 308"/>
                  <a:gd name="T36" fmla="*/ 302 w 308"/>
                  <a:gd name="T37" fmla="*/ 114 h 308"/>
                  <a:gd name="T38" fmla="*/ 284 w 308"/>
                  <a:gd name="T39" fmla="*/ 72 h 308"/>
                  <a:gd name="T40" fmla="*/ 256 w 308"/>
                  <a:gd name="T41" fmla="*/ 38 h 308"/>
                  <a:gd name="T42" fmla="*/ 242 w 308"/>
                  <a:gd name="T43" fmla="*/ 28 h 308"/>
                  <a:gd name="T44" fmla="*/ 242 w 308"/>
                  <a:gd name="T45" fmla="*/ 28 h 308"/>
                  <a:gd name="T46" fmla="*/ 136 w 308"/>
                  <a:gd name="T47" fmla="*/ 0 h 308"/>
                  <a:gd name="T48" fmla="*/ 84 w 308"/>
                  <a:gd name="T49" fmla="*/ 16 h 308"/>
                  <a:gd name="T50" fmla="*/ 40 w 308"/>
                  <a:gd name="T51" fmla="*/ 50 h 308"/>
                  <a:gd name="T52" fmla="*/ 20 w 308"/>
                  <a:gd name="T53" fmla="*/ 78 h 308"/>
                  <a:gd name="T54" fmla="*/ 2 w 308"/>
                  <a:gd name="T55" fmla="*/ 120 h 308"/>
                  <a:gd name="T56" fmla="*/ 0 w 308"/>
                  <a:gd name="T57" fmla="*/ 164 h 308"/>
                  <a:gd name="T58" fmla="*/ 10 w 308"/>
                  <a:gd name="T59" fmla="*/ 208 h 308"/>
                  <a:gd name="T60" fmla="*/ 30 w 308"/>
                  <a:gd name="T61" fmla="*/ 246 h 308"/>
                  <a:gd name="T62" fmla="*/ 64 w 308"/>
                  <a:gd name="T63" fmla="*/ 278 h 308"/>
                  <a:gd name="T64" fmla="*/ 40 w 308"/>
                  <a:gd name="T65" fmla="*/ 258 h 308"/>
                  <a:gd name="T66" fmla="*/ 16 w 308"/>
                  <a:gd name="T67" fmla="*/ 222 h 308"/>
                  <a:gd name="T68" fmla="*/ 2 w 308"/>
                  <a:gd name="T69" fmla="*/ 180 h 308"/>
                  <a:gd name="T70" fmla="*/ 0 w 308"/>
                  <a:gd name="T71" fmla="*/ 134 h 308"/>
                  <a:gd name="T72" fmla="*/ 12 w 308"/>
                  <a:gd name="T73" fmla="*/ 92 h 308"/>
                  <a:gd name="T74" fmla="*/ 28 w 308"/>
                  <a:gd name="T75" fmla="*/ 64 h 308"/>
                  <a:gd name="T76" fmla="*/ 68 w 308"/>
                  <a:gd name="T77" fmla="*/ 26 h 308"/>
                  <a:gd name="T78" fmla="*/ 118 w 308"/>
                  <a:gd name="T79" fmla="*/ 4 h 308"/>
                  <a:gd name="T80" fmla="*/ 154 w 308"/>
                  <a:gd name="T81" fmla="*/ 0 h 308"/>
                  <a:gd name="T82" fmla="*/ 222 w 308"/>
                  <a:gd name="T83" fmla="*/ 14 h 308"/>
                  <a:gd name="T84" fmla="*/ 222 w 308"/>
                  <a:gd name="T85" fmla="*/ 14 h 308"/>
                  <a:gd name="T86" fmla="*/ 154 w 308"/>
                  <a:gd name="T87"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8" h="308">
                    <a:moveTo>
                      <a:pt x="280" y="242"/>
                    </a:moveTo>
                    <a:lnTo>
                      <a:pt x="280" y="242"/>
                    </a:lnTo>
                    <a:lnTo>
                      <a:pt x="268" y="258"/>
                    </a:lnTo>
                    <a:lnTo>
                      <a:pt x="254" y="270"/>
                    </a:lnTo>
                    <a:lnTo>
                      <a:pt x="238" y="282"/>
                    </a:lnTo>
                    <a:lnTo>
                      <a:pt x="224" y="290"/>
                    </a:lnTo>
                    <a:lnTo>
                      <a:pt x="206" y="298"/>
                    </a:lnTo>
                    <a:lnTo>
                      <a:pt x="190" y="304"/>
                    </a:lnTo>
                    <a:lnTo>
                      <a:pt x="172" y="306"/>
                    </a:lnTo>
                    <a:lnTo>
                      <a:pt x="154" y="308"/>
                    </a:lnTo>
                    <a:lnTo>
                      <a:pt x="154" y="308"/>
                    </a:lnTo>
                    <a:lnTo>
                      <a:pt x="130" y="306"/>
                    </a:lnTo>
                    <a:lnTo>
                      <a:pt x="108" y="300"/>
                    </a:lnTo>
                    <a:lnTo>
                      <a:pt x="86" y="292"/>
                    </a:lnTo>
                    <a:lnTo>
                      <a:pt x="66" y="280"/>
                    </a:lnTo>
                    <a:lnTo>
                      <a:pt x="66" y="280"/>
                    </a:lnTo>
                    <a:lnTo>
                      <a:pt x="86" y="292"/>
                    </a:lnTo>
                    <a:lnTo>
                      <a:pt x="108" y="300"/>
                    </a:lnTo>
                    <a:lnTo>
                      <a:pt x="130" y="306"/>
                    </a:lnTo>
                    <a:lnTo>
                      <a:pt x="154" y="308"/>
                    </a:lnTo>
                    <a:lnTo>
                      <a:pt x="154" y="308"/>
                    </a:lnTo>
                    <a:lnTo>
                      <a:pt x="172" y="306"/>
                    </a:lnTo>
                    <a:lnTo>
                      <a:pt x="190" y="304"/>
                    </a:lnTo>
                    <a:lnTo>
                      <a:pt x="206" y="298"/>
                    </a:lnTo>
                    <a:lnTo>
                      <a:pt x="224" y="290"/>
                    </a:lnTo>
                    <a:lnTo>
                      <a:pt x="238" y="282"/>
                    </a:lnTo>
                    <a:lnTo>
                      <a:pt x="254" y="270"/>
                    </a:lnTo>
                    <a:lnTo>
                      <a:pt x="268" y="258"/>
                    </a:lnTo>
                    <a:lnTo>
                      <a:pt x="280" y="242"/>
                    </a:lnTo>
                    <a:close/>
                    <a:moveTo>
                      <a:pt x="244" y="28"/>
                    </a:moveTo>
                    <a:lnTo>
                      <a:pt x="244" y="28"/>
                    </a:lnTo>
                    <a:lnTo>
                      <a:pt x="256" y="38"/>
                    </a:lnTo>
                    <a:lnTo>
                      <a:pt x="266" y="48"/>
                    </a:lnTo>
                    <a:lnTo>
                      <a:pt x="276" y="60"/>
                    </a:lnTo>
                    <a:lnTo>
                      <a:pt x="284" y="72"/>
                    </a:lnTo>
                    <a:lnTo>
                      <a:pt x="292" y="86"/>
                    </a:lnTo>
                    <a:lnTo>
                      <a:pt x="298" y="100"/>
                    </a:lnTo>
                    <a:lnTo>
                      <a:pt x="302" y="114"/>
                    </a:lnTo>
                    <a:lnTo>
                      <a:pt x="306" y="128"/>
                    </a:lnTo>
                    <a:lnTo>
                      <a:pt x="308" y="142"/>
                    </a:lnTo>
                    <a:lnTo>
                      <a:pt x="308" y="158"/>
                    </a:lnTo>
                    <a:lnTo>
                      <a:pt x="306" y="172"/>
                    </a:lnTo>
                    <a:lnTo>
                      <a:pt x="304" y="186"/>
                    </a:lnTo>
                    <a:lnTo>
                      <a:pt x="300" y="202"/>
                    </a:lnTo>
                    <a:lnTo>
                      <a:pt x="294" y="216"/>
                    </a:lnTo>
                    <a:lnTo>
                      <a:pt x="288" y="230"/>
                    </a:lnTo>
                    <a:lnTo>
                      <a:pt x="280" y="242"/>
                    </a:lnTo>
                    <a:lnTo>
                      <a:pt x="280" y="242"/>
                    </a:lnTo>
                    <a:lnTo>
                      <a:pt x="288" y="230"/>
                    </a:lnTo>
                    <a:lnTo>
                      <a:pt x="294" y="216"/>
                    </a:lnTo>
                    <a:lnTo>
                      <a:pt x="300" y="202"/>
                    </a:lnTo>
                    <a:lnTo>
                      <a:pt x="304" y="186"/>
                    </a:lnTo>
                    <a:lnTo>
                      <a:pt x="306" y="172"/>
                    </a:lnTo>
                    <a:lnTo>
                      <a:pt x="308" y="158"/>
                    </a:lnTo>
                    <a:lnTo>
                      <a:pt x="308" y="142"/>
                    </a:lnTo>
                    <a:lnTo>
                      <a:pt x="306" y="128"/>
                    </a:lnTo>
                    <a:lnTo>
                      <a:pt x="302" y="114"/>
                    </a:lnTo>
                    <a:lnTo>
                      <a:pt x="298" y="100"/>
                    </a:lnTo>
                    <a:lnTo>
                      <a:pt x="292" y="86"/>
                    </a:lnTo>
                    <a:lnTo>
                      <a:pt x="284" y="72"/>
                    </a:lnTo>
                    <a:lnTo>
                      <a:pt x="276" y="60"/>
                    </a:lnTo>
                    <a:lnTo>
                      <a:pt x="266" y="48"/>
                    </a:lnTo>
                    <a:lnTo>
                      <a:pt x="256" y="38"/>
                    </a:lnTo>
                    <a:lnTo>
                      <a:pt x="244" y="28"/>
                    </a:lnTo>
                    <a:close/>
                    <a:moveTo>
                      <a:pt x="242" y="28"/>
                    </a:moveTo>
                    <a:lnTo>
                      <a:pt x="242" y="28"/>
                    </a:lnTo>
                    <a:lnTo>
                      <a:pt x="242" y="28"/>
                    </a:lnTo>
                    <a:lnTo>
                      <a:pt x="242" y="28"/>
                    </a:lnTo>
                    <a:lnTo>
                      <a:pt x="242" y="28"/>
                    </a:lnTo>
                    <a:close/>
                    <a:moveTo>
                      <a:pt x="154" y="0"/>
                    </a:moveTo>
                    <a:lnTo>
                      <a:pt x="154" y="0"/>
                    </a:lnTo>
                    <a:lnTo>
                      <a:pt x="136" y="0"/>
                    </a:lnTo>
                    <a:lnTo>
                      <a:pt x="118" y="4"/>
                    </a:lnTo>
                    <a:lnTo>
                      <a:pt x="100" y="8"/>
                    </a:lnTo>
                    <a:lnTo>
                      <a:pt x="84" y="16"/>
                    </a:lnTo>
                    <a:lnTo>
                      <a:pt x="68" y="24"/>
                    </a:lnTo>
                    <a:lnTo>
                      <a:pt x="54" y="36"/>
                    </a:lnTo>
                    <a:lnTo>
                      <a:pt x="40" y="50"/>
                    </a:lnTo>
                    <a:lnTo>
                      <a:pt x="28" y="64"/>
                    </a:lnTo>
                    <a:lnTo>
                      <a:pt x="28" y="64"/>
                    </a:lnTo>
                    <a:lnTo>
                      <a:pt x="20" y="78"/>
                    </a:lnTo>
                    <a:lnTo>
                      <a:pt x="12" y="92"/>
                    </a:lnTo>
                    <a:lnTo>
                      <a:pt x="6" y="106"/>
                    </a:lnTo>
                    <a:lnTo>
                      <a:pt x="2" y="120"/>
                    </a:lnTo>
                    <a:lnTo>
                      <a:pt x="0" y="134"/>
                    </a:lnTo>
                    <a:lnTo>
                      <a:pt x="0" y="150"/>
                    </a:lnTo>
                    <a:lnTo>
                      <a:pt x="0" y="164"/>
                    </a:lnTo>
                    <a:lnTo>
                      <a:pt x="2" y="180"/>
                    </a:lnTo>
                    <a:lnTo>
                      <a:pt x="4" y="194"/>
                    </a:lnTo>
                    <a:lnTo>
                      <a:pt x="10" y="208"/>
                    </a:lnTo>
                    <a:lnTo>
                      <a:pt x="16" y="222"/>
                    </a:lnTo>
                    <a:lnTo>
                      <a:pt x="22" y="234"/>
                    </a:lnTo>
                    <a:lnTo>
                      <a:pt x="30" y="246"/>
                    </a:lnTo>
                    <a:lnTo>
                      <a:pt x="40" y="258"/>
                    </a:lnTo>
                    <a:lnTo>
                      <a:pt x="52" y="270"/>
                    </a:lnTo>
                    <a:lnTo>
                      <a:pt x="64" y="278"/>
                    </a:lnTo>
                    <a:lnTo>
                      <a:pt x="64" y="278"/>
                    </a:lnTo>
                    <a:lnTo>
                      <a:pt x="52" y="270"/>
                    </a:lnTo>
                    <a:lnTo>
                      <a:pt x="40" y="258"/>
                    </a:lnTo>
                    <a:lnTo>
                      <a:pt x="32" y="246"/>
                    </a:lnTo>
                    <a:lnTo>
                      <a:pt x="22" y="234"/>
                    </a:lnTo>
                    <a:lnTo>
                      <a:pt x="16" y="222"/>
                    </a:lnTo>
                    <a:lnTo>
                      <a:pt x="10" y="208"/>
                    </a:lnTo>
                    <a:lnTo>
                      <a:pt x="4" y="194"/>
                    </a:lnTo>
                    <a:lnTo>
                      <a:pt x="2" y="180"/>
                    </a:lnTo>
                    <a:lnTo>
                      <a:pt x="0" y="164"/>
                    </a:lnTo>
                    <a:lnTo>
                      <a:pt x="0" y="150"/>
                    </a:lnTo>
                    <a:lnTo>
                      <a:pt x="0" y="134"/>
                    </a:lnTo>
                    <a:lnTo>
                      <a:pt x="4" y="120"/>
                    </a:lnTo>
                    <a:lnTo>
                      <a:pt x="6" y="106"/>
                    </a:lnTo>
                    <a:lnTo>
                      <a:pt x="12" y="92"/>
                    </a:lnTo>
                    <a:lnTo>
                      <a:pt x="20" y="78"/>
                    </a:lnTo>
                    <a:lnTo>
                      <a:pt x="28" y="64"/>
                    </a:lnTo>
                    <a:lnTo>
                      <a:pt x="28" y="64"/>
                    </a:lnTo>
                    <a:lnTo>
                      <a:pt x="40" y="50"/>
                    </a:lnTo>
                    <a:lnTo>
                      <a:pt x="54" y="36"/>
                    </a:lnTo>
                    <a:lnTo>
                      <a:pt x="68" y="26"/>
                    </a:lnTo>
                    <a:lnTo>
                      <a:pt x="84" y="16"/>
                    </a:lnTo>
                    <a:lnTo>
                      <a:pt x="100" y="8"/>
                    </a:lnTo>
                    <a:lnTo>
                      <a:pt x="118" y="4"/>
                    </a:lnTo>
                    <a:lnTo>
                      <a:pt x="136" y="0"/>
                    </a:lnTo>
                    <a:lnTo>
                      <a:pt x="154" y="0"/>
                    </a:lnTo>
                    <a:lnTo>
                      <a:pt x="154" y="0"/>
                    </a:lnTo>
                    <a:lnTo>
                      <a:pt x="176" y="0"/>
                    </a:lnTo>
                    <a:lnTo>
                      <a:pt x="200" y="6"/>
                    </a:lnTo>
                    <a:lnTo>
                      <a:pt x="222" y="14"/>
                    </a:lnTo>
                    <a:lnTo>
                      <a:pt x="242" y="28"/>
                    </a:lnTo>
                    <a:lnTo>
                      <a:pt x="242" y="28"/>
                    </a:lnTo>
                    <a:lnTo>
                      <a:pt x="222" y="14"/>
                    </a:lnTo>
                    <a:lnTo>
                      <a:pt x="200" y="6"/>
                    </a:lnTo>
                    <a:lnTo>
                      <a:pt x="176" y="0"/>
                    </a:lnTo>
                    <a:lnTo>
                      <a:pt x="154" y="0"/>
                    </a:lnTo>
                    <a:close/>
                  </a:path>
                </a:pathLst>
              </a:custGeom>
              <a:solidFill>
                <a:srgbClr val="DDB35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7" name="Freeform 177"/>
              <p:cNvSpPr/>
              <p:nvPr/>
            </p:nvSpPr>
            <p:spPr bwMode="auto">
              <a:xfrm>
                <a:off x="7340074" y="3253889"/>
                <a:ext cx="355420" cy="98074"/>
              </a:xfrm>
              <a:custGeom>
                <a:avLst/>
                <a:gdLst>
                  <a:gd name="T0" fmla="*/ 214 w 214"/>
                  <a:gd name="T1" fmla="*/ 0 h 66"/>
                  <a:gd name="T2" fmla="*/ 214 w 214"/>
                  <a:gd name="T3" fmla="*/ 0 h 66"/>
                  <a:gd name="T4" fmla="*/ 202 w 214"/>
                  <a:gd name="T5" fmla="*/ 16 h 66"/>
                  <a:gd name="T6" fmla="*/ 188 w 214"/>
                  <a:gd name="T7" fmla="*/ 28 h 66"/>
                  <a:gd name="T8" fmla="*/ 172 w 214"/>
                  <a:gd name="T9" fmla="*/ 40 h 66"/>
                  <a:gd name="T10" fmla="*/ 158 w 214"/>
                  <a:gd name="T11" fmla="*/ 48 h 66"/>
                  <a:gd name="T12" fmla="*/ 140 w 214"/>
                  <a:gd name="T13" fmla="*/ 56 h 66"/>
                  <a:gd name="T14" fmla="*/ 124 w 214"/>
                  <a:gd name="T15" fmla="*/ 62 h 66"/>
                  <a:gd name="T16" fmla="*/ 106 w 214"/>
                  <a:gd name="T17" fmla="*/ 64 h 66"/>
                  <a:gd name="T18" fmla="*/ 88 w 214"/>
                  <a:gd name="T19" fmla="*/ 66 h 66"/>
                  <a:gd name="T20" fmla="*/ 88 w 214"/>
                  <a:gd name="T21" fmla="*/ 66 h 66"/>
                  <a:gd name="T22" fmla="*/ 64 w 214"/>
                  <a:gd name="T23" fmla="*/ 64 h 66"/>
                  <a:gd name="T24" fmla="*/ 42 w 214"/>
                  <a:gd name="T25" fmla="*/ 58 h 66"/>
                  <a:gd name="T26" fmla="*/ 20 w 214"/>
                  <a:gd name="T27" fmla="*/ 50 h 66"/>
                  <a:gd name="T28" fmla="*/ 0 w 214"/>
                  <a:gd name="T29" fmla="*/ 38 h 66"/>
                  <a:gd name="T30" fmla="*/ 0 w 214"/>
                  <a:gd name="T31" fmla="*/ 38 h 66"/>
                  <a:gd name="T32" fmla="*/ 20 w 214"/>
                  <a:gd name="T33" fmla="*/ 50 h 66"/>
                  <a:gd name="T34" fmla="*/ 42 w 214"/>
                  <a:gd name="T35" fmla="*/ 58 h 66"/>
                  <a:gd name="T36" fmla="*/ 64 w 214"/>
                  <a:gd name="T37" fmla="*/ 64 h 66"/>
                  <a:gd name="T38" fmla="*/ 88 w 214"/>
                  <a:gd name="T39" fmla="*/ 66 h 66"/>
                  <a:gd name="T40" fmla="*/ 88 w 214"/>
                  <a:gd name="T41" fmla="*/ 66 h 66"/>
                  <a:gd name="T42" fmla="*/ 106 w 214"/>
                  <a:gd name="T43" fmla="*/ 64 h 66"/>
                  <a:gd name="T44" fmla="*/ 124 w 214"/>
                  <a:gd name="T45" fmla="*/ 62 h 66"/>
                  <a:gd name="T46" fmla="*/ 140 w 214"/>
                  <a:gd name="T47" fmla="*/ 56 h 66"/>
                  <a:gd name="T48" fmla="*/ 158 w 214"/>
                  <a:gd name="T49" fmla="*/ 48 h 66"/>
                  <a:gd name="T50" fmla="*/ 172 w 214"/>
                  <a:gd name="T51" fmla="*/ 40 h 66"/>
                  <a:gd name="T52" fmla="*/ 188 w 214"/>
                  <a:gd name="T53" fmla="*/ 28 h 66"/>
                  <a:gd name="T54" fmla="*/ 202 w 214"/>
                  <a:gd name="T55" fmla="*/ 16 h 66"/>
                  <a:gd name="T56" fmla="*/ 214 w 214"/>
                  <a:gd name="T5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4" h="66">
                    <a:moveTo>
                      <a:pt x="214" y="0"/>
                    </a:moveTo>
                    <a:lnTo>
                      <a:pt x="214" y="0"/>
                    </a:lnTo>
                    <a:lnTo>
                      <a:pt x="202" y="16"/>
                    </a:lnTo>
                    <a:lnTo>
                      <a:pt x="188" y="28"/>
                    </a:lnTo>
                    <a:lnTo>
                      <a:pt x="172" y="40"/>
                    </a:lnTo>
                    <a:lnTo>
                      <a:pt x="158" y="48"/>
                    </a:lnTo>
                    <a:lnTo>
                      <a:pt x="140" y="56"/>
                    </a:lnTo>
                    <a:lnTo>
                      <a:pt x="124" y="62"/>
                    </a:lnTo>
                    <a:lnTo>
                      <a:pt x="106" y="64"/>
                    </a:lnTo>
                    <a:lnTo>
                      <a:pt x="88" y="66"/>
                    </a:lnTo>
                    <a:lnTo>
                      <a:pt x="88" y="66"/>
                    </a:lnTo>
                    <a:lnTo>
                      <a:pt x="64" y="64"/>
                    </a:lnTo>
                    <a:lnTo>
                      <a:pt x="42" y="58"/>
                    </a:lnTo>
                    <a:lnTo>
                      <a:pt x="20" y="50"/>
                    </a:lnTo>
                    <a:lnTo>
                      <a:pt x="0" y="38"/>
                    </a:lnTo>
                    <a:lnTo>
                      <a:pt x="0" y="38"/>
                    </a:lnTo>
                    <a:lnTo>
                      <a:pt x="20" y="50"/>
                    </a:lnTo>
                    <a:lnTo>
                      <a:pt x="42" y="58"/>
                    </a:lnTo>
                    <a:lnTo>
                      <a:pt x="64" y="64"/>
                    </a:lnTo>
                    <a:lnTo>
                      <a:pt x="88" y="66"/>
                    </a:lnTo>
                    <a:lnTo>
                      <a:pt x="88" y="66"/>
                    </a:lnTo>
                    <a:lnTo>
                      <a:pt x="106" y="64"/>
                    </a:lnTo>
                    <a:lnTo>
                      <a:pt x="124" y="62"/>
                    </a:lnTo>
                    <a:lnTo>
                      <a:pt x="140" y="56"/>
                    </a:lnTo>
                    <a:lnTo>
                      <a:pt x="158" y="48"/>
                    </a:lnTo>
                    <a:lnTo>
                      <a:pt x="172" y="40"/>
                    </a:lnTo>
                    <a:lnTo>
                      <a:pt x="188" y="28"/>
                    </a:lnTo>
                    <a:lnTo>
                      <a:pt x="202" y="16"/>
                    </a:lnTo>
                    <a:lnTo>
                      <a:pt x="2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8" name="Freeform 178"/>
              <p:cNvSpPr/>
              <p:nvPr/>
            </p:nvSpPr>
            <p:spPr bwMode="auto">
              <a:xfrm>
                <a:off x="7635703" y="2935892"/>
                <a:ext cx="106294" cy="317997"/>
              </a:xfrm>
              <a:custGeom>
                <a:avLst/>
                <a:gdLst>
                  <a:gd name="T0" fmla="*/ 0 w 64"/>
                  <a:gd name="T1" fmla="*/ 0 h 214"/>
                  <a:gd name="T2" fmla="*/ 0 w 64"/>
                  <a:gd name="T3" fmla="*/ 0 h 214"/>
                  <a:gd name="T4" fmla="*/ 12 w 64"/>
                  <a:gd name="T5" fmla="*/ 10 h 214"/>
                  <a:gd name="T6" fmla="*/ 22 w 64"/>
                  <a:gd name="T7" fmla="*/ 20 h 214"/>
                  <a:gd name="T8" fmla="*/ 32 w 64"/>
                  <a:gd name="T9" fmla="*/ 32 h 214"/>
                  <a:gd name="T10" fmla="*/ 40 w 64"/>
                  <a:gd name="T11" fmla="*/ 44 h 214"/>
                  <a:gd name="T12" fmla="*/ 48 w 64"/>
                  <a:gd name="T13" fmla="*/ 58 h 214"/>
                  <a:gd name="T14" fmla="*/ 54 w 64"/>
                  <a:gd name="T15" fmla="*/ 72 h 214"/>
                  <a:gd name="T16" fmla="*/ 58 w 64"/>
                  <a:gd name="T17" fmla="*/ 86 h 214"/>
                  <a:gd name="T18" fmla="*/ 62 w 64"/>
                  <a:gd name="T19" fmla="*/ 100 h 214"/>
                  <a:gd name="T20" fmla="*/ 64 w 64"/>
                  <a:gd name="T21" fmla="*/ 114 h 214"/>
                  <a:gd name="T22" fmla="*/ 64 w 64"/>
                  <a:gd name="T23" fmla="*/ 130 h 214"/>
                  <a:gd name="T24" fmla="*/ 62 w 64"/>
                  <a:gd name="T25" fmla="*/ 144 h 214"/>
                  <a:gd name="T26" fmla="*/ 60 w 64"/>
                  <a:gd name="T27" fmla="*/ 158 h 214"/>
                  <a:gd name="T28" fmla="*/ 56 w 64"/>
                  <a:gd name="T29" fmla="*/ 174 h 214"/>
                  <a:gd name="T30" fmla="*/ 50 w 64"/>
                  <a:gd name="T31" fmla="*/ 188 h 214"/>
                  <a:gd name="T32" fmla="*/ 44 w 64"/>
                  <a:gd name="T33" fmla="*/ 202 h 214"/>
                  <a:gd name="T34" fmla="*/ 36 w 64"/>
                  <a:gd name="T35" fmla="*/ 214 h 214"/>
                  <a:gd name="T36" fmla="*/ 36 w 64"/>
                  <a:gd name="T37" fmla="*/ 214 h 214"/>
                  <a:gd name="T38" fmla="*/ 44 w 64"/>
                  <a:gd name="T39" fmla="*/ 202 h 214"/>
                  <a:gd name="T40" fmla="*/ 50 w 64"/>
                  <a:gd name="T41" fmla="*/ 188 h 214"/>
                  <a:gd name="T42" fmla="*/ 56 w 64"/>
                  <a:gd name="T43" fmla="*/ 174 h 214"/>
                  <a:gd name="T44" fmla="*/ 60 w 64"/>
                  <a:gd name="T45" fmla="*/ 158 h 214"/>
                  <a:gd name="T46" fmla="*/ 62 w 64"/>
                  <a:gd name="T47" fmla="*/ 144 h 214"/>
                  <a:gd name="T48" fmla="*/ 64 w 64"/>
                  <a:gd name="T49" fmla="*/ 130 h 214"/>
                  <a:gd name="T50" fmla="*/ 64 w 64"/>
                  <a:gd name="T51" fmla="*/ 114 h 214"/>
                  <a:gd name="T52" fmla="*/ 62 w 64"/>
                  <a:gd name="T53" fmla="*/ 100 h 214"/>
                  <a:gd name="T54" fmla="*/ 58 w 64"/>
                  <a:gd name="T55" fmla="*/ 86 h 214"/>
                  <a:gd name="T56" fmla="*/ 54 w 64"/>
                  <a:gd name="T57" fmla="*/ 72 h 214"/>
                  <a:gd name="T58" fmla="*/ 48 w 64"/>
                  <a:gd name="T59" fmla="*/ 58 h 214"/>
                  <a:gd name="T60" fmla="*/ 40 w 64"/>
                  <a:gd name="T61" fmla="*/ 44 h 214"/>
                  <a:gd name="T62" fmla="*/ 32 w 64"/>
                  <a:gd name="T63" fmla="*/ 32 h 214"/>
                  <a:gd name="T64" fmla="*/ 22 w 64"/>
                  <a:gd name="T65" fmla="*/ 20 h 214"/>
                  <a:gd name="T66" fmla="*/ 12 w 64"/>
                  <a:gd name="T67" fmla="*/ 10 h 214"/>
                  <a:gd name="T68" fmla="*/ 0 w 64"/>
                  <a:gd name="T6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214">
                    <a:moveTo>
                      <a:pt x="0" y="0"/>
                    </a:moveTo>
                    <a:lnTo>
                      <a:pt x="0" y="0"/>
                    </a:lnTo>
                    <a:lnTo>
                      <a:pt x="12" y="10"/>
                    </a:lnTo>
                    <a:lnTo>
                      <a:pt x="22" y="20"/>
                    </a:lnTo>
                    <a:lnTo>
                      <a:pt x="32" y="32"/>
                    </a:lnTo>
                    <a:lnTo>
                      <a:pt x="40" y="44"/>
                    </a:lnTo>
                    <a:lnTo>
                      <a:pt x="48" y="58"/>
                    </a:lnTo>
                    <a:lnTo>
                      <a:pt x="54" y="72"/>
                    </a:lnTo>
                    <a:lnTo>
                      <a:pt x="58" y="86"/>
                    </a:lnTo>
                    <a:lnTo>
                      <a:pt x="62" y="100"/>
                    </a:lnTo>
                    <a:lnTo>
                      <a:pt x="64" y="114"/>
                    </a:lnTo>
                    <a:lnTo>
                      <a:pt x="64" y="130"/>
                    </a:lnTo>
                    <a:lnTo>
                      <a:pt x="62" y="144"/>
                    </a:lnTo>
                    <a:lnTo>
                      <a:pt x="60" y="158"/>
                    </a:lnTo>
                    <a:lnTo>
                      <a:pt x="56" y="174"/>
                    </a:lnTo>
                    <a:lnTo>
                      <a:pt x="50" y="188"/>
                    </a:lnTo>
                    <a:lnTo>
                      <a:pt x="44" y="202"/>
                    </a:lnTo>
                    <a:lnTo>
                      <a:pt x="36" y="214"/>
                    </a:lnTo>
                    <a:lnTo>
                      <a:pt x="36" y="214"/>
                    </a:lnTo>
                    <a:lnTo>
                      <a:pt x="44" y="202"/>
                    </a:lnTo>
                    <a:lnTo>
                      <a:pt x="50" y="188"/>
                    </a:lnTo>
                    <a:lnTo>
                      <a:pt x="56" y="174"/>
                    </a:lnTo>
                    <a:lnTo>
                      <a:pt x="60" y="158"/>
                    </a:lnTo>
                    <a:lnTo>
                      <a:pt x="62" y="144"/>
                    </a:lnTo>
                    <a:lnTo>
                      <a:pt x="64" y="130"/>
                    </a:lnTo>
                    <a:lnTo>
                      <a:pt x="64" y="114"/>
                    </a:lnTo>
                    <a:lnTo>
                      <a:pt x="62" y="100"/>
                    </a:lnTo>
                    <a:lnTo>
                      <a:pt x="58" y="86"/>
                    </a:lnTo>
                    <a:lnTo>
                      <a:pt x="54" y="72"/>
                    </a:lnTo>
                    <a:lnTo>
                      <a:pt x="48" y="58"/>
                    </a:lnTo>
                    <a:lnTo>
                      <a:pt x="40" y="44"/>
                    </a:lnTo>
                    <a:lnTo>
                      <a:pt x="32" y="32"/>
                    </a:lnTo>
                    <a:lnTo>
                      <a:pt x="22" y="20"/>
                    </a:lnTo>
                    <a:lnTo>
                      <a:pt x="12"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19" name="Rectangle 179"/>
              <p:cNvSpPr>
                <a:spLocks noChangeArrowheads="1"/>
              </p:cNvSpPr>
              <p:nvPr/>
            </p:nvSpPr>
            <p:spPr bwMode="auto">
              <a:xfrm>
                <a:off x="7632382" y="2935892"/>
                <a:ext cx="1661" cy="1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20" name="Freeform 180"/>
              <p:cNvSpPr/>
              <p:nvPr/>
            </p:nvSpPr>
            <p:spPr bwMode="auto">
              <a:xfrm>
                <a:off x="7230458" y="2894285"/>
                <a:ext cx="401923" cy="413099"/>
              </a:xfrm>
              <a:custGeom>
                <a:avLst/>
                <a:gdLst>
                  <a:gd name="T0" fmla="*/ 154 w 242"/>
                  <a:gd name="T1" fmla="*/ 0 h 278"/>
                  <a:gd name="T2" fmla="*/ 154 w 242"/>
                  <a:gd name="T3" fmla="*/ 0 h 278"/>
                  <a:gd name="T4" fmla="*/ 136 w 242"/>
                  <a:gd name="T5" fmla="*/ 0 h 278"/>
                  <a:gd name="T6" fmla="*/ 118 w 242"/>
                  <a:gd name="T7" fmla="*/ 4 h 278"/>
                  <a:gd name="T8" fmla="*/ 100 w 242"/>
                  <a:gd name="T9" fmla="*/ 8 h 278"/>
                  <a:gd name="T10" fmla="*/ 84 w 242"/>
                  <a:gd name="T11" fmla="*/ 16 h 278"/>
                  <a:gd name="T12" fmla="*/ 68 w 242"/>
                  <a:gd name="T13" fmla="*/ 24 h 278"/>
                  <a:gd name="T14" fmla="*/ 54 w 242"/>
                  <a:gd name="T15" fmla="*/ 36 h 278"/>
                  <a:gd name="T16" fmla="*/ 40 w 242"/>
                  <a:gd name="T17" fmla="*/ 50 h 278"/>
                  <a:gd name="T18" fmla="*/ 28 w 242"/>
                  <a:gd name="T19" fmla="*/ 64 h 278"/>
                  <a:gd name="T20" fmla="*/ 28 w 242"/>
                  <a:gd name="T21" fmla="*/ 64 h 278"/>
                  <a:gd name="T22" fmla="*/ 20 w 242"/>
                  <a:gd name="T23" fmla="*/ 78 h 278"/>
                  <a:gd name="T24" fmla="*/ 12 w 242"/>
                  <a:gd name="T25" fmla="*/ 92 h 278"/>
                  <a:gd name="T26" fmla="*/ 6 w 242"/>
                  <a:gd name="T27" fmla="*/ 106 h 278"/>
                  <a:gd name="T28" fmla="*/ 2 w 242"/>
                  <a:gd name="T29" fmla="*/ 120 h 278"/>
                  <a:gd name="T30" fmla="*/ 0 w 242"/>
                  <a:gd name="T31" fmla="*/ 134 h 278"/>
                  <a:gd name="T32" fmla="*/ 0 w 242"/>
                  <a:gd name="T33" fmla="*/ 150 h 278"/>
                  <a:gd name="T34" fmla="*/ 0 w 242"/>
                  <a:gd name="T35" fmla="*/ 164 h 278"/>
                  <a:gd name="T36" fmla="*/ 2 w 242"/>
                  <a:gd name="T37" fmla="*/ 180 h 278"/>
                  <a:gd name="T38" fmla="*/ 4 w 242"/>
                  <a:gd name="T39" fmla="*/ 194 h 278"/>
                  <a:gd name="T40" fmla="*/ 10 w 242"/>
                  <a:gd name="T41" fmla="*/ 208 h 278"/>
                  <a:gd name="T42" fmla="*/ 16 w 242"/>
                  <a:gd name="T43" fmla="*/ 222 h 278"/>
                  <a:gd name="T44" fmla="*/ 22 w 242"/>
                  <a:gd name="T45" fmla="*/ 234 h 278"/>
                  <a:gd name="T46" fmla="*/ 30 w 242"/>
                  <a:gd name="T47" fmla="*/ 246 h 278"/>
                  <a:gd name="T48" fmla="*/ 40 w 242"/>
                  <a:gd name="T49" fmla="*/ 258 h 278"/>
                  <a:gd name="T50" fmla="*/ 52 w 242"/>
                  <a:gd name="T51" fmla="*/ 270 h 278"/>
                  <a:gd name="T52" fmla="*/ 64 w 242"/>
                  <a:gd name="T53" fmla="*/ 278 h 278"/>
                  <a:gd name="T54" fmla="*/ 64 w 242"/>
                  <a:gd name="T55" fmla="*/ 278 h 278"/>
                  <a:gd name="T56" fmla="*/ 52 w 242"/>
                  <a:gd name="T57" fmla="*/ 270 h 278"/>
                  <a:gd name="T58" fmla="*/ 40 w 242"/>
                  <a:gd name="T59" fmla="*/ 258 h 278"/>
                  <a:gd name="T60" fmla="*/ 32 w 242"/>
                  <a:gd name="T61" fmla="*/ 246 h 278"/>
                  <a:gd name="T62" fmla="*/ 22 w 242"/>
                  <a:gd name="T63" fmla="*/ 234 h 278"/>
                  <a:gd name="T64" fmla="*/ 16 w 242"/>
                  <a:gd name="T65" fmla="*/ 222 h 278"/>
                  <a:gd name="T66" fmla="*/ 10 w 242"/>
                  <a:gd name="T67" fmla="*/ 208 h 278"/>
                  <a:gd name="T68" fmla="*/ 4 w 242"/>
                  <a:gd name="T69" fmla="*/ 194 h 278"/>
                  <a:gd name="T70" fmla="*/ 2 w 242"/>
                  <a:gd name="T71" fmla="*/ 180 h 278"/>
                  <a:gd name="T72" fmla="*/ 0 w 242"/>
                  <a:gd name="T73" fmla="*/ 164 h 278"/>
                  <a:gd name="T74" fmla="*/ 0 w 242"/>
                  <a:gd name="T75" fmla="*/ 150 h 278"/>
                  <a:gd name="T76" fmla="*/ 0 w 242"/>
                  <a:gd name="T77" fmla="*/ 134 h 278"/>
                  <a:gd name="T78" fmla="*/ 4 w 242"/>
                  <a:gd name="T79" fmla="*/ 120 h 278"/>
                  <a:gd name="T80" fmla="*/ 6 w 242"/>
                  <a:gd name="T81" fmla="*/ 106 h 278"/>
                  <a:gd name="T82" fmla="*/ 12 w 242"/>
                  <a:gd name="T83" fmla="*/ 92 h 278"/>
                  <a:gd name="T84" fmla="*/ 20 w 242"/>
                  <a:gd name="T85" fmla="*/ 78 h 278"/>
                  <a:gd name="T86" fmla="*/ 28 w 242"/>
                  <a:gd name="T87" fmla="*/ 64 h 278"/>
                  <a:gd name="T88" fmla="*/ 28 w 242"/>
                  <a:gd name="T89" fmla="*/ 64 h 278"/>
                  <a:gd name="T90" fmla="*/ 40 w 242"/>
                  <a:gd name="T91" fmla="*/ 50 h 278"/>
                  <a:gd name="T92" fmla="*/ 54 w 242"/>
                  <a:gd name="T93" fmla="*/ 36 h 278"/>
                  <a:gd name="T94" fmla="*/ 68 w 242"/>
                  <a:gd name="T95" fmla="*/ 26 h 278"/>
                  <a:gd name="T96" fmla="*/ 84 w 242"/>
                  <a:gd name="T97" fmla="*/ 16 h 278"/>
                  <a:gd name="T98" fmla="*/ 100 w 242"/>
                  <a:gd name="T99" fmla="*/ 8 h 278"/>
                  <a:gd name="T100" fmla="*/ 118 w 242"/>
                  <a:gd name="T101" fmla="*/ 4 h 278"/>
                  <a:gd name="T102" fmla="*/ 136 w 242"/>
                  <a:gd name="T103" fmla="*/ 0 h 278"/>
                  <a:gd name="T104" fmla="*/ 154 w 242"/>
                  <a:gd name="T105" fmla="*/ 0 h 278"/>
                  <a:gd name="T106" fmla="*/ 154 w 242"/>
                  <a:gd name="T107" fmla="*/ 0 h 278"/>
                  <a:gd name="T108" fmla="*/ 176 w 242"/>
                  <a:gd name="T109" fmla="*/ 0 h 278"/>
                  <a:gd name="T110" fmla="*/ 200 w 242"/>
                  <a:gd name="T111" fmla="*/ 6 h 278"/>
                  <a:gd name="T112" fmla="*/ 222 w 242"/>
                  <a:gd name="T113" fmla="*/ 14 h 278"/>
                  <a:gd name="T114" fmla="*/ 242 w 242"/>
                  <a:gd name="T115" fmla="*/ 28 h 278"/>
                  <a:gd name="T116" fmla="*/ 242 w 242"/>
                  <a:gd name="T117" fmla="*/ 28 h 278"/>
                  <a:gd name="T118" fmla="*/ 222 w 242"/>
                  <a:gd name="T119" fmla="*/ 14 h 278"/>
                  <a:gd name="T120" fmla="*/ 200 w 242"/>
                  <a:gd name="T121" fmla="*/ 6 h 278"/>
                  <a:gd name="T122" fmla="*/ 176 w 242"/>
                  <a:gd name="T123" fmla="*/ 0 h 278"/>
                  <a:gd name="T124" fmla="*/ 154 w 242"/>
                  <a:gd name="T12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78">
                    <a:moveTo>
                      <a:pt x="154" y="0"/>
                    </a:moveTo>
                    <a:lnTo>
                      <a:pt x="154" y="0"/>
                    </a:lnTo>
                    <a:lnTo>
                      <a:pt x="136" y="0"/>
                    </a:lnTo>
                    <a:lnTo>
                      <a:pt x="118" y="4"/>
                    </a:lnTo>
                    <a:lnTo>
                      <a:pt x="100" y="8"/>
                    </a:lnTo>
                    <a:lnTo>
                      <a:pt x="84" y="16"/>
                    </a:lnTo>
                    <a:lnTo>
                      <a:pt x="68" y="24"/>
                    </a:lnTo>
                    <a:lnTo>
                      <a:pt x="54" y="36"/>
                    </a:lnTo>
                    <a:lnTo>
                      <a:pt x="40" y="50"/>
                    </a:lnTo>
                    <a:lnTo>
                      <a:pt x="28" y="64"/>
                    </a:lnTo>
                    <a:lnTo>
                      <a:pt x="28" y="64"/>
                    </a:lnTo>
                    <a:lnTo>
                      <a:pt x="20" y="78"/>
                    </a:lnTo>
                    <a:lnTo>
                      <a:pt x="12" y="92"/>
                    </a:lnTo>
                    <a:lnTo>
                      <a:pt x="6" y="106"/>
                    </a:lnTo>
                    <a:lnTo>
                      <a:pt x="2" y="120"/>
                    </a:lnTo>
                    <a:lnTo>
                      <a:pt x="0" y="134"/>
                    </a:lnTo>
                    <a:lnTo>
                      <a:pt x="0" y="150"/>
                    </a:lnTo>
                    <a:lnTo>
                      <a:pt x="0" y="164"/>
                    </a:lnTo>
                    <a:lnTo>
                      <a:pt x="2" y="180"/>
                    </a:lnTo>
                    <a:lnTo>
                      <a:pt x="4" y="194"/>
                    </a:lnTo>
                    <a:lnTo>
                      <a:pt x="10" y="208"/>
                    </a:lnTo>
                    <a:lnTo>
                      <a:pt x="16" y="222"/>
                    </a:lnTo>
                    <a:lnTo>
                      <a:pt x="22" y="234"/>
                    </a:lnTo>
                    <a:lnTo>
                      <a:pt x="30" y="246"/>
                    </a:lnTo>
                    <a:lnTo>
                      <a:pt x="40" y="258"/>
                    </a:lnTo>
                    <a:lnTo>
                      <a:pt x="52" y="270"/>
                    </a:lnTo>
                    <a:lnTo>
                      <a:pt x="64" y="278"/>
                    </a:lnTo>
                    <a:lnTo>
                      <a:pt x="64" y="278"/>
                    </a:lnTo>
                    <a:lnTo>
                      <a:pt x="52" y="270"/>
                    </a:lnTo>
                    <a:lnTo>
                      <a:pt x="40" y="258"/>
                    </a:lnTo>
                    <a:lnTo>
                      <a:pt x="32" y="246"/>
                    </a:lnTo>
                    <a:lnTo>
                      <a:pt x="22" y="234"/>
                    </a:lnTo>
                    <a:lnTo>
                      <a:pt x="16" y="222"/>
                    </a:lnTo>
                    <a:lnTo>
                      <a:pt x="10" y="208"/>
                    </a:lnTo>
                    <a:lnTo>
                      <a:pt x="4" y="194"/>
                    </a:lnTo>
                    <a:lnTo>
                      <a:pt x="2" y="180"/>
                    </a:lnTo>
                    <a:lnTo>
                      <a:pt x="0" y="164"/>
                    </a:lnTo>
                    <a:lnTo>
                      <a:pt x="0" y="150"/>
                    </a:lnTo>
                    <a:lnTo>
                      <a:pt x="0" y="134"/>
                    </a:lnTo>
                    <a:lnTo>
                      <a:pt x="4" y="120"/>
                    </a:lnTo>
                    <a:lnTo>
                      <a:pt x="6" y="106"/>
                    </a:lnTo>
                    <a:lnTo>
                      <a:pt x="12" y="92"/>
                    </a:lnTo>
                    <a:lnTo>
                      <a:pt x="20" y="78"/>
                    </a:lnTo>
                    <a:lnTo>
                      <a:pt x="28" y="64"/>
                    </a:lnTo>
                    <a:lnTo>
                      <a:pt x="28" y="64"/>
                    </a:lnTo>
                    <a:lnTo>
                      <a:pt x="40" y="50"/>
                    </a:lnTo>
                    <a:lnTo>
                      <a:pt x="54" y="36"/>
                    </a:lnTo>
                    <a:lnTo>
                      <a:pt x="68" y="26"/>
                    </a:lnTo>
                    <a:lnTo>
                      <a:pt x="84" y="16"/>
                    </a:lnTo>
                    <a:lnTo>
                      <a:pt x="100" y="8"/>
                    </a:lnTo>
                    <a:lnTo>
                      <a:pt x="118" y="4"/>
                    </a:lnTo>
                    <a:lnTo>
                      <a:pt x="136" y="0"/>
                    </a:lnTo>
                    <a:lnTo>
                      <a:pt x="154" y="0"/>
                    </a:lnTo>
                    <a:lnTo>
                      <a:pt x="154" y="0"/>
                    </a:lnTo>
                    <a:lnTo>
                      <a:pt x="176" y="0"/>
                    </a:lnTo>
                    <a:lnTo>
                      <a:pt x="200" y="6"/>
                    </a:lnTo>
                    <a:lnTo>
                      <a:pt x="222" y="14"/>
                    </a:lnTo>
                    <a:lnTo>
                      <a:pt x="242" y="28"/>
                    </a:lnTo>
                    <a:lnTo>
                      <a:pt x="242" y="28"/>
                    </a:lnTo>
                    <a:lnTo>
                      <a:pt x="222" y="14"/>
                    </a:lnTo>
                    <a:lnTo>
                      <a:pt x="200" y="6"/>
                    </a:lnTo>
                    <a:lnTo>
                      <a:pt x="176"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sp>
            <p:nvSpPr>
              <p:cNvPr id="221" name="Freeform 181"/>
              <p:cNvSpPr/>
              <p:nvPr/>
            </p:nvSpPr>
            <p:spPr bwMode="auto">
              <a:xfrm>
                <a:off x="7323466" y="2998303"/>
                <a:ext cx="325525" cy="246670"/>
              </a:xfrm>
              <a:custGeom>
                <a:avLst/>
                <a:gdLst>
                  <a:gd name="T0" fmla="*/ 126 w 196"/>
                  <a:gd name="T1" fmla="*/ 112 h 166"/>
                  <a:gd name="T2" fmla="*/ 134 w 196"/>
                  <a:gd name="T3" fmla="*/ 116 h 166"/>
                  <a:gd name="T4" fmla="*/ 148 w 196"/>
                  <a:gd name="T5" fmla="*/ 124 h 166"/>
                  <a:gd name="T6" fmla="*/ 152 w 196"/>
                  <a:gd name="T7" fmla="*/ 124 h 166"/>
                  <a:gd name="T8" fmla="*/ 154 w 196"/>
                  <a:gd name="T9" fmla="*/ 122 h 166"/>
                  <a:gd name="T10" fmla="*/ 156 w 196"/>
                  <a:gd name="T11" fmla="*/ 114 h 166"/>
                  <a:gd name="T12" fmla="*/ 154 w 196"/>
                  <a:gd name="T13" fmla="*/ 110 h 166"/>
                  <a:gd name="T14" fmla="*/ 148 w 196"/>
                  <a:gd name="T15" fmla="*/ 106 h 166"/>
                  <a:gd name="T16" fmla="*/ 134 w 196"/>
                  <a:gd name="T17" fmla="*/ 102 h 166"/>
                  <a:gd name="T18" fmla="*/ 124 w 196"/>
                  <a:gd name="T19" fmla="*/ 104 h 166"/>
                  <a:gd name="T20" fmla="*/ 104 w 196"/>
                  <a:gd name="T21" fmla="*/ 112 h 166"/>
                  <a:gd name="T22" fmla="*/ 76 w 196"/>
                  <a:gd name="T23" fmla="*/ 122 h 166"/>
                  <a:gd name="T24" fmla="*/ 58 w 196"/>
                  <a:gd name="T25" fmla="*/ 122 h 166"/>
                  <a:gd name="T26" fmla="*/ 46 w 196"/>
                  <a:gd name="T27" fmla="*/ 118 h 166"/>
                  <a:gd name="T28" fmla="*/ 34 w 196"/>
                  <a:gd name="T29" fmla="*/ 110 h 166"/>
                  <a:gd name="T30" fmla="*/ 16 w 196"/>
                  <a:gd name="T31" fmla="*/ 94 h 166"/>
                  <a:gd name="T32" fmla="*/ 8 w 196"/>
                  <a:gd name="T33" fmla="*/ 78 h 166"/>
                  <a:gd name="T34" fmla="*/ 6 w 196"/>
                  <a:gd name="T35" fmla="*/ 68 h 166"/>
                  <a:gd name="T36" fmla="*/ 10 w 196"/>
                  <a:gd name="T37" fmla="*/ 48 h 166"/>
                  <a:gd name="T38" fmla="*/ 0 w 196"/>
                  <a:gd name="T39" fmla="*/ 26 h 166"/>
                  <a:gd name="T40" fmla="*/ 28 w 196"/>
                  <a:gd name="T41" fmla="*/ 20 h 166"/>
                  <a:gd name="T42" fmla="*/ 34 w 196"/>
                  <a:gd name="T43" fmla="*/ 14 h 166"/>
                  <a:gd name="T44" fmla="*/ 50 w 196"/>
                  <a:gd name="T45" fmla="*/ 4 h 166"/>
                  <a:gd name="T46" fmla="*/ 58 w 196"/>
                  <a:gd name="T47" fmla="*/ 2 h 166"/>
                  <a:gd name="T48" fmla="*/ 78 w 196"/>
                  <a:gd name="T49" fmla="*/ 2 h 166"/>
                  <a:gd name="T50" fmla="*/ 102 w 196"/>
                  <a:gd name="T51" fmla="*/ 16 h 166"/>
                  <a:gd name="T52" fmla="*/ 84 w 196"/>
                  <a:gd name="T53" fmla="*/ 60 h 166"/>
                  <a:gd name="T54" fmla="*/ 74 w 196"/>
                  <a:gd name="T55" fmla="*/ 52 h 166"/>
                  <a:gd name="T56" fmla="*/ 54 w 196"/>
                  <a:gd name="T57" fmla="*/ 40 h 166"/>
                  <a:gd name="T58" fmla="*/ 46 w 196"/>
                  <a:gd name="T59" fmla="*/ 44 h 166"/>
                  <a:gd name="T60" fmla="*/ 44 w 196"/>
                  <a:gd name="T61" fmla="*/ 48 h 166"/>
                  <a:gd name="T62" fmla="*/ 44 w 196"/>
                  <a:gd name="T63" fmla="*/ 50 h 166"/>
                  <a:gd name="T64" fmla="*/ 50 w 196"/>
                  <a:gd name="T65" fmla="*/ 58 h 166"/>
                  <a:gd name="T66" fmla="*/ 62 w 196"/>
                  <a:gd name="T67" fmla="*/ 66 h 166"/>
                  <a:gd name="T68" fmla="*/ 70 w 196"/>
                  <a:gd name="T69" fmla="*/ 70 h 166"/>
                  <a:gd name="T70" fmla="*/ 92 w 196"/>
                  <a:gd name="T71" fmla="*/ 66 h 166"/>
                  <a:gd name="T72" fmla="*/ 124 w 196"/>
                  <a:gd name="T73" fmla="*/ 54 h 166"/>
                  <a:gd name="T74" fmla="*/ 136 w 196"/>
                  <a:gd name="T75" fmla="*/ 52 h 166"/>
                  <a:gd name="T76" fmla="*/ 148 w 196"/>
                  <a:gd name="T77" fmla="*/ 52 h 166"/>
                  <a:gd name="T78" fmla="*/ 172 w 196"/>
                  <a:gd name="T79" fmla="*/ 64 h 166"/>
                  <a:gd name="T80" fmla="*/ 180 w 196"/>
                  <a:gd name="T81" fmla="*/ 70 h 166"/>
                  <a:gd name="T82" fmla="*/ 190 w 196"/>
                  <a:gd name="T83" fmla="*/ 84 h 166"/>
                  <a:gd name="T84" fmla="*/ 192 w 196"/>
                  <a:gd name="T85" fmla="*/ 92 h 166"/>
                  <a:gd name="T86" fmla="*/ 192 w 196"/>
                  <a:gd name="T87" fmla="*/ 110 h 166"/>
                  <a:gd name="T88" fmla="*/ 184 w 196"/>
                  <a:gd name="T89" fmla="*/ 130 h 166"/>
                  <a:gd name="T90" fmla="*/ 182 w 196"/>
                  <a:gd name="T91" fmla="*/ 156 h 166"/>
                  <a:gd name="T92" fmla="*/ 170 w 196"/>
                  <a:gd name="T93" fmla="*/ 148 h 166"/>
                  <a:gd name="T94" fmla="*/ 156 w 196"/>
                  <a:gd name="T95" fmla="*/ 160 h 166"/>
                  <a:gd name="T96" fmla="*/ 140 w 196"/>
                  <a:gd name="T97" fmla="*/ 166 h 166"/>
                  <a:gd name="T98" fmla="*/ 132 w 196"/>
                  <a:gd name="T99" fmla="*/ 166 h 166"/>
                  <a:gd name="T100" fmla="*/ 116 w 196"/>
                  <a:gd name="T101" fmla="*/ 162 h 166"/>
                  <a:gd name="T102" fmla="*/ 106 w 196"/>
                  <a:gd name="T103" fmla="*/ 156 h 166"/>
                  <a:gd name="T104" fmla="*/ 100 w 196"/>
                  <a:gd name="T105" fmla="*/ 15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6" h="166">
                    <a:moveTo>
                      <a:pt x="100" y="150"/>
                    </a:moveTo>
                    <a:lnTo>
                      <a:pt x="126" y="112"/>
                    </a:lnTo>
                    <a:lnTo>
                      <a:pt x="134" y="116"/>
                    </a:lnTo>
                    <a:lnTo>
                      <a:pt x="134" y="116"/>
                    </a:lnTo>
                    <a:lnTo>
                      <a:pt x="142" y="122"/>
                    </a:lnTo>
                    <a:lnTo>
                      <a:pt x="148" y="124"/>
                    </a:lnTo>
                    <a:lnTo>
                      <a:pt x="148" y="124"/>
                    </a:lnTo>
                    <a:lnTo>
                      <a:pt x="152" y="124"/>
                    </a:lnTo>
                    <a:lnTo>
                      <a:pt x="154" y="122"/>
                    </a:lnTo>
                    <a:lnTo>
                      <a:pt x="154" y="122"/>
                    </a:lnTo>
                    <a:lnTo>
                      <a:pt x="156" y="118"/>
                    </a:lnTo>
                    <a:lnTo>
                      <a:pt x="156" y="114"/>
                    </a:lnTo>
                    <a:lnTo>
                      <a:pt x="156" y="114"/>
                    </a:lnTo>
                    <a:lnTo>
                      <a:pt x="154" y="110"/>
                    </a:lnTo>
                    <a:lnTo>
                      <a:pt x="148" y="106"/>
                    </a:lnTo>
                    <a:lnTo>
                      <a:pt x="148" y="106"/>
                    </a:lnTo>
                    <a:lnTo>
                      <a:pt x="140" y="102"/>
                    </a:lnTo>
                    <a:lnTo>
                      <a:pt x="134" y="102"/>
                    </a:lnTo>
                    <a:lnTo>
                      <a:pt x="134" y="102"/>
                    </a:lnTo>
                    <a:lnTo>
                      <a:pt x="124" y="104"/>
                    </a:lnTo>
                    <a:lnTo>
                      <a:pt x="104" y="112"/>
                    </a:lnTo>
                    <a:lnTo>
                      <a:pt x="104" y="112"/>
                    </a:lnTo>
                    <a:lnTo>
                      <a:pt x="76" y="122"/>
                    </a:lnTo>
                    <a:lnTo>
                      <a:pt x="76" y="122"/>
                    </a:lnTo>
                    <a:lnTo>
                      <a:pt x="68" y="124"/>
                    </a:lnTo>
                    <a:lnTo>
                      <a:pt x="58" y="122"/>
                    </a:lnTo>
                    <a:lnTo>
                      <a:pt x="58" y="122"/>
                    </a:lnTo>
                    <a:lnTo>
                      <a:pt x="46" y="118"/>
                    </a:lnTo>
                    <a:lnTo>
                      <a:pt x="34" y="110"/>
                    </a:lnTo>
                    <a:lnTo>
                      <a:pt x="34" y="110"/>
                    </a:lnTo>
                    <a:lnTo>
                      <a:pt x="24" y="102"/>
                    </a:lnTo>
                    <a:lnTo>
                      <a:pt x="16" y="94"/>
                    </a:lnTo>
                    <a:lnTo>
                      <a:pt x="12" y="86"/>
                    </a:lnTo>
                    <a:lnTo>
                      <a:pt x="8" y="78"/>
                    </a:lnTo>
                    <a:lnTo>
                      <a:pt x="8" y="78"/>
                    </a:lnTo>
                    <a:lnTo>
                      <a:pt x="6" y="68"/>
                    </a:lnTo>
                    <a:lnTo>
                      <a:pt x="8" y="58"/>
                    </a:lnTo>
                    <a:lnTo>
                      <a:pt x="10" y="48"/>
                    </a:lnTo>
                    <a:lnTo>
                      <a:pt x="14" y="38"/>
                    </a:lnTo>
                    <a:lnTo>
                      <a:pt x="0" y="26"/>
                    </a:lnTo>
                    <a:lnTo>
                      <a:pt x="12" y="10"/>
                    </a:lnTo>
                    <a:lnTo>
                      <a:pt x="28" y="20"/>
                    </a:lnTo>
                    <a:lnTo>
                      <a:pt x="28" y="20"/>
                    </a:lnTo>
                    <a:lnTo>
                      <a:pt x="34" y="14"/>
                    </a:lnTo>
                    <a:lnTo>
                      <a:pt x="42" y="8"/>
                    </a:lnTo>
                    <a:lnTo>
                      <a:pt x="50" y="4"/>
                    </a:lnTo>
                    <a:lnTo>
                      <a:pt x="58" y="2"/>
                    </a:lnTo>
                    <a:lnTo>
                      <a:pt x="58" y="2"/>
                    </a:lnTo>
                    <a:lnTo>
                      <a:pt x="68" y="0"/>
                    </a:lnTo>
                    <a:lnTo>
                      <a:pt x="78" y="2"/>
                    </a:lnTo>
                    <a:lnTo>
                      <a:pt x="90" y="8"/>
                    </a:lnTo>
                    <a:lnTo>
                      <a:pt x="102" y="16"/>
                    </a:lnTo>
                    <a:lnTo>
                      <a:pt x="110" y="20"/>
                    </a:lnTo>
                    <a:lnTo>
                      <a:pt x="84" y="60"/>
                    </a:lnTo>
                    <a:lnTo>
                      <a:pt x="74" y="52"/>
                    </a:lnTo>
                    <a:lnTo>
                      <a:pt x="74" y="52"/>
                    </a:lnTo>
                    <a:lnTo>
                      <a:pt x="54" y="40"/>
                    </a:lnTo>
                    <a:lnTo>
                      <a:pt x="54" y="40"/>
                    </a:lnTo>
                    <a:lnTo>
                      <a:pt x="50" y="40"/>
                    </a:lnTo>
                    <a:lnTo>
                      <a:pt x="46" y="44"/>
                    </a:lnTo>
                    <a:lnTo>
                      <a:pt x="46" y="44"/>
                    </a:lnTo>
                    <a:lnTo>
                      <a:pt x="44" y="48"/>
                    </a:lnTo>
                    <a:lnTo>
                      <a:pt x="44" y="50"/>
                    </a:lnTo>
                    <a:lnTo>
                      <a:pt x="44" y="50"/>
                    </a:lnTo>
                    <a:lnTo>
                      <a:pt x="46" y="54"/>
                    </a:lnTo>
                    <a:lnTo>
                      <a:pt x="50" y="58"/>
                    </a:lnTo>
                    <a:lnTo>
                      <a:pt x="50" y="58"/>
                    </a:lnTo>
                    <a:lnTo>
                      <a:pt x="62" y="66"/>
                    </a:lnTo>
                    <a:lnTo>
                      <a:pt x="70" y="70"/>
                    </a:lnTo>
                    <a:lnTo>
                      <a:pt x="70" y="70"/>
                    </a:lnTo>
                    <a:lnTo>
                      <a:pt x="78" y="70"/>
                    </a:lnTo>
                    <a:lnTo>
                      <a:pt x="92" y="66"/>
                    </a:lnTo>
                    <a:lnTo>
                      <a:pt x="92" y="66"/>
                    </a:lnTo>
                    <a:lnTo>
                      <a:pt x="124" y="54"/>
                    </a:lnTo>
                    <a:lnTo>
                      <a:pt x="124" y="54"/>
                    </a:lnTo>
                    <a:lnTo>
                      <a:pt x="136" y="52"/>
                    </a:lnTo>
                    <a:lnTo>
                      <a:pt x="148" y="52"/>
                    </a:lnTo>
                    <a:lnTo>
                      <a:pt x="148" y="52"/>
                    </a:lnTo>
                    <a:lnTo>
                      <a:pt x="160" y="56"/>
                    </a:lnTo>
                    <a:lnTo>
                      <a:pt x="172" y="64"/>
                    </a:lnTo>
                    <a:lnTo>
                      <a:pt x="172" y="64"/>
                    </a:lnTo>
                    <a:lnTo>
                      <a:pt x="180" y="70"/>
                    </a:lnTo>
                    <a:lnTo>
                      <a:pt x="186" y="76"/>
                    </a:lnTo>
                    <a:lnTo>
                      <a:pt x="190" y="84"/>
                    </a:lnTo>
                    <a:lnTo>
                      <a:pt x="192" y="92"/>
                    </a:lnTo>
                    <a:lnTo>
                      <a:pt x="192" y="92"/>
                    </a:lnTo>
                    <a:lnTo>
                      <a:pt x="192" y="100"/>
                    </a:lnTo>
                    <a:lnTo>
                      <a:pt x="192" y="110"/>
                    </a:lnTo>
                    <a:lnTo>
                      <a:pt x="188" y="120"/>
                    </a:lnTo>
                    <a:lnTo>
                      <a:pt x="184" y="130"/>
                    </a:lnTo>
                    <a:lnTo>
                      <a:pt x="196" y="140"/>
                    </a:lnTo>
                    <a:lnTo>
                      <a:pt x="182" y="156"/>
                    </a:lnTo>
                    <a:lnTo>
                      <a:pt x="170" y="148"/>
                    </a:lnTo>
                    <a:lnTo>
                      <a:pt x="170" y="148"/>
                    </a:lnTo>
                    <a:lnTo>
                      <a:pt x="164" y="156"/>
                    </a:lnTo>
                    <a:lnTo>
                      <a:pt x="156" y="160"/>
                    </a:lnTo>
                    <a:lnTo>
                      <a:pt x="148" y="164"/>
                    </a:lnTo>
                    <a:lnTo>
                      <a:pt x="140" y="166"/>
                    </a:lnTo>
                    <a:lnTo>
                      <a:pt x="140" y="166"/>
                    </a:lnTo>
                    <a:lnTo>
                      <a:pt x="132" y="166"/>
                    </a:lnTo>
                    <a:lnTo>
                      <a:pt x="124" y="164"/>
                    </a:lnTo>
                    <a:lnTo>
                      <a:pt x="116" y="162"/>
                    </a:lnTo>
                    <a:lnTo>
                      <a:pt x="106" y="156"/>
                    </a:lnTo>
                    <a:lnTo>
                      <a:pt x="106" y="156"/>
                    </a:lnTo>
                    <a:lnTo>
                      <a:pt x="100" y="150"/>
                    </a:lnTo>
                    <a:lnTo>
                      <a:pt x="100" y="150"/>
                    </a:lnTo>
                    <a:close/>
                  </a:path>
                </a:pathLst>
              </a:custGeom>
              <a:solidFill>
                <a:srgbClr val="D5A4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AU" sz="1800" b="0" i="0" u="none" strike="noStrike" kern="1200" cap="none" spc="0" normalizeH="0" baseline="0" noProof="0">
                  <a:ln>
                    <a:noFill/>
                  </a:ln>
                  <a:solidFill>
                    <a:prstClr val="black"/>
                  </a:solidFill>
                  <a:effectLst/>
                  <a:uLnTx/>
                  <a:uFillTx/>
                  <a:cs typeface="+mn-ea"/>
                  <a:sym typeface="+mn-lt"/>
                </a:endParaRPr>
              </a:p>
            </p:txBody>
          </p:sp>
        </p:grpSp>
      </p:grpSp>
      <p:sp>
        <p:nvSpPr>
          <p:cNvPr id="222" name="矩形 221"/>
          <p:cNvSpPr/>
          <p:nvPr/>
        </p:nvSpPr>
        <p:spPr>
          <a:xfrm>
            <a:off x="8424761" y="4793612"/>
            <a:ext cx="3387456" cy="424732"/>
          </a:xfrm>
          <a:prstGeom prst="rect">
            <a:avLst/>
          </a:prstGeom>
        </p:spPr>
        <p:txBody>
          <a:bodyPr wrap="square">
            <a:spAutoFit/>
          </a:bodyPr>
          <a:lstStyle/>
          <a:p>
            <a:pPr>
              <a:lnSpc>
                <a:spcPct val="90000"/>
              </a:lnSpc>
              <a:spcAft>
                <a:spcPts val="600"/>
              </a:spcAft>
            </a:pPr>
            <a:r>
              <a:rPr lang="en-US" altLang="zh-CN" sz="2400" b="1" dirty="0" err="1">
                <a:solidFill>
                  <a:srgbClr val="E1B123"/>
                </a:solidFill>
                <a:cs typeface="+mn-ea"/>
                <a:sym typeface="+mn-lt"/>
              </a:rPr>
              <a:t>Système</a:t>
            </a:r>
            <a:r>
              <a:rPr lang="en-US" altLang="zh-CN" sz="2400" b="1" dirty="0">
                <a:solidFill>
                  <a:srgbClr val="E1B123"/>
                </a:solidFill>
                <a:cs typeface="+mn-ea"/>
                <a:sym typeface="+mn-lt"/>
              </a:rPr>
              <a:t> </a:t>
            </a:r>
            <a:r>
              <a:rPr lang="en-US" altLang="zh-CN" sz="2400" b="1" dirty="0" err="1">
                <a:solidFill>
                  <a:srgbClr val="E1B123"/>
                </a:solidFill>
                <a:cs typeface="+mn-ea"/>
                <a:sym typeface="+mn-lt"/>
              </a:rPr>
              <a:t>d'intégration</a:t>
            </a:r>
            <a:endParaRPr lang="zh-CN" altLang="en-US" sz="2400" b="1" dirty="0" err="1">
              <a:solidFill>
                <a:srgbClr val="E1B123"/>
              </a:solidFill>
              <a:cs typeface="+mn-ea"/>
              <a:sym typeface="+mn-lt"/>
            </a:endParaRPr>
          </a:p>
        </p:txBody>
      </p:sp>
      <p:grpSp>
        <p:nvGrpSpPr>
          <p:cNvPr id="5" name="组合 4"/>
          <p:cNvGrpSpPr/>
          <p:nvPr/>
        </p:nvGrpSpPr>
        <p:grpSpPr>
          <a:xfrm>
            <a:off x="5486725" y="2840034"/>
            <a:ext cx="1472400" cy="1472400"/>
            <a:chOff x="5339493" y="2516081"/>
            <a:chExt cx="1756668" cy="1969200"/>
          </a:xfrm>
        </p:grpSpPr>
        <p:sp>
          <p:nvSpPr>
            <p:cNvPr id="11" name="Shape 148"/>
            <p:cNvSpPr/>
            <p:nvPr/>
          </p:nvSpPr>
          <p:spPr>
            <a:xfrm>
              <a:off x="5339493" y="2516081"/>
              <a:ext cx="1756668" cy="1969200"/>
            </a:xfrm>
            <a:custGeom>
              <a:avLst/>
              <a:gdLst/>
              <a:ahLst/>
              <a:cxnLst>
                <a:cxn ang="0">
                  <a:pos x="wd2" y="hd2"/>
                </a:cxn>
                <a:cxn ang="5400000">
                  <a:pos x="wd2" y="hd2"/>
                </a:cxn>
                <a:cxn ang="10800000">
                  <a:pos x="wd2" y="hd2"/>
                </a:cxn>
                <a:cxn ang="16200000">
                  <a:pos x="wd2" y="hd2"/>
                </a:cxn>
              </a:cxnLst>
              <a:rect l="0" t="0" r="r" b="b"/>
              <a:pathLst>
                <a:path w="21596" h="21593" extrusionOk="0">
                  <a:moveTo>
                    <a:pt x="1092" y="4742"/>
                  </a:moveTo>
                  <a:lnTo>
                    <a:pt x="9180" y="528"/>
                  </a:lnTo>
                  <a:cubicBezTo>
                    <a:pt x="9459" y="385"/>
                    <a:pt x="9748" y="262"/>
                    <a:pt x="10042" y="160"/>
                  </a:cubicBezTo>
                  <a:cubicBezTo>
                    <a:pt x="10303" y="70"/>
                    <a:pt x="10577" y="-7"/>
                    <a:pt x="10864" y="0"/>
                  </a:cubicBezTo>
                  <a:cubicBezTo>
                    <a:pt x="11119" y="7"/>
                    <a:pt x="11362" y="80"/>
                    <a:pt x="11594" y="169"/>
                  </a:cubicBezTo>
                  <a:cubicBezTo>
                    <a:pt x="11881" y="278"/>
                    <a:pt x="12157" y="412"/>
                    <a:pt x="12419" y="569"/>
                  </a:cubicBezTo>
                  <a:lnTo>
                    <a:pt x="19879" y="4387"/>
                  </a:lnTo>
                  <a:cubicBezTo>
                    <a:pt x="20200" y="4546"/>
                    <a:pt x="20498" y="4733"/>
                    <a:pt x="20770" y="4942"/>
                  </a:cubicBezTo>
                  <a:cubicBezTo>
                    <a:pt x="20998" y="5118"/>
                    <a:pt x="21215" y="5315"/>
                    <a:pt x="21349" y="5564"/>
                  </a:cubicBezTo>
                  <a:cubicBezTo>
                    <a:pt x="21482" y="5812"/>
                    <a:pt x="21517" y="6088"/>
                    <a:pt x="21544" y="6359"/>
                  </a:cubicBezTo>
                  <a:cubicBezTo>
                    <a:pt x="21566" y="6590"/>
                    <a:pt x="21584" y="6822"/>
                    <a:pt x="21596" y="7055"/>
                  </a:cubicBezTo>
                  <a:lnTo>
                    <a:pt x="21596" y="14541"/>
                  </a:lnTo>
                  <a:cubicBezTo>
                    <a:pt x="21595" y="14806"/>
                    <a:pt x="21576" y="15070"/>
                    <a:pt x="21538" y="15331"/>
                  </a:cubicBezTo>
                  <a:cubicBezTo>
                    <a:pt x="21504" y="15566"/>
                    <a:pt x="21455" y="15801"/>
                    <a:pt x="21346" y="16020"/>
                  </a:cubicBezTo>
                  <a:cubicBezTo>
                    <a:pt x="21220" y="16272"/>
                    <a:pt x="21024" y="16484"/>
                    <a:pt x="20807" y="16671"/>
                  </a:cubicBezTo>
                  <a:cubicBezTo>
                    <a:pt x="20551" y="16891"/>
                    <a:pt x="20260" y="17080"/>
                    <a:pt x="19939" y="17231"/>
                  </a:cubicBezTo>
                  <a:lnTo>
                    <a:pt x="13910" y="20346"/>
                  </a:lnTo>
                  <a:cubicBezTo>
                    <a:pt x="13476" y="20557"/>
                    <a:pt x="13049" y="20773"/>
                    <a:pt x="12630" y="20995"/>
                  </a:cubicBezTo>
                  <a:cubicBezTo>
                    <a:pt x="12087" y="21283"/>
                    <a:pt x="11523" y="21593"/>
                    <a:pt x="10881" y="21593"/>
                  </a:cubicBezTo>
                  <a:cubicBezTo>
                    <a:pt x="10428" y="21593"/>
                    <a:pt x="10008" y="21438"/>
                    <a:pt x="9609" y="21276"/>
                  </a:cubicBezTo>
                  <a:cubicBezTo>
                    <a:pt x="8943" y="21005"/>
                    <a:pt x="8289" y="20696"/>
                    <a:pt x="7650" y="20346"/>
                  </a:cubicBezTo>
                  <a:lnTo>
                    <a:pt x="1772" y="17197"/>
                  </a:lnTo>
                  <a:cubicBezTo>
                    <a:pt x="1505" y="17049"/>
                    <a:pt x="1247" y="16891"/>
                    <a:pt x="999" y="16723"/>
                  </a:cubicBezTo>
                  <a:cubicBezTo>
                    <a:pt x="717" y="16533"/>
                    <a:pt x="440" y="16323"/>
                    <a:pt x="273" y="16039"/>
                  </a:cubicBezTo>
                  <a:cubicBezTo>
                    <a:pt x="125" y="15790"/>
                    <a:pt x="78" y="15510"/>
                    <a:pt x="47" y="15236"/>
                  </a:cubicBezTo>
                  <a:cubicBezTo>
                    <a:pt x="14" y="14947"/>
                    <a:pt x="-2" y="14653"/>
                    <a:pt x="0" y="14357"/>
                  </a:cubicBezTo>
                  <a:lnTo>
                    <a:pt x="0" y="7059"/>
                  </a:lnTo>
                  <a:cubicBezTo>
                    <a:pt x="-4" y="6767"/>
                    <a:pt x="16" y="6477"/>
                    <a:pt x="58" y="6192"/>
                  </a:cubicBezTo>
                  <a:cubicBezTo>
                    <a:pt x="97" y="5928"/>
                    <a:pt x="157" y="5660"/>
                    <a:pt x="311" y="5426"/>
                  </a:cubicBezTo>
                  <a:cubicBezTo>
                    <a:pt x="403" y="5287"/>
                    <a:pt x="525" y="5168"/>
                    <a:pt x="654" y="5058"/>
                  </a:cubicBezTo>
                  <a:cubicBezTo>
                    <a:pt x="790" y="4943"/>
                    <a:pt x="936" y="4837"/>
                    <a:pt x="1092" y="4742"/>
                  </a:cubicBezTo>
                  <a:close/>
                </a:path>
              </a:pathLst>
            </a:custGeom>
            <a:ln w="76200" cmpd="sng">
              <a:solidFill>
                <a:srgbClr val="FF642E"/>
              </a:solidFill>
              <a:prstDash val="solid"/>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sz="2400"/>
              </a:pPr>
              <a:endParaRPr kumimoji="0" sz="2400" b="0" i="0" u="none" strike="noStrike" kern="1200" cap="none" spc="0" normalizeH="0" baseline="0" noProof="0">
                <a:ln>
                  <a:noFill/>
                </a:ln>
                <a:solidFill>
                  <a:prstClr val="black"/>
                </a:solidFill>
                <a:effectLst/>
                <a:uLnTx/>
                <a:uFillTx/>
                <a:cs typeface="+mn-ea"/>
                <a:sym typeface="+mn-lt"/>
              </a:endParaRPr>
            </a:p>
          </p:txBody>
        </p:sp>
        <p:grpSp>
          <p:nvGrpSpPr>
            <p:cNvPr id="223" name="组合 222"/>
            <p:cNvGrpSpPr/>
            <p:nvPr/>
          </p:nvGrpSpPr>
          <p:grpSpPr>
            <a:xfrm>
              <a:off x="5669603" y="2862903"/>
              <a:ext cx="1329275" cy="1105503"/>
              <a:chOff x="9726853" y="2082103"/>
              <a:chExt cx="1390400" cy="1333919"/>
            </a:xfrm>
          </p:grpSpPr>
          <p:sp>
            <p:nvSpPr>
              <p:cNvPr id="224" name="Freeform 289"/>
              <p:cNvSpPr/>
              <p:nvPr/>
            </p:nvSpPr>
            <p:spPr bwMode="auto">
              <a:xfrm>
                <a:off x="10501969" y="3283832"/>
                <a:ext cx="69700" cy="69700"/>
              </a:xfrm>
              <a:custGeom>
                <a:avLst/>
                <a:gdLst>
                  <a:gd name="T0" fmla="*/ 50 w 58"/>
                  <a:gd name="T1" fmla="*/ 50 h 58"/>
                  <a:gd name="T2" fmla="*/ 34 w 58"/>
                  <a:gd name="T3" fmla="*/ 44 h 58"/>
                  <a:gd name="T4" fmla="*/ 22 w 58"/>
                  <a:gd name="T5" fmla="*/ 58 h 58"/>
                  <a:gd name="T6" fmla="*/ 18 w 58"/>
                  <a:gd name="T7" fmla="*/ 40 h 58"/>
                  <a:gd name="T8" fmla="*/ 0 w 58"/>
                  <a:gd name="T9" fmla="*/ 38 h 58"/>
                  <a:gd name="T10" fmla="*/ 14 w 58"/>
                  <a:gd name="T11" fmla="*/ 26 h 58"/>
                  <a:gd name="T12" fmla="*/ 6 w 58"/>
                  <a:gd name="T13" fmla="*/ 8 h 58"/>
                  <a:gd name="T14" fmla="*/ 24 w 58"/>
                  <a:gd name="T15" fmla="*/ 14 h 58"/>
                  <a:gd name="T16" fmla="*/ 36 w 58"/>
                  <a:gd name="T17" fmla="*/ 0 h 58"/>
                  <a:gd name="T18" fmla="*/ 38 w 58"/>
                  <a:gd name="T19" fmla="*/ 18 h 58"/>
                  <a:gd name="T20" fmla="*/ 58 w 58"/>
                  <a:gd name="T21" fmla="*/ 20 h 58"/>
                  <a:gd name="T22" fmla="*/ 44 w 58"/>
                  <a:gd name="T23" fmla="*/ 32 h 58"/>
                  <a:gd name="T24" fmla="*/ 50 w 58"/>
                  <a:gd name="T2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58">
                    <a:moveTo>
                      <a:pt x="50" y="50"/>
                    </a:moveTo>
                    <a:lnTo>
                      <a:pt x="34" y="44"/>
                    </a:lnTo>
                    <a:lnTo>
                      <a:pt x="22" y="58"/>
                    </a:lnTo>
                    <a:lnTo>
                      <a:pt x="18" y="40"/>
                    </a:lnTo>
                    <a:lnTo>
                      <a:pt x="0" y="38"/>
                    </a:lnTo>
                    <a:lnTo>
                      <a:pt x="14" y="26"/>
                    </a:lnTo>
                    <a:lnTo>
                      <a:pt x="6" y="8"/>
                    </a:lnTo>
                    <a:lnTo>
                      <a:pt x="24" y="14"/>
                    </a:lnTo>
                    <a:lnTo>
                      <a:pt x="36" y="0"/>
                    </a:lnTo>
                    <a:lnTo>
                      <a:pt x="38" y="18"/>
                    </a:lnTo>
                    <a:lnTo>
                      <a:pt x="58" y="20"/>
                    </a:lnTo>
                    <a:lnTo>
                      <a:pt x="44" y="32"/>
                    </a:lnTo>
                    <a:lnTo>
                      <a:pt x="50" y="50"/>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5" name="Freeform 290"/>
              <p:cNvSpPr/>
              <p:nvPr/>
            </p:nvSpPr>
            <p:spPr bwMode="auto">
              <a:xfrm>
                <a:off x="10233983" y="3317481"/>
                <a:ext cx="97341" cy="98541"/>
              </a:xfrm>
              <a:custGeom>
                <a:avLst/>
                <a:gdLst>
                  <a:gd name="T0" fmla="*/ 73 w 81"/>
                  <a:gd name="T1" fmla="*/ 70 h 82"/>
                  <a:gd name="T2" fmla="*/ 47 w 81"/>
                  <a:gd name="T3" fmla="*/ 62 h 82"/>
                  <a:gd name="T4" fmla="*/ 33 w 81"/>
                  <a:gd name="T5" fmla="*/ 82 h 82"/>
                  <a:gd name="T6" fmla="*/ 27 w 81"/>
                  <a:gd name="T7" fmla="*/ 58 h 82"/>
                  <a:gd name="T8" fmla="*/ 0 w 81"/>
                  <a:gd name="T9" fmla="*/ 54 h 82"/>
                  <a:gd name="T10" fmla="*/ 21 w 81"/>
                  <a:gd name="T11" fmla="*/ 38 h 82"/>
                  <a:gd name="T12" fmla="*/ 10 w 81"/>
                  <a:gd name="T13" fmla="*/ 14 h 82"/>
                  <a:gd name="T14" fmla="*/ 35 w 81"/>
                  <a:gd name="T15" fmla="*/ 22 h 82"/>
                  <a:gd name="T16" fmla="*/ 51 w 81"/>
                  <a:gd name="T17" fmla="*/ 0 h 82"/>
                  <a:gd name="T18" fmla="*/ 55 w 81"/>
                  <a:gd name="T19" fmla="*/ 26 h 82"/>
                  <a:gd name="T20" fmla="*/ 81 w 81"/>
                  <a:gd name="T21" fmla="*/ 30 h 82"/>
                  <a:gd name="T22" fmla="*/ 63 w 81"/>
                  <a:gd name="T23" fmla="*/ 46 h 82"/>
                  <a:gd name="T24" fmla="*/ 73 w 81"/>
                  <a:gd name="T25" fmla="*/ 7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82">
                    <a:moveTo>
                      <a:pt x="73" y="70"/>
                    </a:moveTo>
                    <a:lnTo>
                      <a:pt x="47" y="62"/>
                    </a:lnTo>
                    <a:lnTo>
                      <a:pt x="33" y="82"/>
                    </a:lnTo>
                    <a:lnTo>
                      <a:pt x="27" y="58"/>
                    </a:lnTo>
                    <a:lnTo>
                      <a:pt x="0" y="54"/>
                    </a:lnTo>
                    <a:lnTo>
                      <a:pt x="21" y="38"/>
                    </a:lnTo>
                    <a:lnTo>
                      <a:pt x="10" y="14"/>
                    </a:lnTo>
                    <a:lnTo>
                      <a:pt x="35" y="22"/>
                    </a:lnTo>
                    <a:lnTo>
                      <a:pt x="51" y="0"/>
                    </a:lnTo>
                    <a:lnTo>
                      <a:pt x="55" y="26"/>
                    </a:lnTo>
                    <a:lnTo>
                      <a:pt x="81" y="30"/>
                    </a:lnTo>
                    <a:lnTo>
                      <a:pt x="63" y="46"/>
                    </a:lnTo>
                    <a:lnTo>
                      <a:pt x="73" y="70"/>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6" name="Freeform 291"/>
              <p:cNvSpPr/>
              <p:nvPr/>
            </p:nvSpPr>
            <p:spPr bwMode="auto">
              <a:xfrm>
                <a:off x="10352954" y="3103573"/>
                <a:ext cx="48069" cy="48069"/>
              </a:xfrm>
              <a:custGeom>
                <a:avLst/>
                <a:gdLst>
                  <a:gd name="T0" fmla="*/ 36 w 40"/>
                  <a:gd name="T1" fmla="*/ 34 h 40"/>
                  <a:gd name="T2" fmla="*/ 24 w 40"/>
                  <a:gd name="T3" fmla="*/ 30 h 40"/>
                  <a:gd name="T4" fmla="*/ 16 w 40"/>
                  <a:gd name="T5" fmla="*/ 40 h 40"/>
                  <a:gd name="T6" fmla="*/ 14 w 40"/>
                  <a:gd name="T7" fmla="*/ 28 h 40"/>
                  <a:gd name="T8" fmla="*/ 0 w 40"/>
                  <a:gd name="T9" fmla="*/ 26 h 40"/>
                  <a:gd name="T10" fmla="*/ 10 w 40"/>
                  <a:gd name="T11" fmla="*/ 18 h 40"/>
                  <a:gd name="T12" fmla="*/ 4 w 40"/>
                  <a:gd name="T13" fmla="*/ 6 h 40"/>
                  <a:gd name="T14" fmla="*/ 16 w 40"/>
                  <a:gd name="T15" fmla="*/ 10 h 40"/>
                  <a:gd name="T16" fmla="*/ 24 w 40"/>
                  <a:gd name="T17" fmla="*/ 0 h 40"/>
                  <a:gd name="T18" fmla="*/ 28 w 40"/>
                  <a:gd name="T19" fmla="*/ 12 h 40"/>
                  <a:gd name="T20" fmla="*/ 40 w 40"/>
                  <a:gd name="T21" fmla="*/ 14 h 40"/>
                  <a:gd name="T22" fmla="*/ 30 w 40"/>
                  <a:gd name="T23" fmla="*/ 22 h 40"/>
                  <a:gd name="T24" fmla="*/ 36 w 40"/>
                  <a:gd name="T25"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0">
                    <a:moveTo>
                      <a:pt x="36" y="34"/>
                    </a:moveTo>
                    <a:lnTo>
                      <a:pt x="24" y="30"/>
                    </a:lnTo>
                    <a:lnTo>
                      <a:pt x="16" y="40"/>
                    </a:lnTo>
                    <a:lnTo>
                      <a:pt x="14" y="28"/>
                    </a:lnTo>
                    <a:lnTo>
                      <a:pt x="0" y="26"/>
                    </a:lnTo>
                    <a:lnTo>
                      <a:pt x="10" y="18"/>
                    </a:lnTo>
                    <a:lnTo>
                      <a:pt x="4" y="6"/>
                    </a:lnTo>
                    <a:lnTo>
                      <a:pt x="16" y="10"/>
                    </a:lnTo>
                    <a:lnTo>
                      <a:pt x="24" y="0"/>
                    </a:lnTo>
                    <a:lnTo>
                      <a:pt x="28" y="12"/>
                    </a:lnTo>
                    <a:lnTo>
                      <a:pt x="40" y="14"/>
                    </a:lnTo>
                    <a:lnTo>
                      <a:pt x="30" y="22"/>
                    </a:lnTo>
                    <a:lnTo>
                      <a:pt x="36" y="34"/>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7" name="Freeform 292"/>
              <p:cNvSpPr/>
              <p:nvPr/>
            </p:nvSpPr>
            <p:spPr bwMode="auto">
              <a:xfrm>
                <a:off x="10867294" y="2310432"/>
                <a:ext cx="72104" cy="67297"/>
              </a:xfrm>
              <a:custGeom>
                <a:avLst/>
                <a:gdLst>
                  <a:gd name="T0" fmla="*/ 48 w 60"/>
                  <a:gd name="T1" fmla="*/ 4 h 56"/>
                  <a:gd name="T2" fmla="*/ 44 w 60"/>
                  <a:gd name="T3" fmla="*/ 24 h 56"/>
                  <a:gd name="T4" fmla="*/ 60 w 60"/>
                  <a:gd name="T5" fmla="*/ 32 h 56"/>
                  <a:gd name="T6" fmla="*/ 42 w 60"/>
                  <a:gd name="T7" fmla="*/ 38 h 56"/>
                  <a:gd name="T8" fmla="*/ 40 w 60"/>
                  <a:gd name="T9" fmla="*/ 56 h 56"/>
                  <a:gd name="T10" fmla="*/ 28 w 60"/>
                  <a:gd name="T11" fmla="*/ 44 h 56"/>
                  <a:gd name="T12" fmla="*/ 10 w 60"/>
                  <a:gd name="T13" fmla="*/ 52 h 56"/>
                  <a:gd name="T14" fmla="*/ 16 w 60"/>
                  <a:gd name="T15" fmla="*/ 34 h 56"/>
                  <a:gd name="T16" fmla="*/ 0 w 60"/>
                  <a:gd name="T17" fmla="*/ 24 h 56"/>
                  <a:gd name="T18" fmla="*/ 18 w 60"/>
                  <a:gd name="T19" fmla="*/ 20 h 56"/>
                  <a:gd name="T20" fmla="*/ 18 w 60"/>
                  <a:gd name="T21" fmla="*/ 0 h 56"/>
                  <a:gd name="T22" fmla="*/ 32 w 60"/>
                  <a:gd name="T23" fmla="*/ 14 h 56"/>
                  <a:gd name="T24" fmla="*/ 48 w 60"/>
                  <a:gd name="T25"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6">
                    <a:moveTo>
                      <a:pt x="48" y="4"/>
                    </a:moveTo>
                    <a:lnTo>
                      <a:pt x="44" y="24"/>
                    </a:lnTo>
                    <a:lnTo>
                      <a:pt x="60" y="32"/>
                    </a:lnTo>
                    <a:lnTo>
                      <a:pt x="42" y="38"/>
                    </a:lnTo>
                    <a:lnTo>
                      <a:pt x="40" y="56"/>
                    </a:lnTo>
                    <a:lnTo>
                      <a:pt x="28" y="44"/>
                    </a:lnTo>
                    <a:lnTo>
                      <a:pt x="10" y="52"/>
                    </a:lnTo>
                    <a:lnTo>
                      <a:pt x="16" y="34"/>
                    </a:lnTo>
                    <a:lnTo>
                      <a:pt x="0" y="24"/>
                    </a:lnTo>
                    <a:lnTo>
                      <a:pt x="18" y="20"/>
                    </a:lnTo>
                    <a:lnTo>
                      <a:pt x="18" y="0"/>
                    </a:lnTo>
                    <a:lnTo>
                      <a:pt x="32" y="14"/>
                    </a:lnTo>
                    <a:lnTo>
                      <a:pt x="48" y="4"/>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8" name="Freeform 293"/>
              <p:cNvSpPr/>
              <p:nvPr/>
            </p:nvSpPr>
            <p:spPr bwMode="auto">
              <a:xfrm>
                <a:off x="10920170" y="2545970"/>
                <a:ext cx="100945" cy="93735"/>
              </a:xfrm>
              <a:custGeom>
                <a:avLst/>
                <a:gdLst>
                  <a:gd name="T0" fmla="*/ 68 w 84"/>
                  <a:gd name="T1" fmla="*/ 6 h 78"/>
                  <a:gd name="T2" fmla="*/ 60 w 84"/>
                  <a:gd name="T3" fmla="*/ 32 h 78"/>
                  <a:gd name="T4" fmla="*/ 84 w 84"/>
                  <a:gd name="T5" fmla="*/ 44 h 78"/>
                  <a:gd name="T6" fmla="*/ 58 w 84"/>
                  <a:gd name="T7" fmla="*/ 52 h 78"/>
                  <a:gd name="T8" fmla="*/ 58 w 84"/>
                  <a:gd name="T9" fmla="*/ 78 h 78"/>
                  <a:gd name="T10" fmla="*/ 38 w 84"/>
                  <a:gd name="T11" fmla="*/ 60 h 78"/>
                  <a:gd name="T12" fmla="*/ 16 w 84"/>
                  <a:gd name="T13" fmla="*/ 72 h 78"/>
                  <a:gd name="T14" fmla="*/ 22 w 84"/>
                  <a:gd name="T15" fmla="*/ 46 h 78"/>
                  <a:gd name="T16" fmla="*/ 0 w 84"/>
                  <a:gd name="T17" fmla="*/ 34 h 78"/>
                  <a:gd name="T18" fmla="*/ 26 w 84"/>
                  <a:gd name="T19" fmla="*/ 26 h 78"/>
                  <a:gd name="T20" fmla="*/ 26 w 84"/>
                  <a:gd name="T21" fmla="*/ 0 h 78"/>
                  <a:gd name="T22" fmla="*/ 44 w 84"/>
                  <a:gd name="T23" fmla="*/ 18 h 78"/>
                  <a:gd name="T24" fmla="*/ 68 w 84"/>
                  <a:gd name="T25"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78">
                    <a:moveTo>
                      <a:pt x="68" y="6"/>
                    </a:moveTo>
                    <a:lnTo>
                      <a:pt x="60" y="32"/>
                    </a:lnTo>
                    <a:lnTo>
                      <a:pt x="84" y="44"/>
                    </a:lnTo>
                    <a:lnTo>
                      <a:pt x="58" y="52"/>
                    </a:lnTo>
                    <a:lnTo>
                      <a:pt x="58" y="78"/>
                    </a:lnTo>
                    <a:lnTo>
                      <a:pt x="38" y="60"/>
                    </a:lnTo>
                    <a:lnTo>
                      <a:pt x="16" y="72"/>
                    </a:lnTo>
                    <a:lnTo>
                      <a:pt x="22" y="46"/>
                    </a:lnTo>
                    <a:lnTo>
                      <a:pt x="0" y="34"/>
                    </a:lnTo>
                    <a:lnTo>
                      <a:pt x="26" y="26"/>
                    </a:lnTo>
                    <a:lnTo>
                      <a:pt x="26" y="0"/>
                    </a:lnTo>
                    <a:lnTo>
                      <a:pt x="44" y="18"/>
                    </a:lnTo>
                    <a:lnTo>
                      <a:pt x="68" y="6"/>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29" name="Freeform 294"/>
              <p:cNvSpPr/>
              <p:nvPr/>
            </p:nvSpPr>
            <p:spPr bwMode="auto">
              <a:xfrm>
                <a:off x="10699052" y="2495498"/>
                <a:ext cx="48069" cy="45666"/>
              </a:xfrm>
              <a:custGeom>
                <a:avLst/>
                <a:gdLst>
                  <a:gd name="T0" fmla="*/ 32 w 40"/>
                  <a:gd name="T1" fmla="*/ 2 h 38"/>
                  <a:gd name="T2" fmla="*/ 30 w 40"/>
                  <a:gd name="T3" fmla="*/ 16 h 38"/>
                  <a:gd name="T4" fmla="*/ 40 w 40"/>
                  <a:gd name="T5" fmla="*/ 22 h 38"/>
                  <a:gd name="T6" fmla="*/ 28 w 40"/>
                  <a:gd name="T7" fmla="*/ 26 h 38"/>
                  <a:gd name="T8" fmla="*/ 28 w 40"/>
                  <a:gd name="T9" fmla="*/ 38 h 38"/>
                  <a:gd name="T10" fmla="*/ 18 w 40"/>
                  <a:gd name="T11" fmla="*/ 30 h 38"/>
                  <a:gd name="T12" fmla="*/ 8 w 40"/>
                  <a:gd name="T13" fmla="*/ 36 h 38"/>
                  <a:gd name="T14" fmla="*/ 10 w 40"/>
                  <a:gd name="T15" fmla="*/ 22 h 38"/>
                  <a:gd name="T16" fmla="*/ 0 w 40"/>
                  <a:gd name="T17" fmla="*/ 16 h 38"/>
                  <a:gd name="T18" fmla="*/ 12 w 40"/>
                  <a:gd name="T19" fmla="*/ 12 h 38"/>
                  <a:gd name="T20" fmla="*/ 12 w 40"/>
                  <a:gd name="T21" fmla="*/ 0 h 38"/>
                  <a:gd name="T22" fmla="*/ 22 w 40"/>
                  <a:gd name="T23" fmla="*/ 8 h 38"/>
                  <a:gd name="T24" fmla="*/ 32 w 40"/>
                  <a:gd name="T25"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38">
                    <a:moveTo>
                      <a:pt x="32" y="2"/>
                    </a:moveTo>
                    <a:lnTo>
                      <a:pt x="30" y="16"/>
                    </a:lnTo>
                    <a:lnTo>
                      <a:pt x="40" y="22"/>
                    </a:lnTo>
                    <a:lnTo>
                      <a:pt x="28" y="26"/>
                    </a:lnTo>
                    <a:lnTo>
                      <a:pt x="28" y="38"/>
                    </a:lnTo>
                    <a:lnTo>
                      <a:pt x="18" y="30"/>
                    </a:lnTo>
                    <a:lnTo>
                      <a:pt x="8" y="36"/>
                    </a:lnTo>
                    <a:lnTo>
                      <a:pt x="10" y="22"/>
                    </a:lnTo>
                    <a:lnTo>
                      <a:pt x="0" y="16"/>
                    </a:lnTo>
                    <a:lnTo>
                      <a:pt x="12" y="12"/>
                    </a:lnTo>
                    <a:lnTo>
                      <a:pt x="12" y="0"/>
                    </a:lnTo>
                    <a:lnTo>
                      <a:pt x="22" y="8"/>
                    </a:lnTo>
                    <a:lnTo>
                      <a:pt x="32" y="2"/>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0" name="Freeform 295"/>
              <p:cNvSpPr/>
              <p:nvPr/>
            </p:nvSpPr>
            <p:spPr bwMode="auto">
              <a:xfrm>
                <a:off x="9794150" y="2471463"/>
                <a:ext cx="74507" cy="62490"/>
              </a:xfrm>
              <a:custGeom>
                <a:avLst/>
                <a:gdLst>
                  <a:gd name="T0" fmla="*/ 46 w 62"/>
                  <a:gd name="T1" fmla="*/ 52 h 52"/>
                  <a:gd name="T2" fmla="*/ 32 w 62"/>
                  <a:gd name="T3" fmla="*/ 40 h 52"/>
                  <a:gd name="T4" fmla="*/ 16 w 62"/>
                  <a:gd name="T5" fmla="*/ 52 h 52"/>
                  <a:gd name="T6" fmla="*/ 18 w 62"/>
                  <a:gd name="T7" fmla="*/ 34 h 52"/>
                  <a:gd name="T8" fmla="*/ 0 w 62"/>
                  <a:gd name="T9" fmla="*/ 26 h 52"/>
                  <a:gd name="T10" fmla="*/ 18 w 62"/>
                  <a:gd name="T11" fmla="*/ 18 h 52"/>
                  <a:gd name="T12" fmla="*/ 16 w 62"/>
                  <a:gd name="T13" fmla="*/ 0 h 52"/>
                  <a:gd name="T14" fmla="*/ 32 w 62"/>
                  <a:gd name="T15" fmla="*/ 10 h 52"/>
                  <a:gd name="T16" fmla="*/ 46 w 62"/>
                  <a:gd name="T17" fmla="*/ 0 h 52"/>
                  <a:gd name="T18" fmla="*/ 44 w 62"/>
                  <a:gd name="T19" fmla="*/ 18 h 52"/>
                  <a:gd name="T20" fmla="*/ 62 w 62"/>
                  <a:gd name="T21" fmla="*/ 26 h 52"/>
                  <a:gd name="T22" fmla="*/ 44 w 62"/>
                  <a:gd name="T23" fmla="*/ 32 h 52"/>
                  <a:gd name="T24" fmla="*/ 46 w 62"/>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2">
                    <a:moveTo>
                      <a:pt x="46" y="52"/>
                    </a:moveTo>
                    <a:lnTo>
                      <a:pt x="32" y="40"/>
                    </a:lnTo>
                    <a:lnTo>
                      <a:pt x="16" y="52"/>
                    </a:lnTo>
                    <a:lnTo>
                      <a:pt x="18" y="34"/>
                    </a:lnTo>
                    <a:lnTo>
                      <a:pt x="0" y="26"/>
                    </a:lnTo>
                    <a:lnTo>
                      <a:pt x="18" y="18"/>
                    </a:lnTo>
                    <a:lnTo>
                      <a:pt x="16" y="0"/>
                    </a:lnTo>
                    <a:lnTo>
                      <a:pt x="32" y="10"/>
                    </a:lnTo>
                    <a:lnTo>
                      <a:pt x="46" y="0"/>
                    </a:lnTo>
                    <a:lnTo>
                      <a:pt x="44" y="18"/>
                    </a:lnTo>
                    <a:lnTo>
                      <a:pt x="62" y="26"/>
                    </a:lnTo>
                    <a:lnTo>
                      <a:pt x="44" y="32"/>
                    </a:lnTo>
                    <a:lnTo>
                      <a:pt x="46" y="52"/>
                    </a:lnTo>
                    <a:close/>
                  </a:path>
                </a:pathLst>
              </a:custGeom>
              <a:solidFill>
                <a:srgbClr val="F7D5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1" name="Freeform 298"/>
              <p:cNvSpPr/>
              <p:nvPr/>
            </p:nvSpPr>
            <p:spPr bwMode="auto">
              <a:xfrm>
                <a:off x="10280850" y="2082103"/>
                <a:ext cx="16824" cy="180260"/>
              </a:xfrm>
              <a:custGeom>
                <a:avLst/>
                <a:gdLst>
                  <a:gd name="T0" fmla="*/ 6 w 14"/>
                  <a:gd name="T1" fmla="*/ 150 h 150"/>
                  <a:gd name="T2" fmla="*/ 6 w 14"/>
                  <a:gd name="T3" fmla="*/ 150 h 150"/>
                  <a:gd name="T4" fmla="*/ 4 w 14"/>
                  <a:gd name="T5" fmla="*/ 126 h 150"/>
                  <a:gd name="T6" fmla="*/ 4 w 14"/>
                  <a:gd name="T7" fmla="*/ 126 h 150"/>
                  <a:gd name="T8" fmla="*/ 2 w 14"/>
                  <a:gd name="T9" fmla="*/ 74 h 150"/>
                  <a:gd name="T10" fmla="*/ 2 w 14"/>
                  <a:gd name="T11" fmla="*/ 74 h 150"/>
                  <a:gd name="T12" fmla="*/ 0 w 14"/>
                  <a:gd name="T13" fmla="*/ 46 h 150"/>
                  <a:gd name="T14" fmla="*/ 0 w 14"/>
                  <a:gd name="T15" fmla="*/ 46 h 150"/>
                  <a:gd name="T16" fmla="*/ 2 w 14"/>
                  <a:gd name="T17" fmla="*/ 22 h 150"/>
                  <a:gd name="T18" fmla="*/ 2 w 14"/>
                  <a:gd name="T19" fmla="*/ 22 h 150"/>
                  <a:gd name="T20" fmla="*/ 4 w 14"/>
                  <a:gd name="T21" fmla="*/ 6 h 150"/>
                  <a:gd name="T22" fmla="*/ 6 w 14"/>
                  <a:gd name="T23" fmla="*/ 0 h 150"/>
                  <a:gd name="T24" fmla="*/ 8 w 14"/>
                  <a:gd name="T25" fmla="*/ 0 h 150"/>
                  <a:gd name="T26" fmla="*/ 8 w 14"/>
                  <a:gd name="T27" fmla="*/ 0 h 150"/>
                  <a:gd name="T28" fmla="*/ 10 w 14"/>
                  <a:gd name="T29" fmla="*/ 6 h 150"/>
                  <a:gd name="T30" fmla="*/ 12 w 14"/>
                  <a:gd name="T31" fmla="*/ 22 h 150"/>
                  <a:gd name="T32" fmla="*/ 12 w 14"/>
                  <a:gd name="T33" fmla="*/ 22 h 150"/>
                  <a:gd name="T34" fmla="*/ 14 w 14"/>
                  <a:gd name="T35" fmla="*/ 46 h 150"/>
                  <a:gd name="T36" fmla="*/ 14 w 14"/>
                  <a:gd name="T37" fmla="*/ 46 h 150"/>
                  <a:gd name="T38" fmla="*/ 12 w 14"/>
                  <a:gd name="T39" fmla="*/ 74 h 150"/>
                  <a:gd name="T40" fmla="*/ 12 w 14"/>
                  <a:gd name="T41" fmla="*/ 74 h 150"/>
                  <a:gd name="T42" fmla="*/ 10 w 14"/>
                  <a:gd name="T43" fmla="*/ 126 h 150"/>
                  <a:gd name="T44" fmla="*/ 10 w 14"/>
                  <a:gd name="T45" fmla="*/ 126 h 150"/>
                  <a:gd name="T46" fmla="*/ 8 w 14"/>
                  <a:gd name="T47" fmla="*/ 150 h 150"/>
                  <a:gd name="T48" fmla="*/ 6 w 14"/>
                  <a:gd name="T4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50">
                    <a:moveTo>
                      <a:pt x="6" y="150"/>
                    </a:moveTo>
                    <a:lnTo>
                      <a:pt x="6" y="150"/>
                    </a:lnTo>
                    <a:lnTo>
                      <a:pt x="4" y="126"/>
                    </a:lnTo>
                    <a:lnTo>
                      <a:pt x="4" y="126"/>
                    </a:lnTo>
                    <a:lnTo>
                      <a:pt x="2" y="74"/>
                    </a:lnTo>
                    <a:lnTo>
                      <a:pt x="2" y="74"/>
                    </a:lnTo>
                    <a:lnTo>
                      <a:pt x="0" y="46"/>
                    </a:lnTo>
                    <a:lnTo>
                      <a:pt x="0" y="46"/>
                    </a:lnTo>
                    <a:lnTo>
                      <a:pt x="2" y="22"/>
                    </a:lnTo>
                    <a:lnTo>
                      <a:pt x="2" y="22"/>
                    </a:lnTo>
                    <a:lnTo>
                      <a:pt x="4" y="6"/>
                    </a:lnTo>
                    <a:lnTo>
                      <a:pt x="6" y="0"/>
                    </a:lnTo>
                    <a:lnTo>
                      <a:pt x="8" y="0"/>
                    </a:lnTo>
                    <a:lnTo>
                      <a:pt x="8" y="0"/>
                    </a:lnTo>
                    <a:lnTo>
                      <a:pt x="10" y="6"/>
                    </a:lnTo>
                    <a:lnTo>
                      <a:pt x="12" y="22"/>
                    </a:lnTo>
                    <a:lnTo>
                      <a:pt x="12" y="22"/>
                    </a:lnTo>
                    <a:lnTo>
                      <a:pt x="14" y="46"/>
                    </a:lnTo>
                    <a:lnTo>
                      <a:pt x="14" y="46"/>
                    </a:lnTo>
                    <a:lnTo>
                      <a:pt x="12" y="74"/>
                    </a:lnTo>
                    <a:lnTo>
                      <a:pt x="12" y="74"/>
                    </a:lnTo>
                    <a:lnTo>
                      <a:pt x="10" y="126"/>
                    </a:lnTo>
                    <a:lnTo>
                      <a:pt x="10" y="126"/>
                    </a:lnTo>
                    <a:lnTo>
                      <a:pt x="8" y="150"/>
                    </a:lnTo>
                    <a:lnTo>
                      <a:pt x="6" y="15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2" name="Freeform 299"/>
              <p:cNvSpPr/>
              <p:nvPr/>
            </p:nvSpPr>
            <p:spPr bwMode="auto">
              <a:xfrm>
                <a:off x="10557248" y="2264766"/>
                <a:ext cx="117769" cy="108156"/>
              </a:xfrm>
              <a:custGeom>
                <a:avLst/>
                <a:gdLst>
                  <a:gd name="T0" fmla="*/ 0 w 98"/>
                  <a:gd name="T1" fmla="*/ 90 h 90"/>
                  <a:gd name="T2" fmla="*/ 0 w 98"/>
                  <a:gd name="T3" fmla="*/ 90 h 90"/>
                  <a:gd name="T4" fmla="*/ 14 w 98"/>
                  <a:gd name="T5" fmla="*/ 74 h 90"/>
                  <a:gd name="T6" fmla="*/ 14 w 98"/>
                  <a:gd name="T7" fmla="*/ 74 h 90"/>
                  <a:gd name="T8" fmla="*/ 46 w 98"/>
                  <a:gd name="T9" fmla="*/ 40 h 90"/>
                  <a:gd name="T10" fmla="*/ 46 w 98"/>
                  <a:gd name="T11" fmla="*/ 40 h 90"/>
                  <a:gd name="T12" fmla="*/ 62 w 98"/>
                  <a:gd name="T13" fmla="*/ 24 h 90"/>
                  <a:gd name="T14" fmla="*/ 62 w 98"/>
                  <a:gd name="T15" fmla="*/ 24 h 90"/>
                  <a:gd name="T16" fmla="*/ 78 w 98"/>
                  <a:gd name="T17" fmla="*/ 10 h 90"/>
                  <a:gd name="T18" fmla="*/ 78 w 98"/>
                  <a:gd name="T19" fmla="*/ 10 h 90"/>
                  <a:gd name="T20" fmla="*/ 92 w 98"/>
                  <a:gd name="T21" fmla="*/ 2 h 90"/>
                  <a:gd name="T22" fmla="*/ 98 w 98"/>
                  <a:gd name="T23" fmla="*/ 0 h 90"/>
                  <a:gd name="T24" fmla="*/ 98 w 98"/>
                  <a:gd name="T25" fmla="*/ 2 h 90"/>
                  <a:gd name="T26" fmla="*/ 98 w 98"/>
                  <a:gd name="T27" fmla="*/ 2 h 90"/>
                  <a:gd name="T28" fmla="*/ 96 w 98"/>
                  <a:gd name="T29" fmla="*/ 6 h 90"/>
                  <a:gd name="T30" fmla="*/ 86 w 98"/>
                  <a:gd name="T31" fmla="*/ 18 h 90"/>
                  <a:gd name="T32" fmla="*/ 86 w 98"/>
                  <a:gd name="T33" fmla="*/ 18 h 90"/>
                  <a:gd name="T34" fmla="*/ 72 w 98"/>
                  <a:gd name="T35" fmla="*/ 34 h 90"/>
                  <a:gd name="T36" fmla="*/ 72 w 98"/>
                  <a:gd name="T37" fmla="*/ 34 h 90"/>
                  <a:gd name="T38" fmla="*/ 52 w 98"/>
                  <a:gd name="T39" fmla="*/ 50 h 90"/>
                  <a:gd name="T40" fmla="*/ 52 w 98"/>
                  <a:gd name="T41" fmla="*/ 50 h 90"/>
                  <a:gd name="T42" fmla="*/ 18 w 98"/>
                  <a:gd name="T43" fmla="*/ 78 h 90"/>
                  <a:gd name="T44" fmla="*/ 18 w 98"/>
                  <a:gd name="T45" fmla="*/ 78 h 90"/>
                  <a:gd name="T46" fmla="*/ 2 w 98"/>
                  <a:gd name="T47" fmla="*/ 90 h 90"/>
                  <a:gd name="T48" fmla="*/ 0 w 98"/>
                  <a:gd name="T4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0">
                    <a:moveTo>
                      <a:pt x="0" y="90"/>
                    </a:moveTo>
                    <a:lnTo>
                      <a:pt x="0" y="90"/>
                    </a:lnTo>
                    <a:lnTo>
                      <a:pt x="14" y="74"/>
                    </a:lnTo>
                    <a:lnTo>
                      <a:pt x="14" y="74"/>
                    </a:lnTo>
                    <a:lnTo>
                      <a:pt x="46" y="40"/>
                    </a:lnTo>
                    <a:lnTo>
                      <a:pt x="46" y="40"/>
                    </a:lnTo>
                    <a:lnTo>
                      <a:pt x="62" y="24"/>
                    </a:lnTo>
                    <a:lnTo>
                      <a:pt x="62" y="24"/>
                    </a:lnTo>
                    <a:lnTo>
                      <a:pt x="78" y="10"/>
                    </a:lnTo>
                    <a:lnTo>
                      <a:pt x="78" y="10"/>
                    </a:lnTo>
                    <a:lnTo>
                      <a:pt x="92" y="2"/>
                    </a:lnTo>
                    <a:lnTo>
                      <a:pt x="98" y="0"/>
                    </a:lnTo>
                    <a:lnTo>
                      <a:pt x="98" y="2"/>
                    </a:lnTo>
                    <a:lnTo>
                      <a:pt x="98" y="2"/>
                    </a:lnTo>
                    <a:lnTo>
                      <a:pt x="96" y="6"/>
                    </a:lnTo>
                    <a:lnTo>
                      <a:pt x="86" y="18"/>
                    </a:lnTo>
                    <a:lnTo>
                      <a:pt x="86" y="18"/>
                    </a:lnTo>
                    <a:lnTo>
                      <a:pt x="72" y="34"/>
                    </a:lnTo>
                    <a:lnTo>
                      <a:pt x="72" y="34"/>
                    </a:lnTo>
                    <a:lnTo>
                      <a:pt x="52" y="50"/>
                    </a:lnTo>
                    <a:lnTo>
                      <a:pt x="52" y="50"/>
                    </a:lnTo>
                    <a:lnTo>
                      <a:pt x="18" y="78"/>
                    </a:lnTo>
                    <a:lnTo>
                      <a:pt x="18" y="78"/>
                    </a:lnTo>
                    <a:lnTo>
                      <a:pt x="2" y="90"/>
                    </a:lnTo>
                    <a:lnTo>
                      <a:pt x="0" y="9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3" name="Freeform 300"/>
              <p:cNvSpPr/>
              <p:nvPr/>
            </p:nvSpPr>
            <p:spPr bwMode="auto">
              <a:xfrm>
                <a:off x="9928744" y="2264766"/>
                <a:ext cx="117769" cy="108156"/>
              </a:xfrm>
              <a:custGeom>
                <a:avLst/>
                <a:gdLst>
                  <a:gd name="T0" fmla="*/ 96 w 98"/>
                  <a:gd name="T1" fmla="*/ 90 h 90"/>
                  <a:gd name="T2" fmla="*/ 96 w 98"/>
                  <a:gd name="T3" fmla="*/ 90 h 90"/>
                  <a:gd name="T4" fmla="*/ 80 w 98"/>
                  <a:gd name="T5" fmla="*/ 78 h 90"/>
                  <a:gd name="T6" fmla="*/ 80 w 98"/>
                  <a:gd name="T7" fmla="*/ 78 h 90"/>
                  <a:gd name="T8" fmla="*/ 44 w 98"/>
                  <a:gd name="T9" fmla="*/ 50 h 90"/>
                  <a:gd name="T10" fmla="*/ 44 w 98"/>
                  <a:gd name="T11" fmla="*/ 50 h 90"/>
                  <a:gd name="T12" fmla="*/ 26 w 98"/>
                  <a:gd name="T13" fmla="*/ 34 h 90"/>
                  <a:gd name="T14" fmla="*/ 26 w 98"/>
                  <a:gd name="T15" fmla="*/ 34 h 90"/>
                  <a:gd name="T16" fmla="*/ 10 w 98"/>
                  <a:gd name="T17" fmla="*/ 18 h 90"/>
                  <a:gd name="T18" fmla="*/ 10 w 98"/>
                  <a:gd name="T19" fmla="*/ 18 h 90"/>
                  <a:gd name="T20" fmla="*/ 2 w 98"/>
                  <a:gd name="T21" fmla="*/ 6 h 90"/>
                  <a:gd name="T22" fmla="*/ 0 w 98"/>
                  <a:gd name="T23" fmla="*/ 2 h 90"/>
                  <a:gd name="T24" fmla="*/ 0 w 98"/>
                  <a:gd name="T25" fmla="*/ 0 h 90"/>
                  <a:gd name="T26" fmla="*/ 0 w 98"/>
                  <a:gd name="T27" fmla="*/ 0 h 90"/>
                  <a:gd name="T28" fmla="*/ 6 w 98"/>
                  <a:gd name="T29" fmla="*/ 2 h 90"/>
                  <a:gd name="T30" fmla="*/ 18 w 98"/>
                  <a:gd name="T31" fmla="*/ 10 h 90"/>
                  <a:gd name="T32" fmla="*/ 18 w 98"/>
                  <a:gd name="T33" fmla="*/ 10 h 90"/>
                  <a:gd name="T34" fmla="*/ 36 w 98"/>
                  <a:gd name="T35" fmla="*/ 24 h 90"/>
                  <a:gd name="T36" fmla="*/ 36 w 98"/>
                  <a:gd name="T37" fmla="*/ 24 h 90"/>
                  <a:gd name="T38" fmla="*/ 52 w 98"/>
                  <a:gd name="T39" fmla="*/ 40 h 90"/>
                  <a:gd name="T40" fmla="*/ 52 w 98"/>
                  <a:gd name="T41" fmla="*/ 40 h 90"/>
                  <a:gd name="T42" fmla="*/ 84 w 98"/>
                  <a:gd name="T43" fmla="*/ 74 h 90"/>
                  <a:gd name="T44" fmla="*/ 84 w 98"/>
                  <a:gd name="T45" fmla="*/ 74 h 90"/>
                  <a:gd name="T46" fmla="*/ 98 w 98"/>
                  <a:gd name="T47" fmla="*/ 90 h 90"/>
                  <a:gd name="T48" fmla="*/ 96 w 98"/>
                  <a:gd name="T4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8" h="90">
                    <a:moveTo>
                      <a:pt x="96" y="90"/>
                    </a:moveTo>
                    <a:lnTo>
                      <a:pt x="96" y="90"/>
                    </a:lnTo>
                    <a:lnTo>
                      <a:pt x="80" y="78"/>
                    </a:lnTo>
                    <a:lnTo>
                      <a:pt x="80" y="78"/>
                    </a:lnTo>
                    <a:lnTo>
                      <a:pt x="44" y="50"/>
                    </a:lnTo>
                    <a:lnTo>
                      <a:pt x="44" y="50"/>
                    </a:lnTo>
                    <a:lnTo>
                      <a:pt x="26" y="34"/>
                    </a:lnTo>
                    <a:lnTo>
                      <a:pt x="26" y="34"/>
                    </a:lnTo>
                    <a:lnTo>
                      <a:pt x="10" y="18"/>
                    </a:lnTo>
                    <a:lnTo>
                      <a:pt x="10" y="18"/>
                    </a:lnTo>
                    <a:lnTo>
                      <a:pt x="2" y="6"/>
                    </a:lnTo>
                    <a:lnTo>
                      <a:pt x="0" y="2"/>
                    </a:lnTo>
                    <a:lnTo>
                      <a:pt x="0" y="0"/>
                    </a:lnTo>
                    <a:lnTo>
                      <a:pt x="0" y="0"/>
                    </a:lnTo>
                    <a:lnTo>
                      <a:pt x="6" y="2"/>
                    </a:lnTo>
                    <a:lnTo>
                      <a:pt x="18" y="10"/>
                    </a:lnTo>
                    <a:lnTo>
                      <a:pt x="18" y="10"/>
                    </a:lnTo>
                    <a:lnTo>
                      <a:pt x="36" y="24"/>
                    </a:lnTo>
                    <a:lnTo>
                      <a:pt x="36" y="24"/>
                    </a:lnTo>
                    <a:lnTo>
                      <a:pt x="52" y="40"/>
                    </a:lnTo>
                    <a:lnTo>
                      <a:pt x="52" y="40"/>
                    </a:lnTo>
                    <a:lnTo>
                      <a:pt x="84" y="74"/>
                    </a:lnTo>
                    <a:lnTo>
                      <a:pt x="84" y="74"/>
                    </a:lnTo>
                    <a:lnTo>
                      <a:pt x="98" y="90"/>
                    </a:lnTo>
                    <a:lnTo>
                      <a:pt x="96" y="9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4" name="Freeform 301"/>
              <p:cNvSpPr/>
              <p:nvPr/>
            </p:nvSpPr>
            <p:spPr bwMode="auto">
              <a:xfrm>
                <a:off x="10096986" y="2168628"/>
                <a:ext cx="40859" cy="103349"/>
              </a:xfrm>
              <a:custGeom>
                <a:avLst/>
                <a:gdLst>
                  <a:gd name="T0" fmla="*/ 34 w 34"/>
                  <a:gd name="T1" fmla="*/ 86 h 86"/>
                  <a:gd name="T2" fmla="*/ 34 w 34"/>
                  <a:gd name="T3" fmla="*/ 86 h 86"/>
                  <a:gd name="T4" fmla="*/ 12 w 34"/>
                  <a:gd name="T5" fmla="*/ 44 h 86"/>
                  <a:gd name="T6" fmla="*/ 12 w 34"/>
                  <a:gd name="T7" fmla="*/ 44 h 86"/>
                  <a:gd name="T8" fmla="*/ 4 w 34"/>
                  <a:gd name="T9" fmla="*/ 30 h 86"/>
                  <a:gd name="T10" fmla="*/ 4 w 34"/>
                  <a:gd name="T11" fmla="*/ 30 h 86"/>
                  <a:gd name="T12" fmla="*/ 0 w 34"/>
                  <a:gd name="T13" fmla="*/ 16 h 86"/>
                  <a:gd name="T14" fmla="*/ 0 w 34"/>
                  <a:gd name="T15" fmla="*/ 16 h 86"/>
                  <a:gd name="T16" fmla="*/ 0 w 34"/>
                  <a:gd name="T17" fmla="*/ 4 h 86"/>
                  <a:gd name="T18" fmla="*/ 0 w 34"/>
                  <a:gd name="T19" fmla="*/ 0 h 86"/>
                  <a:gd name="T20" fmla="*/ 0 w 34"/>
                  <a:gd name="T21" fmla="*/ 0 h 86"/>
                  <a:gd name="T22" fmla="*/ 0 w 34"/>
                  <a:gd name="T23" fmla="*/ 0 h 86"/>
                  <a:gd name="T24" fmla="*/ 4 w 34"/>
                  <a:gd name="T25" fmla="*/ 2 h 86"/>
                  <a:gd name="T26" fmla="*/ 10 w 34"/>
                  <a:gd name="T27" fmla="*/ 12 h 86"/>
                  <a:gd name="T28" fmla="*/ 10 w 34"/>
                  <a:gd name="T29" fmla="*/ 12 h 86"/>
                  <a:gd name="T30" fmla="*/ 18 w 34"/>
                  <a:gd name="T31" fmla="*/ 24 h 86"/>
                  <a:gd name="T32" fmla="*/ 18 w 34"/>
                  <a:gd name="T33" fmla="*/ 24 h 86"/>
                  <a:gd name="T34" fmla="*/ 22 w 34"/>
                  <a:gd name="T35" fmla="*/ 40 h 86"/>
                  <a:gd name="T36" fmla="*/ 22 w 34"/>
                  <a:gd name="T37" fmla="*/ 40 h 86"/>
                  <a:gd name="T38" fmla="*/ 34 w 34"/>
                  <a:gd name="T39" fmla="*/ 86 h 86"/>
                  <a:gd name="T40" fmla="*/ 34 w 34"/>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86">
                    <a:moveTo>
                      <a:pt x="34" y="86"/>
                    </a:moveTo>
                    <a:lnTo>
                      <a:pt x="34" y="86"/>
                    </a:lnTo>
                    <a:lnTo>
                      <a:pt x="12" y="44"/>
                    </a:lnTo>
                    <a:lnTo>
                      <a:pt x="12" y="44"/>
                    </a:lnTo>
                    <a:lnTo>
                      <a:pt x="4" y="30"/>
                    </a:lnTo>
                    <a:lnTo>
                      <a:pt x="4" y="30"/>
                    </a:lnTo>
                    <a:lnTo>
                      <a:pt x="0" y="16"/>
                    </a:lnTo>
                    <a:lnTo>
                      <a:pt x="0" y="16"/>
                    </a:lnTo>
                    <a:lnTo>
                      <a:pt x="0" y="4"/>
                    </a:lnTo>
                    <a:lnTo>
                      <a:pt x="0" y="0"/>
                    </a:lnTo>
                    <a:lnTo>
                      <a:pt x="0" y="0"/>
                    </a:lnTo>
                    <a:lnTo>
                      <a:pt x="0" y="0"/>
                    </a:lnTo>
                    <a:lnTo>
                      <a:pt x="4" y="2"/>
                    </a:lnTo>
                    <a:lnTo>
                      <a:pt x="10" y="12"/>
                    </a:lnTo>
                    <a:lnTo>
                      <a:pt x="10" y="12"/>
                    </a:lnTo>
                    <a:lnTo>
                      <a:pt x="18" y="24"/>
                    </a:lnTo>
                    <a:lnTo>
                      <a:pt x="18" y="24"/>
                    </a:lnTo>
                    <a:lnTo>
                      <a:pt x="22" y="40"/>
                    </a:lnTo>
                    <a:lnTo>
                      <a:pt x="22" y="40"/>
                    </a:lnTo>
                    <a:lnTo>
                      <a:pt x="34" y="86"/>
                    </a:lnTo>
                    <a:lnTo>
                      <a:pt x="34" y="86"/>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5" name="Freeform 302"/>
              <p:cNvSpPr/>
              <p:nvPr/>
            </p:nvSpPr>
            <p:spPr bwMode="auto">
              <a:xfrm>
                <a:off x="10453900" y="2168628"/>
                <a:ext cx="43262" cy="103349"/>
              </a:xfrm>
              <a:custGeom>
                <a:avLst/>
                <a:gdLst>
                  <a:gd name="T0" fmla="*/ 0 w 36"/>
                  <a:gd name="T1" fmla="*/ 86 h 86"/>
                  <a:gd name="T2" fmla="*/ 0 w 36"/>
                  <a:gd name="T3" fmla="*/ 86 h 86"/>
                  <a:gd name="T4" fmla="*/ 12 w 36"/>
                  <a:gd name="T5" fmla="*/ 40 h 86"/>
                  <a:gd name="T6" fmla="*/ 12 w 36"/>
                  <a:gd name="T7" fmla="*/ 40 h 86"/>
                  <a:gd name="T8" fmla="*/ 16 w 36"/>
                  <a:gd name="T9" fmla="*/ 24 h 86"/>
                  <a:gd name="T10" fmla="*/ 16 w 36"/>
                  <a:gd name="T11" fmla="*/ 24 h 86"/>
                  <a:gd name="T12" fmla="*/ 24 w 36"/>
                  <a:gd name="T13" fmla="*/ 12 h 86"/>
                  <a:gd name="T14" fmla="*/ 24 w 36"/>
                  <a:gd name="T15" fmla="*/ 12 h 86"/>
                  <a:gd name="T16" fmla="*/ 30 w 36"/>
                  <a:gd name="T17" fmla="*/ 2 h 86"/>
                  <a:gd name="T18" fmla="*/ 34 w 36"/>
                  <a:gd name="T19" fmla="*/ 0 h 86"/>
                  <a:gd name="T20" fmla="*/ 36 w 36"/>
                  <a:gd name="T21" fmla="*/ 0 h 86"/>
                  <a:gd name="T22" fmla="*/ 36 w 36"/>
                  <a:gd name="T23" fmla="*/ 0 h 86"/>
                  <a:gd name="T24" fmla="*/ 36 w 36"/>
                  <a:gd name="T25" fmla="*/ 4 h 86"/>
                  <a:gd name="T26" fmla="*/ 34 w 36"/>
                  <a:gd name="T27" fmla="*/ 16 h 86"/>
                  <a:gd name="T28" fmla="*/ 34 w 36"/>
                  <a:gd name="T29" fmla="*/ 16 h 86"/>
                  <a:gd name="T30" fmla="*/ 30 w 36"/>
                  <a:gd name="T31" fmla="*/ 30 h 86"/>
                  <a:gd name="T32" fmla="*/ 30 w 36"/>
                  <a:gd name="T33" fmla="*/ 30 h 86"/>
                  <a:gd name="T34" fmla="*/ 22 w 36"/>
                  <a:gd name="T35" fmla="*/ 44 h 86"/>
                  <a:gd name="T36" fmla="*/ 22 w 36"/>
                  <a:gd name="T37" fmla="*/ 44 h 86"/>
                  <a:gd name="T38" fmla="*/ 2 w 36"/>
                  <a:gd name="T39" fmla="*/ 86 h 86"/>
                  <a:gd name="T40" fmla="*/ 0 w 36"/>
                  <a:gd name="T4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86">
                    <a:moveTo>
                      <a:pt x="0" y="86"/>
                    </a:moveTo>
                    <a:lnTo>
                      <a:pt x="0" y="86"/>
                    </a:lnTo>
                    <a:lnTo>
                      <a:pt x="12" y="40"/>
                    </a:lnTo>
                    <a:lnTo>
                      <a:pt x="12" y="40"/>
                    </a:lnTo>
                    <a:lnTo>
                      <a:pt x="16" y="24"/>
                    </a:lnTo>
                    <a:lnTo>
                      <a:pt x="16" y="24"/>
                    </a:lnTo>
                    <a:lnTo>
                      <a:pt x="24" y="12"/>
                    </a:lnTo>
                    <a:lnTo>
                      <a:pt x="24" y="12"/>
                    </a:lnTo>
                    <a:lnTo>
                      <a:pt x="30" y="2"/>
                    </a:lnTo>
                    <a:lnTo>
                      <a:pt x="34" y="0"/>
                    </a:lnTo>
                    <a:lnTo>
                      <a:pt x="36" y="0"/>
                    </a:lnTo>
                    <a:lnTo>
                      <a:pt x="36" y="0"/>
                    </a:lnTo>
                    <a:lnTo>
                      <a:pt x="36" y="4"/>
                    </a:lnTo>
                    <a:lnTo>
                      <a:pt x="34" y="16"/>
                    </a:lnTo>
                    <a:lnTo>
                      <a:pt x="34" y="16"/>
                    </a:lnTo>
                    <a:lnTo>
                      <a:pt x="30" y="30"/>
                    </a:lnTo>
                    <a:lnTo>
                      <a:pt x="30" y="30"/>
                    </a:lnTo>
                    <a:lnTo>
                      <a:pt x="22" y="44"/>
                    </a:lnTo>
                    <a:lnTo>
                      <a:pt x="22" y="44"/>
                    </a:lnTo>
                    <a:lnTo>
                      <a:pt x="2" y="86"/>
                    </a:lnTo>
                    <a:lnTo>
                      <a:pt x="0" y="86"/>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6" name="Freeform 305"/>
              <p:cNvSpPr/>
              <p:nvPr/>
            </p:nvSpPr>
            <p:spPr bwMode="auto">
              <a:xfrm>
                <a:off x="9753291" y="3211728"/>
                <a:ext cx="67297" cy="144207"/>
              </a:xfrm>
              <a:custGeom>
                <a:avLst/>
                <a:gdLst>
                  <a:gd name="T0" fmla="*/ 56 w 56"/>
                  <a:gd name="T1" fmla="*/ 0 h 120"/>
                  <a:gd name="T2" fmla="*/ 56 w 56"/>
                  <a:gd name="T3" fmla="*/ 0 h 120"/>
                  <a:gd name="T4" fmla="*/ 48 w 56"/>
                  <a:gd name="T5" fmla="*/ 20 h 120"/>
                  <a:gd name="T6" fmla="*/ 48 w 56"/>
                  <a:gd name="T7" fmla="*/ 20 h 120"/>
                  <a:gd name="T8" fmla="*/ 32 w 56"/>
                  <a:gd name="T9" fmla="*/ 62 h 120"/>
                  <a:gd name="T10" fmla="*/ 32 w 56"/>
                  <a:gd name="T11" fmla="*/ 62 h 120"/>
                  <a:gd name="T12" fmla="*/ 24 w 56"/>
                  <a:gd name="T13" fmla="*/ 84 h 120"/>
                  <a:gd name="T14" fmla="*/ 24 w 56"/>
                  <a:gd name="T15" fmla="*/ 84 h 120"/>
                  <a:gd name="T16" fmla="*/ 14 w 56"/>
                  <a:gd name="T17" fmla="*/ 104 h 120"/>
                  <a:gd name="T18" fmla="*/ 14 w 56"/>
                  <a:gd name="T19" fmla="*/ 104 h 120"/>
                  <a:gd name="T20" fmla="*/ 6 w 56"/>
                  <a:gd name="T21" fmla="*/ 116 h 120"/>
                  <a:gd name="T22" fmla="*/ 2 w 56"/>
                  <a:gd name="T23" fmla="*/ 120 h 120"/>
                  <a:gd name="T24" fmla="*/ 0 w 56"/>
                  <a:gd name="T25" fmla="*/ 120 h 120"/>
                  <a:gd name="T26" fmla="*/ 0 w 56"/>
                  <a:gd name="T27" fmla="*/ 120 h 120"/>
                  <a:gd name="T28" fmla="*/ 0 w 56"/>
                  <a:gd name="T29" fmla="*/ 114 h 120"/>
                  <a:gd name="T30" fmla="*/ 4 w 56"/>
                  <a:gd name="T31" fmla="*/ 98 h 120"/>
                  <a:gd name="T32" fmla="*/ 4 w 56"/>
                  <a:gd name="T33" fmla="*/ 98 h 120"/>
                  <a:gd name="T34" fmla="*/ 10 w 56"/>
                  <a:gd name="T35" fmla="*/ 78 h 120"/>
                  <a:gd name="T36" fmla="*/ 10 w 56"/>
                  <a:gd name="T37" fmla="*/ 78 h 120"/>
                  <a:gd name="T38" fmla="*/ 22 w 56"/>
                  <a:gd name="T39" fmla="*/ 58 h 120"/>
                  <a:gd name="T40" fmla="*/ 22 w 56"/>
                  <a:gd name="T41" fmla="*/ 58 h 120"/>
                  <a:gd name="T42" fmla="*/ 44 w 56"/>
                  <a:gd name="T43" fmla="*/ 18 h 120"/>
                  <a:gd name="T44" fmla="*/ 44 w 56"/>
                  <a:gd name="T45" fmla="*/ 18 h 120"/>
                  <a:gd name="T46" fmla="*/ 54 w 56"/>
                  <a:gd name="T47" fmla="*/ 0 h 120"/>
                  <a:gd name="T48" fmla="*/ 56 w 56"/>
                  <a:gd name="T4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0">
                    <a:moveTo>
                      <a:pt x="56" y="0"/>
                    </a:moveTo>
                    <a:lnTo>
                      <a:pt x="56" y="0"/>
                    </a:lnTo>
                    <a:lnTo>
                      <a:pt x="48" y="20"/>
                    </a:lnTo>
                    <a:lnTo>
                      <a:pt x="48" y="20"/>
                    </a:lnTo>
                    <a:lnTo>
                      <a:pt x="32" y="62"/>
                    </a:lnTo>
                    <a:lnTo>
                      <a:pt x="32" y="62"/>
                    </a:lnTo>
                    <a:lnTo>
                      <a:pt x="24" y="84"/>
                    </a:lnTo>
                    <a:lnTo>
                      <a:pt x="24" y="84"/>
                    </a:lnTo>
                    <a:lnTo>
                      <a:pt x="14" y="104"/>
                    </a:lnTo>
                    <a:lnTo>
                      <a:pt x="14" y="104"/>
                    </a:lnTo>
                    <a:lnTo>
                      <a:pt x="6" y="116"/>
                    </a:lnTo>
                    <a:lnTo>
                      <a:pt x="2" y="120"/>
                    </a:lnTo>
                    <a:lnTo>
                      <a:pt x="0" y="120"/>
                    </a:lnTo>
                    <a:lnTo>
                      <a:pt x="0" y="120"/>
                    </a:lnTo>
                    <a:lnTo>
                      <a:pt x="0" y="114"/>
                    </a:lnTo>
                    <a:lnTo>
                      <a:pt x="4" y="98"/>
                    </a:lnTo>
                    <a:lnTo>
                      <a:pt x="4" y="98"/>
                    </a:lnTo>
                    <a:lnTo>
                      <a:pt x="10" y="78"/>
                    </a:lnTo>
                    <a:lnTo>
                      <a:pt x="10" y="78"/>
                    </a:lnTo>
                    <a:lnTo>
                      <a:pt x="22" y="58"/>
                    </a:lnTo>
                    <a:lnTo>
                      <a:pt x="22" y="58"/>
                    </a:lnTo>
                    <a:lnTo>
                      <a:pt x="44" y="18"/>
                    </a:lnTo>
                    <a:lnTo>
                      <a:pt x="44" y="18"/>
                    </a:lnTo>
                    <a:lnTo>
                      <a:pt x="54" y="0"/>
                    </a:lnTo>
                    <a:lnTo>
                      <a:pt x="56"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7" name="Freeform 308"/>
              <p:cNvSpPr/>
              <p:nvPr/>
            </p:nvSpPr>
            <p:spPr bwMode="auto">
              <a:xfrm>
                <a:off x="10968239" y="3007434"/>
                <a:ext cx="149014" cy="33648"/>
              </a:xfrm>
              <a:custGeom>
                <a:avLst/>
                <a:gdLst>
                  <a:gd name="T0" fmla="*/ 0 w 124"/>
                  <a:gd name="T1" fmla="*/ 0 h 28"/>
                  <a:gd name="T2" fmla="*/ 0 w 124"/>
                  <a:gd name="T3" fmla="*/ 0 h 28"/>
                  <a:gd name="T4" fmla="*/ 20 w 124"/>
                  <a:gd name="T5" fmla="*/ 2 h 28"/>
                  <a:gd name="T6" fmla="*/ 20 w 124"/>
                  <a:gd name="T7" fmla="*/ 2 h 28"/>
                  <a:gd name="T8" fmla="*/ 64 w 124"/>
                  <a:gd name="T9" fmla="*/ 10 h 28"/>
                  <a:gd name="T10" fmla="*/ 64 w 124"/>
                  <a:gd name="T11" fmla="*/ 10 h 28"/>
                  <a:gd name="T12" fmla="*/ 86 w 124"/>
                  <a:gd name="T13" fmla="*/ 12 h 28"/>
                  <a:gd name="T14" fmla="*/ 86 w 124"/>
                  <a:gd name="T15" fmla="*/ 12 h 28"/>
                  <a:gd name="T16" fmla="*/ 106 w 124"/>
                  <a:gd name="T17" fmla="*/ 18 h 28"/>
                  <a:gd name="T18" fmla="*/ 106 w 124"/>
                  <a:gd name="T19" fmla="*/ 18 h 28"/>
                  <a:gd name="T20" fmla="*/ 118 w 124"/>
                  <a:gd name="T21" fmla="*/ 24 h 28"/>
                  <a:gd name="T22" fmla="*/ 124 w 124"/>
                  <a:gd name="T23" fmla="*/ 26 h 28"/>
                  <a:gd name="T24" fmla="*/ 124 w 124"/>
                  <a:gd name="T25" fmla="*/ 28 h 28"/>
                  <a:gd name="T26" fmla="*/ 124 w 124"/>
                  <a:gd name="T27" fmla="*/ 28 h 28"/>
                  <a:gd name="T28" fmla="*/ 118 w 124"/>
                  <a:gd name="T29" fmla="*/ 28 h 28"/>
                  <a:gd name="T30" fmla="*/ 104 w 124"/>
                  <a:gd name="T31" fmla="*/ 28 h 28"/>
                  <a:gd name="T32" fmla="*/ 104 w 124"/>
                  <a:gd name="T33" fmla="*/ 28 h 28"/>
                  <a:gd name="T34" fmla="*/ 84 w 124"/>
                  <a:gd name="T35" fmla="*/ 24 h 28"/>
                  <a:gd name="T36" fmla="*/ 84 w 124"/>
                  <a:gd name="T37" fmla="*/ 24 h 28"/>
                  <a:gd name="T38" fmla="*/ 62 w 124"/>
                  <a:gd name="T39" fmla="*/ 18 h 28"/>
                  <a:gd name="T40" fmla="*/ 62 w 124"/>
                  <a:gd name="T41" fmla="*/ 18 h 28"/>
                  <a:gd name="T42" fmla="*/ 20 w 124"/>
                  <a:gd name="T43" fmla="*/ 6 h 28"/>
                  <a:gd name="T44" fmla="*/ 20 w 124"/>
                  <a:gd name="T45" fmla="*/ 6 h 28"/>
                  <a:gd name="T46" fmla="*/ 0 w 124"/>
                  <a:gd name="T47" fmla="*/ 2 h 28"/>
                  <a:gd name="T48" fmla="*/ 0 w 124"/>
                  <a:gd name="T4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28">
                    <a:moveTo>
                      <a:pt x="0" y="0"/>
                    </a:moveTo>
                    <a:lnTo>
                      <a:pt x="0" y="0"/>
                    </a:lnTo>
                    <a:lnTo>
                      <a:pt x="20" y="2"/>
                    </a:lnTo>
                    <a:lnTo>
                      <a:pt x="20" y="2"/>
                    </a:lnTo>
                    <a:lnTo>
                      <a:pt x="64" y="10"/>
                    </a:lnTo>
                    <a:lnTo>
                      <a:pt x="64" y="10"/>
                    </a:lnTo>
                    <a:lnTo>
                      <a:pt x="86" y="12"/>
                    </a:lnTo>
                    <a:lnTo>
                      <a:pt x="86" y="12"/>
                    </a:lnTo>
                    <a:lnTo>
                      <a:pt x="106" y="18"/>
                    </a:lnTo>
                    <a:lnTo>
                      <a:pt x="106" y="18"/>
                    </a:lnTo>
                    <a:lnTo>
                      <a:pt x="118" y="24"/>
                    </a:lnTo>
                    <a:lnTo>
                      <a:pt x="124" y="26"/>
                    </a:lnTo>
                    <a:lnTo>
                      <a:pt x="124" y="28"/>
                    </a:lnTo>
                    <a:lnTo>
                      <a:pt x="124" y="28"/>
                    </a:lnTo>
                    <a:lnTo>
                      <a:pt x="118" y="28"/>
                    </a:lnTo>
                    <a:lnTo>
                      <a:pt x="104" y="28"/>
                    </a:lnTo>
                    <a:lnTo>
                      <a:pt x="104" y="28"/>
                    </a:lnTo>
                    <a:lnTo>
                      <a:pt x="84" y="24"/>
                    </a:lnTo>
                    <a:lnTo>
                      <a:pt x="84" y="24"/>
                    </a:lnTo>
                    <a:lnTo>
                      <a:pt x="62" y="18"/>
                    </a:lnTo>
                    <a:lnTo>
                      <a:pt x="62" y="18"/>
                    </a:lnTo>
                    <a:lnTo>
                      <a:pt x="20" y="6"/>
                    </a:lnTo>
                    <a:lnTo>
                      <a:pt x="20" y="6"/>
                    </a:lnTo>
                    <a:lnTo>
                      <a:pt x="0" y="2"/>
                    </a:lnTo>
                    <a:lnTo>
                      <a:pt x="0"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8" name="Freeform 309"/>
              <p:cNvSpPr/>
              <p:nvPr/>
            </p:nvSpPr>
            <p:spPr bwMode="auto">
              <a:xfrm>
                <a:off x="10828839" y="3209325"/>
                <a:ext cx="67297" cy="115366"/>
              </a:xfrm>
              <a:custGeom>
                <a:avLst/>
                <a:gdLst>
                  <a:gd name="T0" fmla="*/ 0 w 56"/>
                  <a:gd name="T1" fmla="*/ 0 h 96"/>
                  <a:gd name="T2" fmla="*/ 0 w 56"/>
                  <a:gd name="T3" fmla="*/ 0 h 96"/>
                  <a:gd name="T4" fmla="*/ 10 w 56"/>
                  <a:gd name="T5" fmla="*/ 14 h 96"/>
                  <a:gd name="T6" fmla="*/ 10 w 56"/>
                  <a:gd name="T7" fmla="*/ 14 h 96"/>
                  <a:gd name="T8" fmla="*/ 32 w 56"/>
                  <a:gd name="T9" fmla="*/ 46 h 96"/>
                  <a:gd name="T10" fmla="*/ 32 w 56"/>
                  <a:gd name="T11" fmla="*/ 46 h 96"/>
                  <a:gd name="T12" fmla="*/ 44 w 56"/>
                  <a:gd name="T13" fmla="*/ 62 h 96"/>
                  <a:gd name="T14" fmla="*/ 44 w 56"/>
                  <a:gd name="T15" fmla="*/ 62 h 96"/>
                  <a:gd name="T16" fmla="*/ 52 w 56"/>
                  <a:gd name="T17" fmla="*/ 78 h 96"/>
                  <a:gd name="T18" fmla="*/ 52 w 56"/>
                  <a:gd name="T19" fmla="*/ 78 h 96"/>
                  <a:gd name="T20" fmla="*/ 56 w 56"/>
                  <a:gd name="T21" fmla="*/ 90 h 96"/>
                  <a:gd name="T22" fmla="*/ 56 w 56"/>
                  <a:gd name="T23" fmla="*/ 94 h 96"/>
                  <a:gd name="T24" fmla="*/ 56 w 56"/>
                  <a:gd name="T25" fmla="*/ 96 h 96"/>
                  <a:gd name="T26" fmla="*/ 56 w 56"/>
                  <a:gd name="T27" fmla="*/ 96 h 96"/>
                  <a:gd name="T28" fmla="*/ 52 w 56"/>
                  <a:gd name="T29" fmla="*/ 92 h 96"/>
                  <a:gd name="T30" fmla="*/ 44 w 56"/>
                  <a:gd name="T31" fmla="*/ 82 h 96"/>
                  <a:gd name="T32" fmla="*/ 44 w 56"/>
                  <a:gd name="T33" fmla="*/ 82 h 96"/>
                  <a:gd name="T34" fmla="*/ 34 w 56"/>
                  <a:gd name="T35" fmla="*/ 68 h 96"/>
                  <a:gd name="T36" fmla="*/ 34 w 56"/>
                  <a:gd name="T37" fmla="*/ 68 h 96"/>
                  <a:gd name="T38" fmla="*/ 24 w 56"/>
                  <a:gd name="T39" fmla="*/ 50 h 96"/>
                  <a:gd name="T40" fmla="*/ 24 w 56"/>
                  <a:gd name="T41" fmla="*/ 50 h 96"/>
                  <a:gd name="T42" fmla="*/ 8 w 56"/>
                  <a:gd name="T43" fmla="*/ 16 h 96"/>
                  <a:gd name="T44" fmla="*/ 8 w 56"/>
                  <a:gd name="T45" fmla="*/ 16 h 96"/>
                  <a:gd name="T46" fmla="*/ 0 w 56"/>
                  <a:gd name="T47" fmla="*/ 0 h 96"/>
                  <a:gd name="T48" fmla="*/ 0 w 56"/>
                  <a:gd name="T4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96">
                    <a:moveTo>
                      <a:pt x="0" y="0"/>
                    </a:moveTo>
                    <a:lnTo>
                      <a:pt x="0" y="0"/>
                    </a:lnTo>
                    <a:lnTo>
                      <a:pt x="10" y="14"/>
                    </a:lnTo>
                    <a:lnTo>
                      <a:pt x="10" y="14"/>
                    </a:lnTo>
                    <a:lnTo>
                      <a:pt x="32" y="46"/>
                    </a:lnTo>
                    <a:lnTo>
                      <a:pt x="32" y="46"/>
                    </a:lnTo>
                    <a:lnTo>
                      <a:pt x="44" y="62"/>
                    </a:lnTo>
                    <a:lnTo>
                      <a:pt x="44" y="62"/>
                    </a:lnTo>
                    <a:lnTo>
                      <a:pt x="52" y="78"/>
                    </a:lnTo>
                    <a:lnTo>
                      <a:pt x="52" y="78"/>
                    </a:lnTo>
                    <a:lnTo>
                      <a:pt x="56" y="90"/>
                    </a:lnTo>
                    <a:lnTo>
                      <a:pt x="56" y="94"/>
                    </a:lnTo>
                    <a:lnTo>
                      <a:pt x="56" y="96"/>
                    </a:lnTo>
                    <a:lnTo>
                      <a:pt x="56" y="96"/>
                    </a:lnTo>
                    <a:lnTo>
                      <a:pt x="52" y="92"/>
                    </a:lnTo>
                    <a:lnTo>
                      <a:pt x="44" y="82"/>
                    </a:lnTo>
                    <a:lnTo>
                      <a:pt x="44" y="82"/>
                    </a:lnTo>
                    <a:lnTo>
                      <a:pt x="34" y="68"/>
                    </a:lnTo>
                    <a:lnTo>
                      <a:pt x="34" y="68"/>
                    </a:lnTo>
                    <a:lnTo>
                      <a:pt x="24" y="50"/>
                    </a:lnTo>
                    <a:lnTo>
                      <a:pt x="24" y="50"/>
                    </a:lnTo>
                    <a:lnTo>
                      <a:pt x="8" y="16"/>
                    </a:lnTo>
                    <a:lnTo>
                      <a:pt x="8" y="16"/>
                    </a:lnTo>
                    <a:lnTo>
                      <a:pt x="0" y="0"/>
                    </a:lnTo>
                    <a:lnTo>
                      <a:pt x="0" y="0"/>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39" name="Freeform 310"/>
              <p:cNvSpPr/>
              <p:nvPr/>
            </p:nvSpPr>
            <p:spPr bwMode="auto">
              <a:xfrm>
                <a:off x="10920170" y="2711809"/>
                <a:ext cx="110559" cy="76910"/>
              </a:xfrm>
              <a:custGeom>
                <a:avLst/>
                <a:gdLst>
                  <a:gd name="T0" fmla="*/ 0 w 92"/>
                  <a:gd name="T1" fmla="*/ 64 h 64"/>
                  <a:gd name="T2" fmla="*/ 0 w 92"/>
                  <a:gd name="T3" fmla="*/ 64 h 64"/>
                  <a:gd name="T4" fmla="*/ 14 w 92"/>
                  <a:gd name="T5" fmla="*/ 52 h 64"/>
                  <a:gd name="T6" fmla="*/ 14 w 92"/>
                  <a:gd name="T7" fmla="*/ 52 h 64"/>
                  <a:gd name="T8" fmla="*/ 44 w 92"/>
                  <a:gd name="T9" fmla="*/ 28 h 64"/>
                  <a:gd name="T10" fmla="*/ 44 w 92"/>
                  <a:gd name="T11" fmla="*/ 28 h 64"/>
                  <a:gd name="T12" fmla="*/ 60 w 92"/>
                  <a:gd name="T13" fmla="*/ 16 h 64"/>
                  <a:gd name="T14" fmla="*/ 60 w 92"/>
                  <a:gd name="T15" fmla="*/ 16 h 64"/>
                  <a:gd name="T16" fmla="*/ 74 w 92"/>
                  <a:gd name="T17" fmla="*/ 6 h 64"/>
                  <a:gd name="T18" fmla="*/ 74 w 92"/>
                  <a:gd name="T19" fmla="*/ 6 h 64"/>
                  <a:gd name="T20" fmla="*/ 86 w 92"/>
                  <a:gd name="T21" fmla="*/ 2 h 64"/>
                  <a:gd name="T22" fmla="*/ 92 w 92"/>
                  <a:gd name="T23" fmla="*/ 0 h 64"/>
                  <a:gd name="T24" fmla="*/ 92 w 92"/>
                  <a:gd name="T25" fmla="*/ 0 h 64"/>
                  <a:gd name="T26" fmla="*/ 92 w 92"/>
                  <a:gd name="T27" fmla="*/ 0 h 64"/>
                  <a:gd name="T28" fmla="*/ 88 w 92"/>
                  <a:gd name="T29" fmla="*/ 4 h 64"/>
                  <a:gd name="T30" fmla="*/ 80 w 92"/>
                  <a:gd name="T31" fmla="*/ 14 h 64"/>
                  <a:gd name="T32" fmla="*/ 80 w 92"/>
                  <a:gd name="T33" fmla="*/ 14 h 64"/>
                  <a:gd name="T34" fmla="*/ 66 w 92"/>
                  <a:gd name="T35" fmla="*/ 26 h 64"/>
                  <a:gd name="T36" fmla="*/ 66 w 92"/>
                  <a:gd name="T37" fmla="*/ 26 h 64"/>
                  <a:gd name="T38" fmla="*/ 48 w 92"/>
                  <a:gd name="T39" fmla="*/ 36 h 64"/>
                  <a:gd name="T40" fmla="*/ 48 w 92"/>
                  <a:gd name="T41" fmla="*/ 36 h 64"/>
                  <a:gd name="T42" fmla="*/ 16 w 92"/>
                  <a:gd name="T43" fmla="*/ 56 h 64"/>
                  <a:gd name="T44" fmla="*/ 16 w 92"/>
                  <a:gd name="T45" fmla="*/ 56 h 64"/>
                  <a:gd name="T46" fmla="*/ 2 w 92"/>
                  <a:gd name="T47" fmla="*/ 64 h 64"/>
                  <a:gd name="T48" fmla="*/ 0 w 92"/>
                  <a:gd name="T4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 h="64">
                    <a:moveTo>
                      <a:pt x="0" y="64"/>
                    </a:moveTo>
                    <a:lnTo>
                      <a:pt x="0" y="64"/>
                    </a:lnTo>
                    <a:lnTo>
                      <a:pt x="14" y="52"/>
                    </a:lnTo>
                    <a:lnTo>
                      <a:pt x="14" y="52"/>
                    </a:lnTo>
                    <a:lnTo>
                      <a:pt x="44" y="28"/>
                    </a:lnTo>
                    <a:lnTo>
                      <a:pt x="44" y="28"/>
                    </a:lnTo>
                    <a:lnTo>
                      <a:pt x="60" y="16"/>
                    </a:lnTo>
                    <a:lnTo>
                      <a:pt x="60" y="16"/>
                    </a:lnTo>
                    <a:lnTo>
                      <a:pt x="74" y="6"/>
                    </a:lnTo>
                    <a:lnTo>
                      <a:pt x="74" y="6"/>
                    </a:lnTo>
                    <a:lnTo>
                      <a:pt x="86" y="2"/>
                    </a:lnTo>
                    <a:lnTo>
                      <a:pt x="92" y="0"/>
                    </a:lnTo>
                    <a:lnTo>
                      <a:pt x="92" y="0"/>
                    </a:lnTo>
                    <a:lnTo>
                      <a:pt x="92" y="0"/>
                    </a:lnTo>
                    <a:lnTo>
                      <a:pt x="88" y="4"/>
                    </a:lnTo>
                    <a:lnTo>
                      <a:pt x="80" y="14"/>
                    </a:lnTo>
                    <a:lnTo>
                      <a:pt x="80" y="14"/>
                    </a:lnTo>
                    <a:lnTo>
                      <a:pt x="66" y="26"/>
                    </a:lnTo>
                    <a:lnTo>
                      <a:pt x="66" y="26"/>
                    </a:lnTo>
                    <a:lnTo>
                      <a:pt x="48" y="36"/>
                    </a:lnTo>
                    <a:lnTo>
                      <a:pt x="48" y="36"/>
                    </a:lnTo>
                    <a:lnTo>
                      <a:pt x="16" y="56"/>
                    </a:lnTo>
                    <a:lnTo>
                      <a:pt x="16" y="56"/>
                    </a:lnTo>
                    <a:lnTo>
                      <a:pt x="2" y="64"/>
                    </a:lnTo>
                    <a:lnTo>
                      <a:pt x="0" y="64"/>
                    </a:lnTo>
                    <a:close/>
                  </a:path>
                </a:pathLst>
              </a:custGeom>
              <a:solidFill>
                <a:srgbClr val="F47E1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0" name="Freeform 311"/>
              <p:cNvSpPr/>
              <p:nvPr/>
            </p:nvSpPr>
            <p:spPr bwMode="auto">
              <a:xfrm>
                <a:off x="10987467" y="2865630"/>
                <a:ext cx="91331" cy="19228"/>
              </a:xfrm>
              <a:custGeom>
                <a:avLst/>
                <a:gdLst>
                  <a:gd name="T0" fmla="*/ 0 w 76"/>
                  <a:gd name="T1" fmla="*/ 14 h 16"/>
                  <a:gd name="T2" fmla="*/ 0 w 76"/>
                  <a:gd name="T3" fmla="*/ 14 h 16"/>
                  <a:gd name="T4" fmla="*/ 12 w 76"/>
                  <a:gd name="T5" fmla="*/ 10 h 16"/>
                  <a:gd name="T6" fmla="*/ 12 w 76"/>
                  <a:gd name="T7" fmla="*/ 10 h 16"/>
                  <a:gd name="T8" fmla="*/ 38 w 76"/>
                  <a:gd name="T9" fmla="*/ 4 h 16"/>
                  <a:gd name="T10" fmla="*/ 38 w 76"/>
                  <a:gd name="T11" fmla="*/ 4 h 16"/>
                  <a:gd name="T12" fmla="*/ 52 w 76"/>
                  <a:gd name="T13" fmla="*/ 0 h 16"/>
                  <a:gd name="T14" fmla="*/ 52 w 76"/>
                  <a:gd name="T15" fmla="*/ 0 h 16"/>
                  <a:gd name="T16" fmla="*/ 64 w 76"/>
                  <a:gd name="T17" fmla="*/ 0 h 16"/>
                  <a:gd name="T18" fmla="*/ 64 w 76"/>
                  <a:gd name="T19" fmla="*/ 0 h 16"/>
                  <a:gd name="T20" fmla="*/ 72 w 76"/>
                  <a:gd name="T21" fmla="*/ 0 h 16"/>
                  <a:gd name="T22" fmla="*/ 76 w 76"/>
                  <a:gd name="T23" fmla="*/ 2 h 16"/>
                  <a:gd name="T24" fmla="*/ 76 w 76"/>
                  <a:gd name="T25" fmla="*/ 2 h 16"/>
                  <a:gd name="T26" fmla="*/ 76 w 76"/>
                  <a:gd name="T27" fmla="*/ 2 h 16"/>
                  <a:gd name="T28" fmla="*/ 74 w 76"/>
                  <a:gd name="T29" fmla="*/ 4 h 16"/>
                  <a:gd name="T30" fmla="*/ 66 w 76"/>
                  <a:gd name="T31" fmla="*/ 8 h 16"/>
                  <a:gd name="T32" fmla="*/ 66 w 76"/>
                  <a:gd name="T33" fmla="*/ 8 h 16"/>
                  <a:gd name="T34" fmla="*/ 54 w 76"/>
                  <a:gd name="T35" fmla="*/ 12 h 16"/>
                  <a:gd name="T36" fmla="*/ 54 w 76"/>
                  <a:gd name="T37" fmla="*/ 12 h 16"/>
                  <a:gd name="T38" fmla="*/ 40 w 76"/>
                  <a:gd name="T39" fmla="*/ 14 h 16"/>
                  <a:gd name="T40" fmla="*/ 40 w 76"/>
                  <a:gd name="T41" fmla="*/ 14 h 16"/>
                  <a:gd name="T42" fmla="*/ 12 w 76"/>
                  <a:gd name="T43" fmla="*/ 14 h 16"/>
                  <a:gd name="T44" fmla="*/ 12 w 76"/>
                  <a:gd name="T45" fmla="*/ 14 h 16"/>
                  <a:gd name="T46" fmla="*/ 0 w 76"/>
                  <a:gd name="T47" fmla="*/ 16 h 16"/>
                  <a:gd name="T48" fmla="*/ 0 w 76"/>
                  <a:gd name="T4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16">
                    <a:moveTo>
                      <a:pt x="0" y="14"/>
                    </a:moveTo>
                    <a:lnTo>
                      <a:pt x="0" y="14"/>
                    </a:lnTo>
                    <a:lnTo>
                      <a:pt x="12" y="10"/>
                    </a:lnTo>
                    <a:lnTo>
                      <a:pt x="12" y="10"/>
                    </a:lnTo>
                    <a:lnTo>
                      <a:pt x="38" y="4"/>
                    </a:lnTo>
                    <a:lnTo>
                      <a:pt x="38" y="4"/>
                    </a:lnTo>
                    <a:lnTo>
                      <a:pt x="52" y="0"/>
                    </a:lnTo>
                    <a:lnTo>
                      <a:pt x="52" y="0"/>
                    </a:lnTo>
                    <a:lnTo>
                      <a:pt x="64" y="0"/>
                    </a:lnTo>
                    <a:lnTo>
                      <a:pt x="64" y="0"/>
                    </a:lnTo>
                    <a:lnTo>
                      <a:pt x="72" y="0"/>
                    </a:lnTo>
                    <a:lnTo>
                      <a:pt x="76" y="2"/>
                    </a:lnTo>
                    <a:lnTo>
                      <a:pt x="76" y="2"/>
                    </a:lnTo>
                    <a:lnTo>
                      <a:pt x="76" y="2"/>
                    </a:lnTo>
                    <a:lnTo>
                      <a:pt x="74" y="4"/>
                    </a:lnTo>
                    <a:lnTo>
                      <a:pt x="66" y="8"/>
                    </a:lnTo>
                    <a:lnTo>
                      <a:pt x="66" y="8"/>
                    </a:lnTo>
                    <a:lnTo>
                      <a:pt x="54" y="12"/>
                    </a:lnTo>
                    <a:lnTo>
                      <a:pt x="54" y="12"/>
                    </a:lnTo>
                    <a:lnTo>
                      <a:pt x="40" y="14"/>
                    </a:lnTo>
                    <a:lnTo>
                      <a:pt x="40" y="14"/>
                    </a:lnTo>
                    <a:lnTo>
                      <a:pt x="12" y="14"/>
                    </a:lnTo>
                    <a:lnTo>
                      <a:pt x="12" y="14"/>
                    </a:lnTo>
                    <a:lnTo>
                      <a:pt x="0" y="16"/>
                    </a:lnTo>
                    <a:lnTo>
                      <a:pt x="0" y="14"/>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1" name="Freeform 312"/>
              <p:cNvSpPr/>
              <p:nvPr/>
            </p:nvSpPr>
            <p:spPr bwMode="auto">
              <a:xfrm>
                <a:off x="10929783" y="3142028"/>
                <a:ext cx="79314" cy="52876"/>
              </a:xfrm>
              <a:custGeom>
                <a:avLst/>
                <a:gdLst>
                  <a:gd name="T0" fmla="*/ 2 w 66"/>
                  <a:gd name="T1" fmla="*/ 0 h 44"/>
                  <a:gd name="T2" fmla="*/ 2 w 66"/>
                  <a:gd name="T3" fmla="*/ 0 h 44"/>
                  <a:gd name="T4" fmla="*/ 12 w 66"/>
                  <a:gd name="T5" fmla="*/ 6 h 44"/>
                  <a:gd name="T6" fmla="*/ 12 w 66"/>
                  <a:gd name="T7" fmla="*/ 6 h 44"/>
                  <a:gd name="T8" fmla="*/ 36 w 66"/>
                  <a:gd name="T9" fmla="*/ 18 h 44"/>
                  <a:gd name="T10" fmla="*/ 36 w 66"/>
                  <a:gd name="T11" fmla="*/ 18 h 44"/>
                  <a:gd name="T12" fmla="*/ 48 w 66"/>
                  <a:gd name="T13" fmla="*/ 24 h 44"/>
                  <a:gd name="T14" fmla="*/ 48 w 66"/>
                  <a:gd name="T15" fmla="*/ 24 h 44"/>
                  <a:gd name="T16" fmla="*/ 58 w 66"/>
                  <a:gd name="T17" fmla="*/ 32 h 44"/>
                  <a:gd name="T18" fmla="*/ 58 w 66"/>
                  <a:gd name="T19" fmla="*/ 32 h 44"/>
                  <a:gd name="T20" fmla="*/ 64 w 66"/>
                  <a:gd name="T21" fmla="*/ 40 h 44"/>
                  <a:gd name="T22" fmla="*/ 66 w 66"/>
                  <a:gd name="T23" fmla="*/ 44 h 44"/>
                  <a:gd name="T24" fmla="*/ 64 w 66"/>
                  <a:gd name="T25" fmla="*/ 44 h 44"/>
                  <a:gd name="T26" fmla="*/ 64 w 66"/>
                  <a:gd name="T27" fmla="*/ 44 h 44"/>
                  <a:gd name="T28" fmla="*/ 62 w 66"/>
                  <a:gd name="T29" fmla="*/ 44 h 44"/>
                  <a:gd name="T30" fmla="*/ 52 w 66"/>
                  <a:gd name="T31" fmla="*/ 40 h 44"/>
                  <a:gd name="T32" fmla="*/ 52 w 66"/>
                  <a:gd name="T33" fmla="*/ 40 h 44"/>
                  <a:gd name="T34" fmla="*/ 42 w 66"/>
                  <a:gd name="T35" fmla="*/ 34 h 44"/>
                  <a:gd name="T36" fmla="*/ 42 w 66"/>
                  <a:gd name="T37" fmla="*/ 34 h 44"/>
                  <a:gd name="T38" fmla="*/ 30 w 66"/>
                  <a:gd name="T39" fmla="*/ 26 h 44"/>
                  <a:gd name="T40" fmla="*/ 30 w 66"/>
                  <a:gd name="T41" fmla="*/ 26 h 44"/>
                  <a:gd name="T42" fmla="*/ 10 w 66"/>
                  <a:gd name="T43" fmla="*/ 8 h 44"/>
                  <a:gd name="T44" fmla="*/ 10 w 66"/>
                  <a:gd name="T45" fmla="*/ 8 h 44"/>
                  <a:gd name="T46" fmla="*/ 0 w 66"/>
                  <a:gd name="T47" fmla="*/ 0 h 44"/>
                  <a:gd name="T48" fmla="*/ 2 w 66"/>
                  <a:gd name="T4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44">
                    <a:moveTo>
                      <a:pt x="2" y="0"/>
                    </a:moveTo>
                    <a:lnTo>
                      <a:pt x="2" y="0"/>
                    </a:lnTo>
                    <a:lnTo>
                      <a:pt x="12" y="6"/>
                    </a:lnTo>
                    <a:lnTo>
                      <a:pt x="12" y="6"/>
                    </a:lnTo>
                    <a:lnTo>
                      <a:pt x="36" y="18"/>
                    </a:lnTo>
                    <a:lnTo>
                      <a:pt x="36" y="18"/>
                    </a:lnTo>
                    <a:lnTo>
                      <a:pt x="48" y="24"/>
                    </a:lnTo>
                    <a:lnTo>
                      <a:pt x="48" y="24"/>
                    </a:lnTo>
                    <a:lnTo>
                      <a:pt x="58" y="32"/>
                    </a:lnTo>
                    <a:lnTo>
                      <a:pt x="58" y="32"/>
                    </a:lnTo>
                    <a:lnTo>
                      <a:pt x="64" y="40"/>
                    </a:lnTo>
                    <a:lnTo>
                      <a:pt x="66" y="44"/>
                    </a:lnTo>
                    <a:lnTo>
                      <a:pt x="64" y="44"/>
                    </a:lnTo>
                    <a:lnTo>
                      <a:pt x="64" y="44"/>
                    </a:lnTo>
                    <a:lnTo>
                      <a:pt x="62" y="44"/>
                    </a:lnTo>
                    <a:lnTo>
                      <a:pt x="52" y="40"/>
                    </a:lnTo>
                    <a:lnTo>
                      <a:pt x="52" y="40"/>
                    </a:lnTo>
                    <a:lnTo>
                      <a:pt x="42" y="34"/>
                    </a:lnTo>
                    <a:lnTo>
                      <a:pt x="42" y="34"/>
                    </a:lnTo>
                    <a:lnTo>
                      <a:pt x="30" y="26"/>
                    </a:lnTo>
                    <a:lnTo>
                      <a:pt x="30" y="26"/>
                    </a:lnTo>
                    <a:lnTo>
                      <a:pt x="10" y="8"/>
                    </a:lnTo>
                    <a:lnTo>
                      <a:pt x="10" y="8"/>
                    </a:lnTo>
                    <a:lnTo>
                      <a:pt x="0" y="0"/>
                    </a:lnTo>
                    <a:lnTo>
                      <a:pt x="2" y="0"/>
                    </a:lnTo>
                    <a:close/>
                  </a:path>
                </a:pathLst>
              </a:custGeom>
              <a:solidFill>
                <a:srgbClr val="E2E2E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pic>
            <p:nvPicPr>
              <p:cNvPr id="242" name="Picture 3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60933" y="2394553"/>
                <a:ext cx="549190" cy="55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3" name="Freeform 314"/>
              <p:cNvSpPr>
                <a:spLocks noEditPoints="1"/>
              </p:cNvSpPr>
              <p:nvPr/>
            </p:nvSpPr>
            <p:spPr bwMode="auto">
              <a:xfrm>
                <a:off x="9726853" y="2634898"/>
                <a:ext cx="537173" cy="538374"/>
              </a:xfrm>
              <a:custGeom>
                <a:avLst/>
                <a:gdLst>
                  <a:gd name="T0" fmla="*/ 196 w 447"/>
                  <a:gd name="T1" fmla="*/ 332 h 448"/>
                  <a:gd name="T2" fmla="*/ 152 w 447"/>
                  <a:gd name="T3" fmla="*/ 310 h 448"/>
                  <a:gd name="T4" fmla="*/ 124 w 447"/>
                  <a:gd name="T5" fmla="*/ 274 h 448"/>
                  <a:gd name="T6" fmla="*/ 122 w 447"/>
                  <a:gd name="T7" fmla="*/ 196 h 448"/>
                  <a:gd name="T8" fmla="*/ 158 w 447"/>
                  <a:gd name="T9" fmla="*/ 148 h 448"/>
                  <a:gd name="T10" fmla="*/ 218 w 447"/>
                  <a:gd name="T11" fmla="*/ 128 h 448"/>
                  <a:gd name="T12" fmla="*/ 254 w 447"/>
                  <a:gd name="T13" fmla="*/ 134 h 448"/>
                  <a:gd name="T14" fmla="*/ 294 w 447"/>
                  <a:gd name="T15" fmla="*/ 160 h 448"/>
                  <a:gd name="T16" fmla="*/ 320 w 447"/>
                  <a:gd name="T17" fmla="*/ 208 h 448"/>
                  <a:gd name="T18" fmla="*/ 308 w 447"/>
                  <a:gd name="T19" fmla="*/ 284 h 448"/>
                  <a:gd name="T20" fmla="*/ 266 w 447"/>
                  <a:gd name="T21" fmla="*/ 324 h 448"/>
                  <a:gd name="T22" fmla="*/ 226 w 447"/>
                  <a:gd name="T23" fmla="*/ 0 h 448"/>
                  <a:gd name="T24" fmla="*/ 212 w 447"/>
                  <a:gd name="T25" fmla="*/ 8 h 448"/>
                  <a:gd name="T26" fmla="*/ 180 w 447"/>
                  <a:gd name="T27" fmla="*/ 42 h 448"/>
                  <a:gd name="T28" fmla="*/ 136 w 447"/>
                  <a:gd name="T29" fmla="*/ 24 h 448"/>
                  <a:gd name="T30" fmla="*/ 120 w 447"/>
                  <a:gd name="T31" fmla="*/ 26 h 448"/>
                  <a:gd name="T32" fmla="*/ 60 w 447"/>
                  <a:gd name="T33" fmla="*/ 76 h 448"/>
                  <a:gd name="T34" fmla="*/ 74 w 447"/>
                  <a:gd name="T35" fmla="*/ 102 h 448"/>
                  <a:gd name="T36" fmla="*/ 28 w 447"/>
                  <a:gd name="T37" fmla="*/ 140 h 448"/>
                  <a:gd name="T38" fmla="*/ 16 w 447"/>
                  <a:gd name="T39" fmla="*/ 144 h 448"/>
                  <a:gd name="T40" fmla="*/ 0 w 447"/>
                  <a:gd name="T41" fmla="*/ 218 h 448"/>
                  <a:gd name="T42" fmla="*/ 12 w 447"/>
                  <a:gd name="T43" fmla="*/ 236 h 448"/>
                  <a:gd name="T44" fmla="*/ 30 w 447"/>
                  <a:gd name="T45" fmla="*/ 270 h 448"/>
                  <a:gd name="T46" fmla="*/ 28 w 447"/>
                  <a:gd name="T47" fmla="*/ 306 h 448"/>
                  <a:gd name="T48" fmla="*/ 26 w 447"/>
                  <a:gd name="T49" fmla="*/ 328 h 448"/>
                  <a:gd name="T50" fmla="*/ 76 w 447"/>
                  <a:gd name="T51" fmla="*/ 388 h 448"/>
                  <a:gd name="T52" fmla="*/ 94 w 447"/>
                  <a:gd name="T53" fmla="*/ 378 h 448"/>
                  <a:gd name="T54" fmla="*/ 140 w 447"/>
                  <a:gd name="T55" fmla="*/ 418 h 448"/>
                  <a:gd name="T56" fmla="*/ 148 w 447"/>
                  <a:gd name="T57" fmla="*/ 434 h 448"/>
                  <a:gd name="T58" fmla="*/ 220 w 447"/>
                  <a:gd name="T59" fmla="*/ 448 h 448"/>
                  <a:gd name="T60" fmla="*/ 234 w 447"/>
                  <a:gd name="T61" fmla="*/ 440 h 448"/>
                  <a:gd name="T62" fmla="*/ 254 w 447"/>
                  <a:gd name="T63" fmla="*/ 420 h 448"/>
                  <a:gd name="T64" fmla="*/ 306 w 447"/>
                  <a:gd name="T65" fmla="*/ 418 h 448"/>
                  <a:gd name="T66" fmla="*/ 318 w 447"/>
                  <a:gd name="T67" fmla="*/ 424 h 448"/>
                  <a:gd name="T68" fmla="*/ 380 w 447"/>
                  <a:gd name="T69" fmla="*/ 382 h 448"/>
                  <a:gd name="T70" fmla="*/ 384 w 447"/>
                  <a:gd name="T71" fmla="*/ 360 h 448"/>
                  <a:gd name="T72" fmla="*/ 398 w 447"/>
                  <a:gd name="T73" fmla="*/ 302 h 448"/>
                  <a:gd name="T74" fmla="*/ 420 w 447"/>
                  <a:gd name="T75" fmla="*/ 306 h 448"/>
                  <a:gd name="T76" fmla="*/ 437 w 447"/>
                  <a:gd name="T77" fmla="*/ 294 h 448"/>
                  <a:gd name="T78" fmla="*/ 447 w 447"/>
                  <a:gd name="T79" fmla="*/ 226 h 448"/>
                  <a:gd name="T80" fmla="*/ 435 w 447"/>
                  <a:gd name="T81" fmla="*/ 210 h 448"/>
                  <a:gd name="T82" fmla="*/ 396 w 447"/>
                  <a:gd name="T83" fmla="*/ 156 h 448"/>
                  <a:gd name="T84" fmla="*/ 424 w 447"/>
                  <a:gd name="T85" fmla="*/ 132 h 448"/>
                  <a:gd name="T86" fmla="*/ 382 w 447"/>
                  <a:gd name="T87" fmla="*/ 66 h 448"/>
                  <a:gd name="T88" fmla="*/ 364 w 447"/>
                  <a:gd name="T89" fmla="*/ 60 h 448"/>
                  <a:gd name="T90" fmla="*/ 320 w 447"/>
                  <a:gd name="T91" fmla="*/ 66 h 448"/>
                  <a:gd name="T92" fmla="*/ 306 w 447"/>
                  <a:gd name="T93" fmla="*/ 24 h 448"/>
                  <a:gd name="T94" fmla="*/ 286 w 447"/>
                  <a:gd name="T95" fmla="*/ 1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7" h="448">
                    <a:moveTo>
                      <a:pt x="218" y="334"/>
                    </a:moveTo>
                    <a:lnTo>
                      <a:pt x="218" y="334"/>
                    </a:lnTo>
                    <a:lnTo>
                      <a:pt x="206" y="334"/>
                    </a:lnTo>
                    <a:lnTo>
                      <a:pt x="196" y="332"/>
                    </a:lnTo>
                    <a:lnTo>
                      <a:pt x="184" y="328"/>
                    </a:lnTo>
                    <a:lnTo>
                      <a:pt x="172" y="324"/>
                    </a:lnTo>
                    <a:lnTo>
                      <a:pt x="162" y="318"/>
                    </a:lnTo>
                    <a:lnTo>
                      <a:pt x="152" y="310"/>
                    </a:lnTo>
                    <a:lnTo>
                      <a:pt x="144" y="302"/>
                    </a:lnTo>
                    <a:lnTo>
                      <a:pt x="136" y="292"/>
                    </a:lnTo>
                    <a:lnTo>
                      <a:pt x="136" y="292"/>
                    </a:lnTo>
                    <a:lnTo>
                      <a:pt x="124" y="274"/>
                    </a:lnTo>
                    <a:lnTo>
                      <a:pt x="118" y="254"/>
                    </a:lnTo>
                    <a:lnTo>
                      <a:pt x="116" y="236"/>
                    </a:lnTo>
                    <a:lnTo>
                      <a:pt x="116" y="216"/>
                    </a:lnTo>
                    <a:lnTo>
                      <a:pt x="122" y="196"/>
                    </a:lnTo>
                    <a:lnTo>
                      <a:pt x="130" y="178"/>
                    </a:lnTo>
                    <a:lnTo>
                      <a:pt x="142" y="162"/>
                    </a:lnTo>
                    <a:lnTo>
                      <a:pt x="158" y="148"/>
                    </a:lnTo>
                    <a:lnTo>
                      <a:pt x="158" y="148"/>
                    </a:lnTo>
                    <a:lnTo>
                      <a:pt x="172" y="138"/>
                    </a:lnTo>
                    <a:lnTo>
                      <a:pt x="188" y="132"/>
                    </a:lnTo>
                    <a:lnTo>
                      <a:pt x="202" y="128"/>
                    </a:lnTo>
                    <a:lnTo>
                      <a:pt x="218" y="128"/>
                    </a:lnTo>
                    <a:lnTo>
                      <a:pt x="218" y="128"/>
                    </a:lnTo>
                    <a:lnTo>
                      <a:pt x="230" y="128"/>
                    </a:lnTo>
                    <a:lnTo>
                      <a:pt x="242" y="130"/>
                    </a:lnTo>
                    <a:lnTo>
                      <a:pt x="254" y="134"/>
                    </a:lnTo>
                    <a:lnTo>
                      <a:pt x="264" y="138"/>
                    </a:lnTo>
                    <a:lnTo>
                      <a:pt x="276" y="144"/>
                    </a:lnTo>
                    <a:lnTo>
                      <a:pt x="286" y="152"/>
                    </a:lnTo>
                    <a:lnTo>
                      <a:pt x="294" y="160"/>
                    </a:lnTo>
                    <a:lnTo>
                      <a:pt x="302" y="170"/>
                    </a:lnTo>
                    <a:lnTo>
                      <a:pt x="302" y="170"/>
                    </a:lnTo>
                    <a:lnTo>
                      <a:pt x="314" y="188"/>
                    </a:lnTo>
                    <a:lnTo>
                      <a:pt x="320" y="208"/>
                    </a:lnTo>
                    <a:lnTo>
                      <a:pt x="322" y="226"/>
                    </a:lnTo>
                    <a:lnTo>
                      <a:pt x="322" y="246"/>
                    </a:lnTo>
                    <a:lnTo>
                      <a:pt x="316" y="266"/>
                    </a:lnTo>
                    <a:lnTo>
                      <a:pt x="308" y="284"/>
                    </a:lnTo>
                    <a:lnTo>
                      <a:pt x="296" y="300"/>
                    </a:lnTo>
                    <a:lnTo>
                      <a:pt x="280" y="314"/>
                    </a:lnTo>
                    <a:lnTo>
                      <a:pt x="280" y="314"/>
                    </a:lnTo>
                    <a:lnTo>
                      <a:pt x="266" y="324"/>
                    </a:lnTo>
                    <a:lnTo>
                      <a:pt x="250" y="330"/>
                    </a:lnTo>
                    <a:lnTo>
                      <a:pt x="234" y="334"/>
                    </a:lnTo>
                    <a:lnTo>
                      <a:pt x="218" y="334"/>
                    </a:lnTo>
                    <a:close/>
                    <a:moveTo>
                      <a:pt x="226" y="0"/>
                    </a:moveTo>
                    <a:lnTo>
                      <a:pt x="226" y="0"/>
                    </a:lnTo>
                    <a:lnTo>
                      <a:pt x="220" y="2"/>
                    </a:lnTo>
                    <a:lnTo>
                      <a:pt x="216" y="4"/>
                    </a:lnTo>
                    <a:lnTo>
                      <a:pt x="212" y="8"/>
                    </a:lnTo>
                    <a:lnTo>
                      <a:pt x="210" y="12"/>
                    </a:lnTo>
                    <a:lnTo>
                      <a:pt x="206" y="38"/>
                    </a:lnTo>
                    <a:lnTo>
                      <a:pt x="206" y="38"/>
                    </a:lnTo>
                    <a:lnTo>
                      <a:pt x="180" y="42"/>
                    </a:lnTo>
                    <a:lnTo>
                      <a:pt x="156" y="48"/>
                    </a:lnTo>
                    <a:lnTo>
                      <a:pt x="140" y="30"/>
                    </a:lnTo>
                    <a:lnTo>
                      <a:pt x="140" y="30"/>
                    </a:lnTo>
                    <a:lnTo>
                      <a:pt x="136" y="24"/>
                    </a:lnTo>
                    <a:lnTo>
                      <a:pt x="128" y="22"/>
                    </a:lnTo>
                    <a:lnTo>
                      <a:pt x="128" y="22"/>
                    </a:lnTo>
                    <a:lnTo>
                      <a:pt x="124" y="24"/>
                    </a:lnTo>
                    <a:lnTo>
                      <a:pt x="120" y="26"/>
                    </a:lnTo>
                    <a:lnTo>
                      <a:pt x="66" y="66"/>
                    </a:lnTo>
                    <a:lnTo>
                      <a:pt x="66" y="66"/>
                    </a:lnTo>
                    <a:lnTo>
                      <a:pt x="62" y="70"/>
                    </a:lnTo>
                    <a:lnTo>
                      <a:pt x="60" y="76"/>
                    </a:lnTo>
                    <a:lnTo>
                      <a:pt x="60" y="82"/>
                    </a:lnTo>
                    <a:lnTo>
                      <a:pt x="62" y="86"/>
                    </a:lnTo>
                    <a:lnTo>
                      <a:pt x="74" y="102"/>
                    </a:lnTo>
                    <a:lnTo>
                      <a:pt x="74" y="102"/>
                    </a:lnTo>
                    <a:lnTo>
                      <a:pt x="58" y="122"/>
                    </a:lnTo>
                    <a:lnTo>
                      <a:pt x="46" y="144"/>
                    </a:lnTo>
                    <a:lnTo>
                      <a:pt x="28" y="140"/>
                    </a:lnTo>
                    <a:lnTo>
                      <a:pt x="28" y="140"/>
                    </a:lnTo>
                    <a:lnTo>
                      <a:pt x="26" y="140"/>
                    </a:lnTo>
                    <a:lnTo>
                      <a:pt x="26" y="140"/>
                    </a:lnTo>
                    <a:lnTo>
                      <a:pt x="20" y="142"/>
                    </a:lnTo>
                    <a:lnTo>
                      <a:pt x="16" y="144"/>
                    </a:lnTo>
                    <a:lnTo>
                      <a:pt x="12" y="148"/>
                    </a:lnTo>
                    <a:lnTo>
                      <a:pt x="10" y="154"/>
                    </a:lnTo>
                    <a:lnTo>
                      <a:pt x="0" y="218"/>
                    </a:lnTo>
                    <a:lnTo>
                      <a:pt x="0" y="218"/>
                    </a:lnTo>
                    <a:lnTo>
                      <a:pt x="0" y="224"/>
                    </a:lnTo>
                    <a:lnTo>
                      <a:pt x="2" y="230"/>
                    </a:lnTo>
                    <a:lnTo>
                      <a:pt x="6" y="234"/>
                    </a:lnTo>
                    <a:lnTo>
                      <a:pt x="12" y="236"/>
                    </a:lnTo>
                    <a:lnTo>
                      <a:pt x="26" y="240"/>
                    </a:lnTo>
                    <a:lnTo>
                      <a:pt x="26" y="240"/>
                    </a:lnTo>
                    <a:lnTo>
                      <a:pt x="28" y="254"/>
                    </a:lnTo>
                    <a:lnTo>
                      <a:pt x="30" y="270"/>
                    </a:lnTo>
                    <a:lnTo>
                      <a:pt x="34" y="284"/>
                    </a:lnTo>
                    <a:lnTo>
                      <a:pt x="38" y="300"/>
                    </a:lnTo>
                    <a:lnTo>
                      <a:pt x="28" y="306"/>
                    </a:lnTo>
                    <a:lnTo>
                      <a:pt x="28" y="306"/>
                    </a:lnTo>
                    <a:lnTo>
                      <a:pt x="24" y="310"/>
                    </a:lnTo>
                    <a:lnTo>
                      <a:pt x="22" y="316"/>
                    </a:lnTo>
                    <a:lnTo>
                      <a:pt x="22" y="322"/>
                    </a:lnTo>
                    <a:lnTo>
                      <a:pt x="26" y="328"/>
                    </a:lnTo>
                    <a:lnTo>
                      <a:pt x="64" y="382"/>
                    </a:lnTo>
                    <a:lnTo>
                      <a:pt x="64" y="382"/>
                    </a:lnTo>
                    <a:lnTo>
                      <a:pt x="70" y="386"/>
                    </a:lnTo>
                    <a:lnTo>
                      <a:pt x="76" y="388"/>
                    </a:lnTo>
                    <a:lnTo>
                      <a:pt x="76" y="388"/>
                    </a:lnTo>
                    <a:lnTo>
                      <a:pt x="82" y="386"/>
                    </a:lnTo>
                    <a:lnTo>
                      <a:pt x="86" y="384"/>
                    </a:lnTo>
                    <a:lnTo>
                      <a:pt x="94" y="378"/>
                    </a:lnTo>
                    <a:lnTo>
                      <a:pt x="94" y="378"/>
                    </a:lnTo>
                    <a:lnTo>
                      <a:pt x="118" y="394"/>
                    </a:lnTo>
                    <a:lnTo>
                      <a:pt x="142" y="408"/>
                    </a:lnTo>
                    <a:lnTo>
                      <a:pt x="140" y="418"/>
                    </a:lnTo>
                    <a:lnTo>
                      <a:pt x="140" y="418"/>
                    </a:lnTo>
                    <a:lnTo>
                      <a:pt x="140" y="424"/>
                    </a:lnTo>
                    <a:lnTo>
                      <a:pt x="144" y="430"/>
                    </a:lnTo>
                    <a:lnTo>
                      <a:pt x="148" y="434"/>
                    </a:lnTo>
                    <a:lnTo>
                      <a:pt x="154" y="436"/>
                    </a:lnTo>
                    <a:lnTo>
                      <a:pt x="218" y="448"/>
                    </a:lnTo>
                    <a:lnTo>
                      <a:pt x="218" y="448"/>
                    </a:lnTo>
                    <a:lnTo>
                      <a:pt x="220" y="448"/>
                    </a:lnTo>
                    <a:lnTo>
                      <a:pt x="220" y="448"/>
                    </a:lnTo>
                    <a:lnTo>
                      <a:pt x="226" y="446"/>
                    </a:lnTo>
                    <a:lnTo>
                      <a:pt x="230" y="444"/>
                    </a:lnTo>
                    <a:lnTo>
                      <a:pt x="234" y="440"/>
                    </a:lnTo>
                    <a:lnTo>
                      <a:pt x="236" y="434"/>
                    </a:lnTo>
                    <a:lnTo>
                      <a:pt x="238" y="422"/>
                    </a:lnTo>
                    <a:lnTo>
                      <a:pt x="238" y="422"/>
                    </a:lnTo>
                    <a:lnTo>
                      <a:pt x="254" y="420"/>
                    </a:lnTo>
                    <a:lnTo>
                      <a:pt x="268" y="418"/>
                    </a:lnTo>
                    <a:lnTo>
                      <a:pt x="282" y="412"/>
                    </a:lnTo>
                    <a:lnTo>
                      <a:pt x="298" y="408"/>
                    </a:lnTo>
                    <a:lnTo>
                      <a:pt x="306" y="418"/>
                    </a:lnTo>
                    <a:lnTo>
                      <a:pt x="306" y="418"/>
                    </a:lnTo>
                    <a:lnTo>
                      <a:pt x="312" y="422"/>
                    </a:lnTo>
                    <a:lnTo>
                      <a:pt x="318" y="424"/>
                    </a:lnTo>
                    <a:lnTo>
                      <a:pt x="318" y="424"/>
                    </a:lnTo>
                    <a:lnTo>
                      <a:pt x="322" y="424"/>
                    </a:lnTo>
                    <a:lnTo>
                      <a:pt x="328" y="422"/>
                    </a:lnTo>
                    <a:lnTo>
                      <a:pt x="380" y="382"/>
                    </a:lnTo>
                    <a:lnTo>
                      <a:pt x="380" y="382"/>
                    </a:lnTo>
                    <a:lnTo>
                      <a:pt x="384" y="378"/>
                    </a:lnTo>
                    <a:lnTo>
                      <a:pt x="386" y="372"/>
                    </a:lnTo>
                    <a:lnTo>
                      <a:pt x="386" y="366"/>
                    </a:lnTo>
                    <a:lnTo>
                      <a:pt x="384" y="360"/>
                    </a:lnTo>
                    <a:lnTo>
                      <a:pt x="374" y="346"/>
                    </a:lnTo>
                    <a:lnTo>
                      <a:pt x="374" y="346"/>
                    </a:lnTo>
                    <a:lnTo>
                      <a:pt x="388" y="326"/>
                    </a:lnTo>
                    <a:lnTo>
                      <a:pt x="398" y="302"/>
                    </a:lnTo>
                    <a:lnTo>
                      <a:pt x="418" y="306"/>
                    </a:lnTo>
                    <a:lnTo>
                      <a:pt x="418" y="306"/>
                    </a:lnTo>
                    <a:lnTo>
                      <a:pt x="420" y="306"/>
                    </a:lnTo>
                    <a:lnTo>
                      <a:pt x="420" y="306"/>
                    </a:lnTo>
                    <a:lnTo>
                      <a:pt x="426" y="306"/>
                    </a:lnTo>
                    <a:lnTo>
                      <a:pt x="430" y="302"/>
                    </a:lnTo>
                    <a:lnTo>
                      <a:pt x="435" y="298"/>
                    </a:lnTo>
                    <a:lnTo>
                      <a:pt x="437" y="294"/>
                    </a:lnTo>
                    <a:lnTo>
                      <a:pt x="447" y="228"/>
                    </a:lnTo>
                    <a:lnTo>
                      <a:pt x="447" y="228"/>
                    </a:lnTo>
                    <a:lnTo>
                      <a:pt x="447" y="226"/>
                    </a:lnTo>
                    <a:lnTo>
                      <a:pt x="447" y="226"/>
                    </a:lnTo>
                    <a:lnTo>
                      <a:pt x="447" y="220"/>
                    </a:lnTo>
                    <a:lnTo>
                      <a:pt x="443" y="216"/>
                    </a:lnTo>
                    <a:lnTo>
                      <a:pt x="439" y="212"/>
                    </a:lnTo>
                    <a:lnTo>
                      <a:pt x="435" y="210"/>
                    </a:lnTo>
                    <a:lnTo>
                      <a:pt x="410" y="206"/>
                    </a:lnTo>
                    <a:lnTo>
                      <a:pt x="410" y="206"/>
                    </a:lnTo>
                    <a:lnTo>
                      <a:pt x="406" y="182"/>
                    </a:lnTo>
                    <a:lnTo>
                      <a:pt x="396" y="156"/>
                    </a:lnTo>
                    <a:lnTo>
                      <a:pt x="418" y="142"/>
                    </a:lnTo>
                    <a:lnTo>
                      <a:pt x="418" y="142"/>
                    </a:lnTo>
                    <a:lnTo>
                      <a:pt x="422" y="136"/>
                    </a:lnTo>
                    <a:lnTo>
                      <a:pt x="424" y="132"/>
                    </a:lnTo>
                    <a:lnTo>
                      <a:pt x="424" y="126"/>
                    </a:lnTo>
                    <a:lnTo>
                      <a:pt x="420" y="120"/>
                    </a:lnTo>
                    <a:lnTo>
                      <a:pt x="382" y="66"/>
                    </a:lnTo>
                    <a:lnTo>
                      <a:pt x="382" y="66"/>
                    </a:lnTo>
                    <a:lnTo>
                      <a:pt x="376" y="62"/>
                    </a:lnTo>
                    <a:lnTo>
                      <a:pt x="370" y="60"/>
                    </a:lnTo>
                    <a:lnTo>
                      <a:pt x="370" y="60"/>
                    </a:lnTo>
                    <a:lnTo>
                      <a:pt x="364" y="60"/>
                    </a:lnTo>
                    <a:lnTo>
                      <a:pt x="360" y="64"/>
                    </a:lnTo>
                    <a:lnTo>
                      <a:pt x="338" y="80"/>
                    </a:lnTo>
                    <a:lnTo>
                      <a:pt x="338" y="80"/>
                    </a:lnTo>
                    <a:lnTo>
                      <a:pt x="320" y="66"/>
                    </a:lnTo>
                    <a:lnTo>
                      <a:pt x="302" y="56"/>
                    </a:lnTo>
                    <a:lnTo>
                      <a:pt x="306" y="30"/>
                    </a:lnTo>
                    <a:lnTo>
                      <a:pt x="306" y="30"/>
                    </a:lnTo>
                    <a:lnTo>
                      <a:pt x="306" y="24"/>
                    </a:lnTo>
                    <a:lnTo>
                      <a:pt x="304" y="18"/>
                    </a:lnTo>
                    <a:lnTo>
                      <a:pt x="298" y="14"/>
                    </a:lnTo>
                    <a:lnTo>
                      <a:pt x="294" y="12"/>
                    </a:lnTo>
                    <a:lnTo>
                      <a:pt x="286" y="10"/>
                    </a:lnTo>
                    <a:lnTo>
                      <a:pt x="228" y="0"/>
                    </a:lnTo>
                    <a:lnTo>
                      <a:pt x="228" y="0"/>
                    </a:lnTo>
                    <a:lnTo>
                      <a:pt x="226" y="0"/>
                    </a:lnTo>
                    <a:close/>
                  </a:path>
                </a:pathLst>
              </a:custGeom>
              <a:solidFill>
                <a:srgbClr val="409B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4" name="Freeform 315"/>
              <p:cNvSpPr/>
              <p:nvPr/>
            </p:nvSpPr>
            <p:spPr bwMode="auto">
              <a:xfrm>
                <a:off x="9866254" y="2788720"/>
                <a:ext cx="247556" cy="247556"/>
              </a:xfrm>
              <a:custGeom>
                <a:avLst/>
                <a:gdLst>
                  <a:gd name="T0" fmla="*/ 102 w 206"/>
                  <a:gd name="T1" fmla="*/ 206 h 206"/>
                  <a:gd name="T2" fmla="*/ 102 w 206"/>
                  <a:gd name="T3" fmla="*/ 206 h 206"/>
                  <a:gd name="T4" fmla="*/ 90 w 206"/>
                  <a:gd name="T5" fmla="*/ 206 h 206"/>
                  <a:gd name="T6" fmla="*/ 80 w 206"/>
                  <a:gd name="T7" fmla="*/ 204 h 206"/>
                  <a:gd name="T8" fmla="*/ 68 w 206"/>
                  <a:gd name="T9" fmla="*/ 200 h 206"/>
                  <a:gd name="T10" fmla="*/ 56 w 206"/>
                  <a:gd name="T11" fmla="*/ 196 h 206"/>
                  <a:gd name="T12" fmla="*/ 46 w 206"/>
                  <a:gd name="T13" fmla="*/ 190 h 206"/>
                  <a:gd name="T14" fmla="*/ 36 w 206"/>
                  <a:gd name="T15" fmla="*/ 182 h 206"/>
                  <a:gd name="T16" fmla="*/ 28 w 206"/>
                  <a:gd name="T17" fmla="*/ 174 h 206"/>
                  <a:gd name="T18" fmla="*/ 20 w 206"/>
                  <a:gd name="T19" fmla="*/ 164 h 206"/>
                  <a:gd name="T20" fmla="*/ 20 w 206"/>
                  <a:gd name="T21" fmla="*/ 164 h 206"/>
                  <a:gd name="T22" fmla="*/ 8 w 206"/>
                  <a:gd name="T23" fmla="*/ 146 h 206"/>
                  <a:gd name="T24" fmla="*/ 2 w 206"/>
                  <a:gd name="T25" fmla="*/ 126 h 206"/>
                  <a:gd name="T26" fmla="*/ 0 w 206"/>
                  <a:gd name="T27" fmla="*/ 108 h 206"/>
                  <a:gd name="T28" fmla="*/ 0 w 206"/>
                  <a:gd name="T29" fmla="*/ 88 h 206"/>
                  <a:gd name="T30" fmla="*/ 6 w 206"/>
                  <a:gd name="T31" fmla="*/ 68 h 206"/>
                  <a:gd name="T32" fmla="*/ 14 w 206"/>
                  <a:gd name="T33" fmla="*/ 50 h 206"/>
                  <a:gd name="T34" fmla="*/ 26 w 206"/>
                  <a:gd name="T35" fmla="*/ 34 h 206"/>
                  <a:gd name="T36" fmla="*/ 42 w 206"/>
                  <a:gd name="T37" fmla="*/ 20 h 206"/>
                  <a:gd name="T38" fmla="*/ 42 w 206"/>
                  <a:gd name="T39" fmla="*/ 20 h 206"/>
                  <a:gd name="T40" fmla="*/ 56 w 206"/>
                  <a:gd name="T41" fmla="*/ 10 h 206"/>
                  <a:gd name="T42" fmla="*/ 72 w 206"/>
                  <a:gd name="T43" fmla="*/ 4 h 206"/>
                  <a:gd name="T44" fmla="*/ 86 w 206"/>
                  <a:gd name="T45" fmla="*/ 0 h 206"/>
                  <a:gd name="T46" fmla="*/ 102 w 206"/>
                  <a:gd name="T47" fmla="*/ 0 h 206"/>
                  <a:gd name="T48" fmla="*/ 102 w 206"/>
                  <a:gd name="T49" fmla="*/ 0 h 206"/>
                  <a:gd name="T50" fmla="*/ 114 w 206"/>
                  <a:gd name="T51" fmla="*/ 0 h 206"/>
                  <a:gd name="T52" fmla="*/ 126 w 206"/>
                  <a:gd name="T53" fmla="*/ 2 h 206"/>
                  <a:gd name="T54" fmla="*/ 138 w 206"/>
                  <a:gd name="T55" fmla="*/ 6 h 206"/>
                  <a:gd name="T56" fmla="*/ 148 w 206"/>
                  <a:gd name="T57" fmla="*/ 10 h 206"/>
                  <a:gd name="T58" fmla="*/ 160 w 206"/>
                  <a:gd name="T59" fmla="*/ 16 h 206"/>
                  <a:gd name="T60" fmla="*/ 170 w 206"/>
                  <a:gd name="T61" fmla="*/ 24 h 206"/>
                  <a:gd name="T62" fmla="*/ 178 w 206"/>
                  <a:gd name="T63" fmla="*/ 32 h 206"/>
                  <a:gd name="T64" fmla="*/ 186 w 206"/>
                  <a:gd name="T65" fmla="*/ 42 h 206"/>
                  <a:gd name="T66" fmla="*/ 186 w 206"/>
                  <a:gd name="T67" fmla="*/ 42 h 206"/>
                  <a:gd name="T68" fmla="*/ 198 w 206"/>
                  <a:gd name="T69" fmla="*/ 60 h 206"/>
                  <a:gd name="T70" fmla="*/ 204 w 206"/>
                  <a:gd name="T71" fmla="*/ 80 h 206"/>
                  <a:gd name="T72" fmla="*/ 206 w 206"/>
                  <a:gd name="T73" fmla="*/ 98 h 206"/>
                  <a:gd name="T74" fmla="*/ 206 w 206"/>
                  <a:gd name="T75" fmla="*/ 118 h 206"/>
                  <a:gd name="T76" fmla="*/ 200 w 206"/>
                  <a:gd name="T77" fmla="*/ 138 h 206"/>
                  <a:gd name="T78" fmla="*/ 192 w 206"/>
                  <a:gd name="T79" fmla="*/ 156 h 206"/>
                  <a:gd name="T80" fmla="*/ 180 w 206"/>
                  <a:gd name="T81" fmla="*/ 172 h 206"/>
                  <a:gd name="T82" fmla="*/ 164 w 206"/>
                  <a:gd name="T83" fmla="*/ 186 h 206"/>
                  <a:gd name="T84" fmla="*/ 164 w 206"/>
                  <a:gd name="T85" fmla="*/ 186 h 206"/>
                  <a:gd name="T86" fmla="*/ 150 w 206"/>
                  <a:gd name="T87" fmla="*/ 196 h 206"/>
                  <a:gd name="T88" fmla="*/ 134 w 206"/>
                  <a:gd name="T89" fmla="*/ 202 h 206"/>
                  <a:gd name="T90" fmla="*/ 118 w 206"/>
                  <a:gd name="T91" fmla="*/ 206 h 206"/>
                  <a:gd name="T92" fmla="*/ 102 w 206"/>
                  <a:gd name="T93"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06">
                    <a:moveTo>
                      <a:pt x="102" y="206"/>
                    </a:moveTo>
                    <a:lnTo>
                      <a:pt x="102" y="206"/>
                    </a:lnTo>
                    <a:lnTo>
                      <a:pt x="90" y="206"/>
                    </a:lnTo>
                    <a:lnTo>
                      <a:pt x="80" y="204"/>
                    </a:lnTo>
                    <a:lnTo>
                      <a:pt x="68" y="200"/>
                    </a:lnTo>
                    <a:lnTo>
                      <a:pt x="56" y="196"/>
                    </a:lnTo>
                    <a:lnTo>
                      <a:pt x="46" y="190"/>
                    </a:lnTo>
                    <a:lnTo>
                      <a:pt x="36" y="182"/>
                    </a:lnTo>
                    <a:lnTo>
                      <a:pt x="28" y="174"/>
                    </a:lnTo>
                    <a:lnTo>
                      <a:pt x="20" y="164"/>
                    </a:lnTo>
                    <a:lnTo>
                      <a:pt x="20" y="164"/>
                    </a:lnTo>
                    <a:lnTo>
                      <a:pt x="8" y="146"/>
                    </a:lnTo>
                    <a:lnTo>
                      <a:pt x="2" y="126"/>
                    </a:lnTo>
                    <a:lnTo>
                      <a:pt x="0" y="108"/>
                    </a:lnTo>
                    <a:lnTo>
                      <a:pt x="0" y="88"/>
                    </a:lnTo>
                    <a:lnTo>
                      <a:pt x="6" y="68"/>
                    </a:lnTo>
                    <a:lnTo>
                      <a:pt x="14" y="50"/>
                    </a:lnTo>
                    <a:lnTo>
                      <a:pt x="26" y="34"/>
                    </a:lnTo>
                    <a:lnTo>
                      <a:pt x="42" y="20"/>
                    </a:lnTo>
                    <a:lnTo>
                      <a:pt x="42" y="20"/>
                    </a:lnTo>
                    <a:lnTo>
                      <a:pt x="56" y="10"/>
                    </a:lnTo>
                    <a:lnTo>
                      <a:pt x="72" y="4"/>
                    </a:lnTo>
                    <a:lnTo>
                      <a:pt x="86" y="0"/>
                    </a:lnTo>
                    <a:lnTo>
                      <a:pt x="102" y="0"/>
                    </a:lnTo>
                    <a:lnTo>
                      <a:pt x="102" y="0"/>
                    </a:lnTo>
                    <a:lnTo>
                      <a:pt x="114" y="0"/>
                    </a:lnTo>
                    <a:lnTo>
                      <a:pt x="126" y="2"/>
                    </a:lnTo>
                    <a:lnTo>
                      <a:pt x="138" y="6"/>
                    </a:lnTo>
                    <a:lnTo>
                      <a:pt x="148" y="10"/>
                    </a:lnTo>
                    <a:lnTo>
                      <a:pt x="160" y="16"/>
                    </a:lnTo>
                    <a:lnTo>
                      <a:pt x="170" y="24"/>
                    </a:lnTo>
                    <a:lnTo>
                      <a:pt x="178" y="32"/>
                    </a:lnTo>
                    <a:lnTo>
                      <a:pt x="186" y="42"/>
                    </a:lnTo>
                    <a:lnTo>
                      <a:pt x="186" y="42"/>
                    </a:lnTo>
                    <a:lnTo>
                      <a:pt x="198" y="60"/>
                    </a:lnTo>
                    <a:lnTo>
                      <a:pt x="204" y="80"/>
                    </a:lnTo>
                    <a:lnTo>
                      <a:pt x="206" y="98"/>
                    </a:lnTo>
                    <a:lnTo>
                      <a:pt x="206" y="118"/>
                    </a:lnTo>
                    <a:lnTo>
                      <a:pt x="200" y="138"/>
                    </a:lnTo>
                    <a:lnTo>
                      <a:pt x="192" y="156"/>
                    </a:lnTo>
                    <a:lnTo>
                      <a:pt x="180" y="172"/>
                    </a:lnTo>
                    <a:lnTo>
                      <a:pt x="164" y="186"/>
                    </a:lnTo>
                    <a:lnTo>
                      <a:pt x="164" y="186"/>
                    </a:lnTo>
                    <a:lnTo>
                      <a:pt x="150" y="196"/>
                    </a:lnTo>
                    <a:lnTo>
                      <a:pt x="134" y="202"/>
                    </a:lnTo>
                    <a:lnTo>
                      <a:pt x="118" y="206"/>
                    </a:lnTo>
                    <a:lnTo>
                      <a:pt x="102"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5" name="Freeform 316"/>
              <p:cNvSpPr/>
              <p:nvPr/>
            </p:nvSpPr>
            <p:spPr bwMode="auto">
              <a:xfrm>
                <a:off x="9726853" y="2634898"/>
                <a:ext cx="537173" cy="538374"/>
              </a:xfrm>
              <a:custGeom>
                <a:avLst/>
                <a:gdLst>
                  <a:gd name="T0" fmla="*/ 220 w 447"/>
                  <a:gd name="T1" fmla="*/ 2 h 448"/>
                  <a:gd name="T2" fmla="*/ 210 w 447"/>
                  <a:gd name="T3" fmla="*/ 12 h 448"/>
                  <a:gd name="T4" fmla="*/ 180 w 447"/>
                  <a:gd name="T5" fmla="*/ 42 h 448"/>
                  <a:gd name="T6" fmla="*/ 140 w 447"/>
                  <a:gd name="T7" fmla="*/ 30 h 448"/>
                  <a:gd name="T8" fmla="*/ 128 w 447"/>
                  <a:gd name="T9" fmla="*/ 22 h 448"/>
                  <a:gd name="T10" fmla="*/ 66 w 447"/>
                  <a:gd name="T11" fmla="*/ 66 h 448"/>
                  <a:gd name="T12" fmla="*/ 60 w 447"/>
                  <a:gd name="T13" fmla="*/ 76 h 448"/>
                  <a:gd name="T14" fmla="*/ 74 w 447"/>
                  <a:gd name="T15" fmla="*/ 102 h 448"/>
                  <a:gd name="T16" fmla="*/ 46 w 447"/>
                  <a:gd name="T17" fmla="*/ 144 h 448"/>
                  <a:gd name="T18" fmla="*/ 26 w 447"/>
                  <a:gd name="T19" fmla="*/ 140 h 448"/>
                  <a:gd name="T20" fmla="*/ 16 w 447"/>
                  <a:gd name="T21" fmla="*/ 144 h 448"/>
                  <a:gd name="T22" fmla="*/ 0 w 447"/>
                  <a:gd name="T23" fmla="*/ 218 h 448"/>
                  <a:gd name="T24" fmla="*/ 2 w 447"/>
                  <a:gd name="T25" fmla="*/ 230 h 448"/>
                  <a:gd name="T26" fmla="*/ 26 w 447"/>
                  <a:gd name="T27" fmla="*/ 240 h 448"/>
                  <a:gd name="T28" fmla="*/ 30 w 447"/>
                  <a:gd name="T29" fmla="*/ 270 h 448"/>
                  <a:gd name="T30" fmla="*/ 28 w 447"/>
                  <a:gd name="T31" fmla="*/ 306 h 448"/>
                  <a:gd name="T32" fmla="*/ 22 w 447"/>
                  <a:gd name="T33" fmla="*/ 316 h 448"/>
                  <a:gd name="T34" fmla="*/ 64 w 447"/>
                  <a:gd name="T35" fmla="*/ 382 h 448"/>
                  <a:gd name="T36" fmla="*/ 76 w 447"/>
                  <a:gd name="T37" fmla="*/ 388 h 448"/>
                  <a:gd name="T38" fmla="*/ 86 w 447"/>
                  <a:gd name="T39" fmla="*/ 384 h 448"/>
                  <a:gd name="T40" fmla="*/ 118 w 447"/>
                  <a:gd name="T41" fmla="*/ 394 h 448"/>
                  <a:gd name="T42" fmla="*/ 140 w 447"/>
                  <a:gd name="T43" fmla="*/ 418 h 448"/>
                  <a:gd name="T44" fmla="*/ 148 w 447"/>
                  <a:gd name="T45" fmla="*/ 434 h 448"/>
                  <a:gd name="T46" fmla="*/ 218 w 447"/>
                  <a:gd name="T47" fmla="*/ 448 h 448"/>
                  <a:gd name="T48" fmla="*/ 226 w 447"/>
                  <a:gd name="T49" fmla="*/ 446 h 448"/>
                  <a:gd name="T50" fmla="*/ 236 w 447"/>
                  <a:gd name="T51" fmla="*/ 434 h 448"/>
                  <a:gd name="T52" fmla="*/ 254 w 447"/>
                  <a:gd name="T53" fmla="*/ 420 h 448"/>
                  <a:gd name="T54" fmla="*/ 298 w 447"/>
                  <a:gd name="T55" fmla="*/ 408 h 448"/>
                  <a:gd name="T56" fmla="*/ 312 w 447"/>
                  <a:gd name="T57" fmla="*/ 422 h 448"/>
                  <a:gd name="T58" fmla="*/ 322 w 447"/>
                  <a:gd name="T59" fmla="*/ 424 h 448"/>
                  <a:gd name="T60" fmla="*/ 380 w 447"/>
                  <a:gd name="T61" fmla="*/ 382 h 448"/>
                  <a:gd name="T62" fmla="*/ 386 w 447"/>
                  <a:gd name="T63" fmla="*/ 366 h 448"/>
                  <a:gd name="T64" fmla="*/ 374 w 447"/>
                  <a:gd name="T65" fmla="*/ 346 h 448"/>
                  <a:gd name="T66" fmla="*/ 418 w 447"/>
                  <a:gd name="T67" fmla="*/ 306 h 448"/>
                  <a:gd name="T68" fmla="*/ 420 w 447"/>
                  <a:gd name="T69" fmla="*/ 306 h 448"/>
                  <a:gd name="T70" fmla="*/ 435 w 447"/>
                  <a:gd name="T71" fmla="*/ 298 h 448"/>
                  <a:gd name="T72" fmla="*/ 447 w 447"/>
                  <a:gd name="T73" fmla="*/ 228 h 448"/>
                  <a:gd name="T74" fmla="*/ 447 w 447"/>
                  <a:gd name="T75" fmla="*/ 220 h 448"/>
                  <a:gd name="T76" fmla="*/ 435 w 447"/>
                  <a:gd name="T77" fmla="*/ 210 h 448"/>
                  <a:gd name="T78" fmla="*/ 406 w 447"/>
                  <a:gd name="T79" fmla="*/ 182 h 448"/>
                  <a:gd name="T80" fmla="*/ 418 w 447"/>
                  <a:gd name="T81" fmla="*/ 142 h 448"/>
                  <a:gd name="T82" fmla="*/ 424 w 447"/>
                  <a:gd name="T83" fmla="*/ 126 h 448"/>
                  <a:gd name="T84" fmla="*/ 382 w 447"/>
                  <a:gd name="T85" fmla="*/ 66 h 448"/>
                  <a:gd name="T86" fmla="*/ 370 w 447"/>
                  <a:gd name="T87" fmla="*/ 60 h 448"/>
                  <a:gd name="T88" fmla="*/ 338 w 447"/>
                  <a:gd name="T89" fmla="*/ 80 h 448"/>
                  <a:gd name="T90" fmla="*/ 302 w 447"/>
                  <a:gd name="T91" fmla="*/ 56 h 448"/>
                  <a:gd name="T92" fmla="*/ 306 w 447"/>
                  <a:gd name="T93" fmla="*/ 24 h 448"/>
                  <a:gd name="T94" fmla="*/ 294 w 447"/>
                  <a:gd name="T95" fmla="*/ 12 h 448"/>
                  <a:gd name="T96" fmla="*/ 228 w 447"/>
                  <a:gd name="T9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7" h="448">
                    <a:moveTo>
                      <a:pt x="226" y="0"/>
                    </a:moveTo>
                    <a:lnTo>
                      <a:pt x="226" y="0"/>
                    </a:lnTo>
                    <a:lnTo>
                      <a:pt x="220" y="2"/>
                    </a:lnTo>
                    <a:lnTo>
                      <a:pt x="216" y="4"/>
                    </a:lnTo>
                    <a:lnTo>
                      <a:pt x="212" y="8"/>
                    </a:lnTo>
                    <a:lnTo>
                      <a:pt x="210" y="12"/>
                    </a:lnTo>
                    <a:lnTo>
                      <a:pt x="206" y="38"/>
                    </a:lnTo>
                    <a:lnTo>
                      <a:pt x="206" y="38"/>
                    </a:lnTo>
                    <a:lnTo>
                      <a:pt x="180" y="42"/>
                    </a:lnTo>
                    <a:lnTo>
                      <a:pt x="156" y="48"/>
                    </a:lnTo>
                    <a:lnTo>
                      <a:pt x="140" y="30"/>
                    </a:lnTo>
                    <a:lnTo>
                      <a:pt x="140" y="30"/>
                    </a:lnTo>
                    <a:lnTo>
                      <a:pt x="136" y="24"/>
                    </a:lnTo>
                    <a:lnTo>
                      <a:pt x="128" y="22"/>
                    </a:lnTo>
                    <a:lnTo>
                      <a:pt x="128" y="22"/>
                    </a:lnTo>
                    <a:lnTo>
                      <a:pt x="124" y="24"/>
                    </a:lnTo>
                    <a:lnTo>
                      <a:pt x="120" y="26"/>
                    </a:lnTo>
                    <a:lnTo>
                      <a:pt x="66" y="66"/>
                    </a:lnTo>
                    <a:lnTo>
                      <a:pt x="66" y="66"/>
                    </a:lnTo>
                    <a:lnTo>
                      <a:pt x="62" y="70"/>
                    </a:lnTo>
                    <a:lnTo>
                      <a:pt x="60" y="76"/>
                    </a:lnTo>
                    <a:lnTo>
                      <a:pt x="60" y="82"/>
                    </a:lnTo>
                    <a:lnTo>
                      <a:pt x="62" y="86"/>
                    </a:lnTo>
                    <a:lnTo>
                      <a:pt x="74" y="102"/>
                    </a:lnTo>
                    <a:lnTo>
                      <a:pt x="74" y="102"/>
                    </a:lnTo>
                    <a:lnTo>
                      <a:pt x="58" y="122"/>
                    </a:lnTo>
                    <a:lnTo>
                      <a:pt x="46" y="144"/>
                    </a:lnTo>
                    <a:lnTo>
                      <a:pt x="28" y="140"/>
                    </a:lnTo>
                    <a:lnTo>
                      <a:pt x="28" y="140"/>
                    </a:lnTo>
                    <a:lnTo>
                      <a:pt x="26" y="140"/>
                    </a:lnTo>
                    <a:lnTo>
                      <a:pt x="26" y="140"/>
                    </a:lnTo>
                    <a:lnTo>
                      <a:pt x="20" y="142"/>
                    </a:lnTo>
                    <a:lnTo>
                      <a:pt x="16" y="144"/>
                    </a:lnTo>
                    <a:lnTo>
                      <a:pt x="12" y="148"/>
                    </a:lnTo>
                    <a:lnTo>
                      <a:pt x="10" y="154"/>
                    </a:lnTo>
                    <a:lnTo>
                      <a:pt x="0" y="218"/>
                    </a:lnTo>
                    <a:lnTo>
                      <a:pt x="0" y="218"/>
                    </a:lnTo>
                    <a:lnTo>
                      <a:pt x="0" y="224"/>
                    </a:lnTo>
                    <a:lnTo>
                      <a:pt x="2" y="230"/>
                    </a:lnTo>
                    <a:lnTo>
                      <a:pt x="6" y="234"/>
                    </a:lnTo>
                    <a:lnTo>
                      <a:pt x="12" y="236"/>
                    </a:lnTo>
                    <a:lnTo>
                      <a:pt x="26" y="240"/>
                    </a:lnTo>
                    <a:lnTo>
                      <a:pt x="26" y="240"/>
                    </a:lnTo>
                    <a:lnTo>
                      <a:pt x="28" y="254"/>
                    </a:lnTo>
                    <a:lnTo>
                      <a:pt x="30" y="270"/>
                    </a:lnTo>
                    <a:lnTo>
                      <a:pt x="34" y="284"/>
                    </a:lnTo>
                    <a:lnTo>
                      <a:pt x="38" y="300"/>
                    </a:lnTo>
                    <a:lnTo>
                      <a:pt x="28" y="306"/>
                    </a:lnTo>
                    <a:lnTo>
                      <a:pt x="28" y="306"/>
                    </a:lnTo>
                    <a:lnTo>
                      <a:pt x="24" y="310"/>
                    </a:lnTo>
                    <a:lnTo>
                      <a:pt x="22" y="316"/>
                    </a:lnTo>
                    <a:lnTo>
                      <a:pt x="22" y="322"/>
                    </a:lnTo>
                    <a:lnTo>
                      <a:pt x="26" y="328"/>
                    </a:lnTo>
                    <a:lnTo>
                      <a:pt x="64" y="382"/>
                    </a:lnTo>
                    <a:lnTo>
                      <a:pt x="64" y="382"/>
                    </a:lnTo>
                    <a:lnTo>
                      <a:pt x="70" y="386"/>
                    </a:lnTo>
                    <a:lnTo>
                      <a:pt x="76" y="388"/>
                    </a:lnTo>
                    <a:lnTo>
                      <a:pt x="76" y="388"/>
                    </a:lnTo>
                    <a:lnTo>
                      <a:pt x="82" y="386"/>
                    </a:lnTo>
                    <a:lnTo>
                      <a:pt x="86" y="384"/>
                    </a:lnTo>
                    <a:lnTo>
                      <a:pt x="94" y="378"/>
                    </a:lnTo>
                    <a:lnTo>
                      <a:pt x="94" y="378"/>
                    </a:lnTo>
                    <a:lnTo>
                      <a:pt x="118" y="394"/>
                    </a:lnTo>
                    <a:lnTo>
                      <a:pt x="142" y="408"/>
                    </a:lnTo>
                    <a:lnTo>
                      <a:pt x="140" y="418"/>
                    </a:lnTo>
                    <a:lnTo>
                      <a:pt x="140" y="418"/>
                    </a:lnTo>
                    <a:lnTo>
                      <a:pt x="140" y="424"/>
                    </a:lnTo>
                    <a:lnTo>
                      <a:pt x="144" y="430"/>
                    </a:lnTo>
                    <a:lnTo>
                      <a:pt x="148" y="434"/>
                    </a:lnTo>
                    <a:lnTo>
                      <a:pt x="154" y="436"/>
                    </a:lnTo>
                    <a:lnTo>
                      <a:pt x="218" y="448"/>
                    </a:lnTo>
                    <a:lnTo>
                      <a:pt x="218" y="448"/>
                    </a:lnTo>
                    <a:lnTo>
                      <a:pt x="220" y="448"/>
                    </a:lnTo>
                    <a:lnTo>
                      <a:pt x="220" y="448"/>
                    </a:lnTo>
                    <a:lnTo>
                      <a:pt x="226" y="446"/>
                    </a:lnTo>
                    <a:lnTo>
                      <a:pt x="230" y="444"/>
                    </a:lnTo>
                    <a:lnTo>
                      <a:pt x="234" y="440"/>
                    </a:lnTo>
                    <a:lnTo>
                      <a:pt x="236" y="434"/>
                    </a:lnTo>
                    <a:lnTo>
                      <a:pt x="238" y="422"/>
                    </a:lnTo>
                    <a:lnTo>
                      <a:pt x="238" y="422"/>
                    </a:lnTo>
                    <a:lnTo>
                      <a:pt x="254" y="420"/>
                    </a:lnTo>
                    <a:lnTo>
                      <a:pt x="268" y="418"/>
                    </a:lnTo>
                    <a:lnTo>
                      <a:pt x="282" y="412"/>
                    </a:lnTo>
                    <a:lnTo>
                      <a:pt x="298" y="408"/>
                    </a:lnTo>
                    <a:lnTo>
                      <a:pt x="306" y="418"/>
                    </a:lnTo>
                    <a:lnTo>
                      <a:pt x="306" y="418"/>
                    </a:lnTo>
                    <a:lnTo>
                      <a:pt x="312" y="422"/>
                    </a:lnTo>
                    <a:lnTo>
                      <a:pt x="318" y="424"/>
                    </a:lnTo>
                    <a:lnTo>
                      <a:pt x="318" y="424"/>
                    </a:lnTo>
                    <a:lnTo>
                      <a:pt x="322" y="424"/>
                    </a:lnTo>
                    <a:lnTo>
                      <a:pt x="328" y="422"/>
                    </a:lnTo>
                    <a:lnTo>
                      <a:pt x="380" y="382"/>
                    </a:lnTo>
                    <a:lnTo>
                      <a:pt x="380" y="382"/>
                    </a:lnTo>
                    <a:lnTo>
                      <a:pt x="384" y="378"/>
                    </a:lnTo>
                    <a:lnTo>
                      <a:pt x="386" y="372"/>
                    </a:lnTo>
                    <a:lnTo>
                      <a:pt x="386" y="366"/>
                    </a:lnTo>
                    <a:lnTo>
                      <a:pt x="384" y="360"/>
                    </a:lnTo>
                    <a:lnTo>
                      <a:pt x="374" y="346"/>
                    </a:lnTo>
                    <a:lnTo>
                      <a:pt x="374" y="346"/>
                    </a:lnTo>
                    <a:lnTo>
                      <a:pt x="388" y="326"/>
                    </a:lnTo>
                    <a:lnTo>
                      <a:pt x="398" y="302"/>
                    </a:lnTo>
                    <a:lnTo>
                      <a:pt x="418" y="306"/>
                    </a:lnTo>
                    <a:lnTo>
                      <a:pt x="418" y="306"/>
                    </a:lnTo>
                    <a:lnTo>
                      <a:pt x="420" y="306"/>
                    </a:lnTo>
                    <a:lnTo>
                      <a:pt x="420" y="306"/>
                    </a:lnTo>
                    <a:lnTo>
                      <a:pt x="426" y="306"/>
                    </a:lnTo>
                    <a:lnTo>
                      <a:pt x="430" y="302"/>
                    </a:lnTo>
                    <a:lnTo>
                      <a:pt x="435" y="298"/>
                    </a:lnTo>
                    <a:lnTo>
                      <a:pt x="437" y="294"/>
                    </a:lnTo>
                    <a:lnTo>
                      <a:pt x="447" y="228"/>
                    </a:lnTo>
                    <a:lnTo>
                      <a:pt x="447" y="228"/>
                    </a:lnTo>
                    <a:lnTo>
                      <a:pt x="447" y="226"/>
                    </a:lnTo>
                    <a:lnTo>
                      <a:pt x="447" y="226"/>
                    </a:lnTo>
                    <a:lnTo>
                      <a:pt x="447" y="220"/>
                    </a:lnTo>
                    <a:lnTo>
                      <a:pt x="443" y="216"/>
                    </a:lnTo>
                    <a:lnTo>
                      <a:pt x="439" y="212"/>
                    </a:lnTo>
                    <a:lnTo>
                      <a:pt x="435" y="210"/>
                    </a:lnTo>
                    <a:lnTo>
                      <a:pt x="410" y="206"/>
                    </a:lnTo>
                    <a:lnTo>
                      <a:pt x="410" y="206"/>
                    </a:lnTo>
                    <a:lnTo>
                      <a:pt x="406" y="182"/>
                    </a:lnTo>
                    <a:lnTo>
                      <a:pt x="396" y="156"/>
                    </a:lnTo>
                    <a:lnTo>
                      <a:pt x="418" y="142"/>
                    </a:lnTo>
                    <a:lnTo>
                      <a:pt x="418" y="142"/>
                    </a:lnTo>
                    <a:lnTo>
                      <a:pt x="422" y="136"/>
                    </a:lnTo>
                    <a:lnTo>
                      <a:pt x="424" y="132"/>
                    </a:lnTo>
                    <a:lnTo>
                      <a:pt x="424" y="126"/>
                    </a:lnTo>
                    <a:lnTo>
                      <a:pt x="420" y="120"/>
                    </a:lnTo>
                    <a:lnTo>
                      <a:pt x="382" y="66"/>
                    </a:lnTo>
                    <a:lnTo>
                      <a:pt x="382" y="66"/>
                    </a:lnTo>
                    <a:lnTo>
                      <a:pt x="376" y="62"/>
                    </a:lnTo>
                    <a:lnTo>
                      <a:pt x="370" y="60"/>
                    </a:lnTo>
                    <a:lnTo>
                      <a:pt x="370" y="60"/>
                    </a:lnTo>
                    <a:lnTo>
                      <a:pt x="364" y="60"/>
                    </a:lnTo>
                    <a:lnTo>
                      <a:pt x="360" y="64"/>
                    </a:lnTo>
                    <a:lnTo>
                      <a:pt x="338" y="80"/>
                    </a:lnTo>
                    <a:lnTo>
                      <a:pt x="338" y="80"/>
                    </a:lnTo>
                    <a:lnTo>
                      <a:pt x="320" y="66"/>
                    </a:lnTo>
                    <a:lnTo>
                      <a:pt x="302" y="56"/>
                    </a:lnTo>
                    <a:lnTo>
                      <a:pt x="306" y="30"/>
                    </a:lnTo>
                    <a:lnTo>
                      <a:pt x="306" y="30"/>
                    </a:lnTo>
                    <a:lnTo>
                      <a:pt x="306" y="24"/>
                    </a:lnTo>
                    <a:lnTo>
                      <a:pt x="304" y="18"/>
                    </a:lnTo>
                    <a:lnTo>
                      <a:pt x="298" y="14"/>
                    </a:lnTo>
                    <a:lnTo>
                      <a:pt x="294" y="12"/>
                    </a:lnTo>
                    <a:lnTo>
                      <a:pt x="286" y="10"/>
                    </a:lnTo>
                    <a:lnTo>
                      <a:pt x="228" y="0"/>
                    </a:lnTo>
                    <a:lnTo>
                      <a:pt x="228" y="0"/>
                    </a:lnTo>
                    <a:lnTo>
                      <a:pt x="2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6" name="Freeform 317"/>
              <p:cNvSpPr>
                <a:spLocks noEditPoints="1"/>
              </p:cNvSpPr>
              <p:nvPr/>
            </p:nvSpPr>
            <p:spPr bwMode="auto">
              <a:xfrm>
                <a:off x="10650982" y="2863227"/>
                <a:ext cx="278801" cy="281204"/>
              </a:xfrm>
              <a:custGeom>
                <a:avLst/>
                <a:gdLst>
                  <a:gd name="T0" fmla="*/ 104 w 232"/>
                  <a:gd name="T1" fmla="*/ 174 h 234"/>
                  <a:gd name="T2" fmla="*/ 80 w 232"/>
                  <a:gd name="T3" fmla="*/ 164 h 234"/>
                  <a:gd name="T4" fmla="*/ 64 w 232"/>
                  <a:gd name="T5" fmla="*/ 146 h 234"/>
                  <a:gd name="T6" fmla="*/ 58 w 232"/>
                  <a:gd name="T7" fmla="*/ 126 h 234"/>
                  <a:gd name="T8" fmla="*/ 64 w 232"/>
                  <a:gd name="T9" fmla="*/ 96 h 234"/>
                  <a:gd name="T10" fmla="*/ 84 w 232"/>
                  <a:gd name="T11" fmla="*/ 72 h 234"/>
                  <a:gd name="T12" fmla="*/ 104 w 232"/>
                  <a:gd name="T13" fmla="*/ 66 h 234"/>
                  <a:gd name="T14" fmla="*/ 120 w 232"/>
                  <a:gd name="T15" fmla="*/ 66 h 234"/>
                  <a:gd name="T16" fmla="*/ 144 w 232"/>
                  <a:gd name="T17" fmla="*/ 76 h 234"/>
                  <a:gd name="T18" fmla="*/ 160 w 232"/>
                  <a:gd name="T19" fmla="*/ 94 h 234"/>
                  <a:gd name="T20" fmla="*/ 166 w 232"/>
                  <a:gd name="T21" fmla="*/ 114 h 234"/>
                  <a:gd name="T22" fmla="*/ 162 w 232"/>
                  <a:gd name="T23" fmla="*/ 144 h 234"/>
                  <a:gd name="T24" fmla="*/ 140 w 232"/>
                  <a:gd name="T25" fmla="*/ 168 h 234"/>
                  <a:gd name="T26" fmla="*/ 122 w 232"/>
                  <a:gd name="T27" fmla="*/ 174 h 234"/>
                  <a:gd name="T28" fmla="*/ 98 w 232"/>
                  <a:gd name="T29" fmla="*/ 0 h 234"/>
                  <a:gd name="T30" fmla="*/ 62 w 232"/>
                  <a:gd name="T31" fmla="*/ 12 h 234"/>
                  <a:gd name="T32" fmla="*/ 56 w 232"/>
                  <a:gd name="T33" fmla="*/ 20 h 234"/>
                  <a:gd name="T34" fmla="*/ 60 w 232"/>
                  <a:gd name="T35" fmla="*/ 32 h 234"/>
                  <a:gd name="T36" fmla="*/ 32 w 232"/>
                  <a:gd name="T37" fmla="*/ 44 h 234"/>
                  <a:gd name="T38" fmla="*/ 28 w 232"/>
                  <a:gd name="T39" fmla="*/ 44 h 234"/>
                  <a:gd name="T40" fmla="*/ 4 w 232"/>
                  <a:gd name="T41" fmla="*/ 80 h 234"/>
                  <a:gd name="T42" fmla="*/ 4 w 232"/>
                  <a:gd name="T43" fmla="*/ 86 h 234"/>
                  <a:gd name="T44" fmla="*/ 14 w 232"/>
                  <a:gd name="T45" fmla="*/ 94 h 234"/>
                  <a:gd name="T46" fmla="*/ 10 w 232"/>
                  <a:gd name="T47" fmla="*/ 126 h 234"/>
                  <a:gd name="T48" fmla="*/ 2 w 232"/>
                  <a:gd name="T49" fmla="*/ 130 h 234"/>
                  <a:gd name="T50" fmla="*/ 0 w 232"/>
                  <a:gd name="T51" fmla="*/ 138 h 234"/>
                  <a:gd name="T52" fmla="*/ 14 w 232"/>
                  <a:gd name="T53" fmla="*/ 176 h 234"/>
                  <a:gd name="T54" fmla="*/ 22 w 232"/>
                  <a:gd name="T55" fmla="*/ 176 h 234"/>
                  <a:gd name="T56" fmla="*/ 36 w 232"/>
                  <a:gd name="T57" fmla="*/ 186 h 234"/>
                  <a:gd name="T58" fmla="*/ 44 w 232"/>
                  <a:gd name="T59" fmla="*/ 202 h 234"/>
                  <a:gd name="T60" fmla="*/ 44 w 232"/>
                  <a:gd name="T61" fmla="*/ 210 h 234"/>
                  <a:gd name="T62" fmla="*/ 78 w 232"/>
                  <a:gd name="T63" fmla="*/ 228 h 234"/>
                  <a:gd name="T64" fmla="*/ 86 w 232"/>
                  <a:gd name="T65" fmla="*/ 228 h 234"/>
                  <a:gd name="T66" fmla="*/ 92 w 232"/>
                  <a:gd name="T67" fmla="*/ 220 h 234"/>
                  <a:gd name="T68" fmla="*/ 124 w 232"/>
                  <a:gd name="T69" fmla="*/ 222 h 234"/>
                  <a:gd name="T70" fmla="*/ 130 w 232"/>
                  <a:gd name="T71" fmla="*/ 232 h 234"/>
                  <a:gd name="T72" fmla="*/ 136 w 232"/>
                  <a:gd name="T73" fmla="*/ 234 h 234"/>
                  <a:gd name="T74" fmla="*/ 172 w 232"/>
                  <a:gd name="T75" fmla="*/ 220 h 234"/>
                  <a:gd name="T76" fmla="*/ 174 w 232"/>
                  <a:gd name="T77" fmla="*/ 212 h 234"/>
                  <a:gd name="T78" fmla="*/ 182 w 232"/>
                  <a:gd name="T79" fmla="*/ 194 h 234"/>
                  <a:gd name="T80" fmla="*/ 200 w 232"/>
                  <a:gd name="T81" fmla="*/ 190 h 234"/>
                  <a:gd name="T82" fmla="*/ 208 w 232"/>
                  <a:gd name="T83" fmla="*/ 190 h 234"/>
                  <a:gd name="T84" fmla="*/ 228 w 232"/>
                  <a:gd name="T85" fmla="*/ 156 h 234"/>
                  <a:gd name="T86" fmla="*/ 226 w 232"/>
                  <a:gd name="T87" fmla="*/ 146 h 234"/>
                  <a:gd name="T88" fmla="*/ 212 w 232"/>
                  <a:gd name="T89" fmla="*/ 138 h 234"/>
                  <a:gd name="T90" fmla="*/ 226 w 232"/>
                  <a:gd name="T91" fmla="*/ 106 h 234"/>
                  <a:gd name="T92" fmla="*/ 232 w 232"/>
                  <a:gd name="T93" fmla="*/ 102 h 234"/>
                  <a:gd name="T94" fmla="*/ 220 w 232"/>
                  <a:gd name="T95" fmla="*/ 64 h 234"/>
                  <a:gd name="T96" fmla="*/ 212 w 232"/>
                  <a:gd name="T97" fmla="*/ 58 h 234"/>
                  <a:gd name="T98" fmla="*/ 196 w 232"/>
                  <a:gd name="T99" fmla="*/ 62 h 234"/>
                  <a:gd name="T100" fmla="*/ 182 w 232"/>
                  <a:gd name="T101" fmla="*/ 46 h 234"/>
                  <a:gd name="T102" fmla="*/ 190 w 232"/>
                  <a:gd name="T103" fmla="*/ 30 h 234"/>
                  <a:gd name="T104" fmla="*/ 184 w 232"/>
                  <a:gd name="T105" fmla="*/ 22 h 234"/>
                  <a:gd name="T106" fmla="*/ 150 w 232"/>
                  <a:gd name="T107" fmla="*/ 4 h 234"/>
                  <a:gd name="T108" fmla="*/ 142 w 232"/>
                  <a:gd name="T109" fmla="*/ 10 h 234"/>
                  <a:gd name="T110" fmla="*/ 124 w 232"/>
                  <a:gd name="T111" fmla="*/ 20 h 234"/>
                  <a:gd name="T112" fmla="*/ 110 w 232"/>
                  <a:gd name="T113" fmla="*/ 18 h 234"/>
                  <a:gd name="T114" fmla="*/ 102 w 232"/>
                  <a:gd name="T115" fmla="*/ 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34">
                    <a:moveTo>
                      <a:pt x="112" y="174"/>
                    </a:moveTo>
                    <a:lnTo>
                      <a:pt x="112" y="174"/>
                    </a:lnTo>
                    <a:lnTo>
                      <a:pt x="104" y="174"/>
                    </a:lnTo>
                    <a:lnTo>
                      <a:pt x="96" y="172"/>
                    </a:lnTo>
                    <a:lnTo>
                      <a:pt x="88" y="170"/>
                    </a:lnTo>
                    <a:lnTo>
                      <a:pt x="80" y="164"/>
                    </a:lnTo>
                    <a:lnTo>
                      <a:pt x="74" y="160"/>
                    </a:lnTo>
                    <a:lnTo>
                      <a:pt x="68" y="154"/>
                    </a:lnTo>
                    <a:lnTo>
                      <a:pt x="64" y="146"/>
                    </a:lnTo>
                    <a:lnTo>
                      <a:pt x="60" y="138"/>
                    </a:lnTo>
                    <a:lnTo>
                      <a:pt x="60" y="138"/>
                    </a:lnTo>
                    <a:lnTo>
                      <a:pt x="58" y="126"/>
                    </a:lnTo>
                    <a:lnTo>
                      <a:pt x="58" y="116"/>
                    </a:lnTo>
                    <a:lnTo>
                      <a:pt x="60" y="106"/>
                    </a:lnTo>
                    <a:lnTo>
                      <a:pt x="64" y="96"/>
                    </a:lnTo>
                    <a:lnTo>
                      <a:pt x="68" y="88"/>
                    </a:lnTo>
                    <a:lnTo>
                      <a:pt x="76" y="80"/>
                    </a:lnTo>
                    <a:lnTo>
                      <a:pt x="84" y="72"/>
                    </a:lnTo>
                    <a:lnTo>
                      <a:pt x="94" y="68"/>
                    </a:lnTo>
                    <a:lnTo>
                      <a:pt x="94" y="68"/>
                    </a:lnTo>
                    <a:lnTo>
                      <a:pt x="104" y="66"/>
                    </a:lnTo>
                    <a:lnTo>
                      <a:pt x="112" y="66"/>
                    </a:lnTo>
                    <a:lnTo>
                      <a:pt x="112" y="66"/>
                    </a:lnTo>
                    <a:lnTo>
                      <a:pt x="120" y="66"/>
                    </a:lnTo>
                    <a:lnTo>
                      <a:pt x="130" y="68"/>
                    </a:lnTo>
                    <a:lnTo>
                      <a:pt x="136" y="72"/>
                    </a:lnTo>
                    <a:lnTo>
                      <a:pt x="144" y="76"/>
                    </a:lnTo>
                    <a:lnTo>
                      <a:pt x="150" y="80"/>
                    </a:lnTo>
                    <a:lnTo>
                      <a:pt x="156" y="88"/>
                    </a:lnTo>
                    <a:lnTo>
                      <a:pt x="160" y="94"/>
                    </a:lnTo>
                    <a:lnTo>
                      <a:pt x="164" y="102"/>
                    </a:lnTo>
                    <a:lnTo>
                      <a:pt x="164" y="102"/>
                    </a:lnTo>
                    <a:lnTo>
                      <a:pt x="166" y="114"/>
                    </a:lnTo>
                    <a:lnTo>
                      <a:pt x="168" y="124"/>
                    </a:lnTo>
                    <a:lnTo>
                      <a:pt x="166" y="134"/>
                    </a:lnTo>
                    <a:lnTo>
                      <a:pt x="162" y="144"/>
                    </a:lnTo>
                    <a:lnTo>
                      <a:pt x="156" y="154"/>
                    </a:lnTo>
                    <a:lnTo>
                      <a:pt x="148" y="162"/>
                    </a:lnTo>
                    <a:lnTo>
                      <a:pt x="140" y="168"/>
                    </a:lnTo>
                    <a:lnTo>
                      <a:pt x="130" y="172"/>
                    </a:lnTo>
                    <a:lnTo>
                      <a:pt x="130" y="172"/>
                    </a:lnTo>
                    <a:lnTo>
                      <a:pt x="122" y="174"/>
                    </a:lnTo>
                    <a:lnTo>
                      <a:pt x="112" y="174"/>
                    </a:lnTo>
                    <a:close/>
                    <a:moveTo>
                      <a:pt x="98" y="0"/>
                    </a:move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8" y="44"/>
                    </a:lnTo>
                    <a:lnTo>
                      <a:pt x="24" y="44"/>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4" y="176"/>
                    </a:lnTo>
                    <a:lnTo>
                      <a:pt x="18"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2" y="230"/>
                    </a:lnTo>
                    <a:lnTo>
                      <a:pt x="82" y="230"/>
                    </a:lnTo>
                    <a:lnTo>
                      <a:pt x="86" y="228"/>
                    </a:lnTo>
                    <a:lnTo>
                      <a:pt x="88" y="226"/>
                    </a:lnTo>
                    <a:lnTo>
                      <a:pt x="92" y="220"/>
                    </a:lnTo>
                    <a:lnTo>
                      <a:pt x="92" y="220"/>
                    </a:lnTo>
                    <a:lnTo>
                      <a:pt x="112" y="222"/>
                    </a:lnTo>
                    <a:lnTo>
                      <a:pt x="112" y="222"/>
                    </a:lnTo>
                    <a:lnTo>
                      <a:pt x="124" y="222"/>
                    </a:lnTo>
                    <a:lnTo>
                      <a:pt x="126" y="228"/>
                    </a:lnTo>
                    <a:lnTo>
                      <a:pt x="126" y="228"/>
                    </a:lnTo>
                    <a:lnTo>
                      <a:pt x="130" y="232"/>
                    </a:lnTo>
                    <a:lnTo>
                      <a:pt x="134" y="234"/>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4" y="190"/>
                    </a:lnTo>
                    <a:lnTo>
                      <a:pt x="208" y="190"/>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20" y="64"/>
                    </a:lnTo>
                    <a:lnTo>
                      <a:pt x="220" y="64"/>
                    </a:lnTo>
                    <a:lnTo>
                      <a:pt x="218" y="60"/>
                    </a:lnTo>
                    <a:lnTo>
                      <a:pt x="212" y="58"/>
                    </a:lnTo>
                    <a:lnTo>
                      <a:pt x="212"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50" y="4"/>
                    </a:lnTo>
                    <a:lnTo>
                      <a:pt x="146" y="6"/>
                    </a:lnTo>
                    <a:lnTo>
                      <a:pt x="142" y="10"/>
                    </a:lnTo>
                    <a:lnTo>
                      <a:pt x="136" y="22"/>
                    </a:lnTo>
                    <a:lnTo>
                      <a:pt x="136" y="22"/>
                    </a:lnTo>
                    <a:lnTo>
                      <a:pt x="124" y="20"/>
                    </a:lnTo>
                    <a:lnTo>
                      <a:pt x="112" y="18"/>
                    </a:lnTo>
                    <a:lnTo>
                      <a:pt x="112" y="18"/>
                    </a:lnTo>
                    <a:lnTo>
                      <a:pt x="110" y="18"/>
                    </a:lnTo>
                    <a:lnTo>
                      <a:pt x="106" y="6"/>
                    </a:lnTo>
                    <a:lnTo>
                      <a:pt x="106" y="6"/>
                    </a:lnTo>
                    <a:lnTo>
                      <a:pt x="102" y="2"/>
                    </a:lnTo>
                    <a:lnTo>
                      <a:pt x="98" y="0"/>
                    </a:lnTo>
                    <a:close/>
                  </a:path>
                </a:pathLst>
              </a:custGeom>
              <a:solidFill>
                <a:srgbClr val="409BA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7" name="Freeform 318"/>
              <p:cNvSpPr/>
              <p:nvPr/>
            </p:nvSpPr>
            <p:spPr bwMode="auto">
              <a:xfrm>
                <a:off x="10720683" y="2942541"/>
                <a:ext cx="132190" cy="129787"/>
              </a:xfrm>
              <a:custGeom>
                <a:avLst/>
                <a:gdLst>
                  <a:gd name="T0" fmla="*/ 54 w 110"/>
                  <a:gd name="T1" fmla="*/ 108 h 108"/>
                  <a:gd name="T2" fmla="*/ 54 w 110"/>
                  <a:gd name="T3" fmla="*/ 108 h 108"/>
                  <a:gd name="T4" fmla="*/ 46 w 110"/>
                  <a:gd name="T5" fmla="*/ 108 h 108"/>
                  <a:gd name="T6" fmla="*/ 38 w 110"/>
                  <a:gd name="T7" fmla="*/ 106 h 108"/>
                  <a:gd name="T8" fmla="*/ 30 w 110"/>
                  <a:gd name="T9" fmla="*/ 104 h 108"/>
                  <a:gd name="T10" fmla="*/ 22 w 110"/>
                  <a:gd name="T11" fmla="*/ 98 h 108"/>
                  <a:gd name="T12" fmla="*/ 16 w 110"/>
                  <a:gd name="T13" fmla="*/ 94 h 108"/>
                  <a:gd name="T14" fmla="*/ 10 w 110"/>
                  <a:gd name="T15" fmla="*/ 88 h 108"/>
                  <a:gd name="T16" fmla="*/ 6 w 110"/>
                  <a:gd name="T17" fmla="*/ 80 h 108"/>
                  <a:gd name="T18" fmla="*/ 2 w 110"/>
                  <a:gd name="T19" fmla="*/ 72 h 108"/>
                  <a:gd name="T20" fmla="*/ 2 w 110"/>
                  <a:gd name="T21" fmla="*/ 72 h 108"/>
                  <a:gd name="T22" fmla="*/ 0 w 110"/>
                  <a:gd name="T23" fmla="*/ 60 h 108"/>
                  <a:gd name="T24" fmla="*/ 0 w 110"/>
                  <a:gd name="T25" fmla="*/ 50 h 108"/>
                  <a:gd name="T26" fmla="*/ 2 w 110"/>
                  <a:gd name="T27" fmla="*/ 40 h 108"/>
                  <a:gd name="T28" fmla="*/ 6 w 110"/>
                  <a:gd name="T29" fmla="*/ 30 h 108"/>
                  <a:gd name="T30" fmla="*/ 10 w 110"/>
                  <a:gd name="T31" fmla="*/ 22 h 108"/>
                  <a:gd name="T32" fmla="*/ 18 w 110"/>
                  <a:gd name="T33" fmla="*/ 14 h 108"/>
                  <a:gd name="T34" fmla="*/ 26 w 110"/>
                  <a:gd name="T35" fmla="*/ 6 h 108"/>
                  <a:gd name="T36" fmla="*/ 36 w 110"/>
                  <a:gd name="T37" fmla="*/ 2 h 108"/>
                  <a:gd name="T38" fmla="*/ 36 w 110"/>
                  <a:gd name="T39" fmla="*/ 2 h 108"/>
                  <a:gd name="T40" fmla="*/ 46 w 110"/>
                  <a:gd name="T41" fmla="*/ 0 h 108"/>
                  <a:gd name="T42" fmla="*/ 54 w 110"/>
                  <a:gd name="T43" fmla="*/ 0 h 108"/>
                  <a:gd name="T44" fmla="*/ 54 w 110"/>
                  <a:gd name="T45" fmla="*/ 0 h 108"/>
                  <a:gd name="T46" fmla="*/ 62 w 110"/>
                  <a:gd name="T47" fmla="*/ 0 h 108"/>
                  <a:gd name="T48" fmla="*/ 72 w 110"/>
                  <a:gd name="T49" fmla="*/ 2 h 108"/>
                  <a:gd name="T50" fmla="*/ 78 w 110"/>
                  <a:gd name="T51" fmla="*/ 6 h 108"/>
                  <a:gd name="T52" fmla="*/ 86 w 110"/>
                  <a:gd name="T53" fmla="*/ 10 h 108"/>
                  <a:gd name="T54" fmla="*/ 92 w 110"/>
                  <a:gd name="T55" fmla="*/ 14 h 108"/>
                  <a:gd name="T56" fmla="*/ 98 w 110"/>
                  <a:gd name="T57" fmla="*/ 22 h 108"/>
                  <a:gd name="T58" fmla="*/ 102 w 110"/>
                  <a:gd name="T59" fmla="*/ 28 h 108"/>
                  <a:gd name="T60" fmla="*/ 106 w 110"/>
                  <a:gd name="T61" fmla="*/ 36 h 108"/>
                  <a:gd name="T62" fmla="*/ 106 w 110"/>
                  <a:gd name="T63" fmla="*/ 36 h 108"/>
                  <a:gd name="T64" fmla="*/ 108 w 110"/>
                  <a:gd name="T65" fmla="*/ 48 h 108"/>
                  <a:gd name="T66" fmla="*/ 110 w 110"/>
                  <a:gd name="T67" fmla="*/ 58 h 108"/>
                  <a:gd name="T68" fmla="*/ 108 w 110"/>
                  <a:gd name="T69" fmla="*/ 68 h 108"/>
                  <a:gd name="T70" fmla="*/ 104 w 110"/>
                  <a:gd name="T71" fmla="*/ 78 h 108"/>
                  <a:gd name="T72" fmla="*/ 98 w 110"/>
                  <a:gd name="T73" fmla="*/ 88 h 108"/>
                  <a:gd name="T74" fmla="*/ 90 w 110"/>
                  <a:gd name="T75" fmla="*/ 96 h 108"/>
                  <a:gd name="T76" fmla="*/ 82 w 110"/>
                  <a:gd name="T77" fmla="*/ 102 h 108"/>
                  <a:gd name="T78" fmla="*/ 72 w 110"/>
                  <a:gd name="T79" fmla="*/ 106 h 108"/>
                  <a:gd name="T80" fmla="*/ 72 w 110"/>
                  <a:gd name="T81" fmla="*/ 106 h 108"/>
                  <a:gd name="T82" fmla="*/ 64 w 110"/>
                  <a:gd name="T83" fmla="*/ 108 h 108"/>
                  <a:gd name="T84" fmla="*/ 54 w 110"/>
                  <a:gd name="T8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0" h="108">
                    <a:moveTo>
                      <a:pt x="54" y="108"/>
                    </a:moveTo>
                    <a:lnTo>
                      <a:pt x="54" y="108"/>
                    </a:lnTo>
                    <a:lnTo>
                      <a:pt x="46" y="108"/>
                    </a:lnTo>
                    <a:lnTo>
                      <a:pt x="38" y="106"/>
                    </a:lnTo>
                    <a:lnTo>
                      <a:pt x="30" y="104"/>
                    </a:lnTo>
                    <a:lnTo>
                      <a:pt x="22" y="98"/>
                    </a:lnTo>
                    <a:lnTo>
                      <a:pt x="16" y="94"/>
                    </a:lnTo>
                    <a:lnTo>
                      <a:pt x="10" y="88"/>
                    </a:lnTo>
                    <a:lnTo>
                      <a:pt x="6" y="80"/>
                    </a:lnTo>
                    <a:lnTo>
                      <a:pt x="2" y="72"/>
                    </a:lnTo>
                    <a:lnTo>
                      <a:pt x="2" y="72"/>
                    </a:lnTo>
                    <a:lnTo>
                      <a:pt x="0" y="60"/>
                    </a:lnTo>
                    <a:lnTo>
                      <a:pt x="0" y="50"/>
                    </a:lnTo>
                    <a:lnTo>
                      <a:pt x="2" y="40"/>
                    </a:lnTo>
                    <a:lnTo>
                      <a:pt x="6" y="30"/>
                    </a:lnTo>
                    <a:lnTo>
                      <a:pt x="10" y="22"/>
                    </a:lnTo>
                    <a:lnTo>
                      <a:pt x="18" y="14"/>
                    </a:lnTo>
                    <a:lnTo>
                      <a:pt x="26" y="6"/>
                    </a:lnTo>
                    <a:lnTo>
                      <a:pt x="36" y="2"/>
                    </a:lnTo>
                    <a:lnTo>
                      <a:pt x="36" y="2"/>
                    </a:lnTo>
                    <a:lnTo>
                      <a:pt x="46" y="0"/>
                    </a:lnTo>
                    <a:lnTo>
                      <a:pt x="54" y="0"/>
                    </a:lnTo>
                    <a:lnTo>
                      <a:pt x="54" y="0"/>
                    </a:lnTo>
                    <a:lnTo>
                      <a:pt x="62" y="0"/>
                    </a:lnTo>
                    <a:lnTo>
                      <a:pt x="72" y="2"/>
                    </a:lnTo>
                    <a:lnTo>
                      <a:pt x="78" y="6"/>
                    </a:lnTo>
                    <a:lnTo>
                      <a:pt x="86" y="10"/>
                    </a:lnTo>
                    <a:lnTo>
                      <a:pt x="92" y="14"/>
                    </a:lnTo>
                    <a:lnTo>
                      <a:pt x="98" y="22"/>
                    </a:lnTo>
                    <a:lnTo>
                      <a:pt x="102" y="28"/>
                    </a:lnTo>
                    <a:lnTo>
                      <a:pt x="106" y="36"/>
                    </a:lnTo>
                    <a:lnTo>
                      <a:pt x="106" y="36"/>
                    </a:lnTo>
                    <a:lnTo>
                      <a:pt x="108" y="48"/>
                    </a:lnTo>
                    <a:lnTo>
                      <a:pt x="110" y="58"/>
                    </a:lnTo>
                    <a:lnTo>
                      <a:pt x="108" y="68"/>
                    </a:lnTo>
                    <a:lnTo>
                      <a:pt x="104" y="78"/>
                    </a:lnTo>
                    <a:lnTo>
                      <a:pt x="98" y="88"/>
                    </a:lnTo>
                    <a:lnTo>
                      <a:pt x="90" y="96"/>
                    </a:lnTo>
                    <a:lnTo>
                      <a:pt x="82" y="102"/>
                    </a:lnTo>
                    <a:lnTo>
                      <a:pt x="72" y="106"/>
                    </a:lnTo>
                    <a:lnTo>
                      <a:pt x="72" y="106"/>
                    </a:lnTo>
                    <a:lnTo>
                      <a:pt x="64" y="108"/>
                    </a:lnTo>
                    <a:lnTo>
                      <a:pt x="54"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8" name="Freeform 319"/>
              <p:cNvSpPr/>
              <p:nvPr/>
            </p:nvSpPr>
            <p:spPr bwMode="auto">
              <a:xfrm>
                <a:off x="10650982" y="2863227"/>
                <a:ext cx="278801" cy="281204"/>
              </a:xfrm>
              <a:custGeom>
                <a:avLst/>
                <a:gdLst>
                  <a:gd name="T0" fmla="*/ 94 w 232"/>
                  <a:gd name="T1" fmla="*/ 2 h 234"/>
                  <a:gd name="T2" fmla="*/ 58 w 232"/>
                  <a:gd name="T3" fmla="*/ 14 h 234"/>
                  <a:gd name="T4" fmla="*/ 56 w 232"/>
                  <a:gd name="T5" fmla="*/ 22 h 234"/>
                  <a:gd name="T6" fmla="*/ 50 w 232"/>
                  <a:gd name="T7" fmla="*/ 40 h 234"/>
                  <a:gd name="T8" fmla="*/ 32 w 232"/>
                  <a:gd name="T9" fmla="*/ 44 h 234"/>
                  <a:gd name="T10" fmla="*/ 24 w 232"/>
                  <a:gd name="T11" fmla="*/ 44 h 234"/>
                  <a:gd name="T12" fmla="*/ 4 w 232"/>
                  <a:gd name="T13" fmla="*/ 80 h 234"/>
                  <a:gd name="T14" fmla="*/ 6 w 232"/>
                  <a:gd name="T15" fmla="*/ 88 h 234"/>
                  <a:gd name="T16" fmla="*/ 14 w 232"/>
                  <a:gd name="T17" fmla="*/ 94 h 234"/>
                  <a:gd name="T18" fmla="*/ 4 w 232"/>
                  <a:gd name="T19" fmla="*/ 128 h 234"/>
                  <a:gd name="T20" fmla="*/ 0 w 232"/>
                  <a:gd name="T21" fmla="*/ 132 h 234"/>
                  <a:gd name="T22" fmla="*/ 10 w 232"/>
                  <a:gd name="T23" fmla="*/ 172 h 234"/>
                  <a:gd name="T24" fmla="*/ 18 w 232"/>
                  <a:gd name="T25" fmla="*/ 176 h 234"/>
                  <a:gd name="T26" fmla="*/ 26 w 232"/>
                  <a:gd name="T27" fmla="*/ 174 h 234"/>
                  <a:gd name="T28" fmla="*/ 46 w 232"/>
                  <a:gd name="T29" fmla="*/ 198 h 234"/>
                  <a:gd name="T30" fmla="*/ 42 w 232"/>
                  <a:gd name="T31" fmla="*/ 204 h 234"/>
                  <a:gd name="T32" fmla="*/ 46 w 232"/>
                  <a:gd name="T33" fmla="*/ 212 h 234"/>
                  <a:gd name="T34" fmla="*/ 82 w 232"/>
                  <a:gd name="T35" fmla="*/ 230 h 234"/>
                  <a:gd name="T36" fmla="*/ 88 w 232"/>
                  <a:gd name="T37" fmla="*/ 226 h 234"/>
                  <a:gd name="T38" fmla="*/ 112 w 232"/>
                  <a:gd name="T39" fmla="*/ 222 h 234"/>
                  <a:gd name="T40" fmla="*/ 126 w 232"/>
                  <a:gd name="T41" fmla="*/ 228 h 234"/>
                  <a:gd name="T42" fmla="*/ 134 w 232"/>
                  <a:gd name="T43" fmla="*/ 234 h 234"/>
                  <a:gd name="T44" fmla="*/ 170 w 232"/>
                  <a:gd name="T45" fmla="*/ 222 h 234"/>
                  <a:gd name="T46" fmla="*/ 174 w 232"/>
                  <a:gd name="T47" fmla="*/ 218 h 234"/>
                  <a:gd name="T48" fmla="*/ 172 w 232"/>
                  <a:gd name="T49" fmla="*/ 202 h 234"/>
                  <a:gd name="T50" fmla="*/ 192 w 232"/>
                  <a:gd name="T51" fmla="*/ 184 h 234"/>
                  <a:gd name="T52" fmla="*/ 204 w 232"/>
                  <a:gd name="T53" fmla="*/ 190 h 234"/>
                  <a:gd name="T54" fmla="*/ 212 w 232"/>
                  <a:gd name="T55" fmla="*/ 186 h 234"/>
                  <a:gd name="T56" fmla="*/ 228 w 232"/>
                  <a:gd name="T57" fmla="*/ 152 h 234"/>
                  <a:gd name="T58" fmla="*/ 224 w 232"/>
                  <a:gd name="T59" fmla="*/ 144 h 234"/>
                  <a:gd name="T60" fmla="*/ 214 w 232"/>
                  <a:gd name="T61" fmla="*/ 124 h 234"/>
                  <a:gd name="T62" fmla="*/ 226 w 232"/>
                  <a:gd name="T63" fmla="*/ 106 h 234"/>
                  <a:gd name="T64" fmla="*/ 232 w 232"/>
                  <a:gd name="T65" fmla="*/ 100 h 234"/>
                  <a:gd name="T66" fmla="*/ 220 w 232"/>
                  <a:gd name="T67" fmla="*/ 64 h 234"/>
                  <a:gd name="T68" fmla="*/ 212 w 232"/>
                  <a:gd name="T69" fmla="*/ 58 h 234"/>
                  <a:gd name="T70" fmla="*/ 196 w 232"/>
                  <a:gd name="T71" fmla="*/ 62 h 234"/>
                  <a:gd name="T72" fmla="*/ 188 w 232"/>
                  <a:gd name="T73" fmla="*/ 32 h 234"/>
                  <a:gd name="T74" fmla="*/ 188 w 232"/>
                  <a:gd name="T75" fmla="*/ 26 h 234"/>
                  <a:gd name="T76" fmla="*/ 154 w 232"/>
                  <a:gd name="T77" fmla="*/ 6 h 234"/>
                  <a:gd name="T78" fmla="*/ 150 w 232"/>
                  <a:gd name="T79" fmla="*/ 4 h 234"/>
                  <a:gd name="T80" fmla="*/ 136 w 232"/>
                  <a:gd name="T81" fmla="*/ 22 h 234"/>
                  <a:gd name="T82" fmla="*/ 112 w 232"/>
                  <a:gd name="T83" fmla="*/ 18 h 234"/>
                  <a:gd name="T84" fmla="*/ 106 w 232"/>
                  <a:gd name="T85" fmla="*/ 6 h 234"/>
                  <a:gd name="T86" fmla="*/ 98 w 232"/>
                  <a:gd name="T8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2" h="234">
                    <a:moveTo>
                      <a:pt x="98" y="0"/>
                    </a:move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8" y="44"/>
                    </a:lnTo>
                    <a:lnTo>
                      <a:pt x="24" y="44"/>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4" y="176"/>
                    </a:lnTo>
                    <a:lnTo>
                      <a:pt x="18"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2" y="230"/>
                    </a:lnTo>
                    <a:lnTo>
                      <a:pt x="82" y="230"/>
                    </a:lnTo>
                    <a:lnTo>
                      <a:pt x="86" y="228"/>
                    </a:lnTo>
                    <a:lnTo>
                      <a:pt x="88" y="226"/>
                    </a:lnTo>
                    <a:lnTo>
                      <a:pt x="92" y="220"/>
                    </a:lnTo>
                    <a:lnTo>
                      <a:pt x="92" y="220"/>
                    </a:lnTo>
                    <a:lnTo>
                      <a:pt x="112" y="222"/>
                    </a:lnTo>
                    <a:lnTo>
                      <a:pt x="112" y="222"/>
                    </a:lnTo>
                    <a:lnTo>
                      <a:pt x="124" y="222"/>
                    </a:lnTo>
                    <a:lnTo>
                      <a:pt x="126" y="228"/>
                    </a:lnTo>
                    <a:lnTo>
                      <a:pt x="126" y="228"/>
                    </a:lnTo>
                    <a:lnTo>
                      <a:pt x="130" y="232"/>
                    </a:lnTo>
                    <a:lnTo>
                      <a:pt x="134" y="234"/>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4" y="190"/>
                    </a:lnTo>
                    <a:lnTo>
                      <a:pt x="208" y="190"/>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20" y="64"/>
                    </a:lnTo>
                    <a:lnTo>
                      <a:pt x="220" y="64"/>
                    </a:lnTo>
                    <a:lnTo>
                      <a:pt x="218" y="60"/>
                    </a:lnTo>
                    <a:lnTo>
                      <a:pt x="212" y="58"/>
                    </a:lnTo>
                    <a:lnTo>
                      <a:pt x="212"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50" y="4"/>
                    </a:lnTo>
                    <a:lnTo>
                      <a:pt x="146" y="6"/>
                    </a:lnTo>
                    <a:lnTo>
                      <a:pt x="142" y="10"/>
                    </a:lnTo>
                    <a:lnTo>
                      <a:pt x="136" y="22"/>
                    </a:lnTo>
                    <a:lnTo>
                      <a:pt x="136" y="22"/>
                    </a:lnTo>
                    <a:lnTo>
                      <a:pt x="124" y="20"/>
                    </a:lnTo>
                    <a:lnTo>
                      <a:pt x="112" y="18"/>
                    </a:lnTo>
                    <a:lnTo>
                      <a:pt x="112" y="18"/>
                    </a:lnTo>
                    <a:lnTo>
                      <a:pt x="110" y="18"/>
                    </a:lnTo>
                    <a:lnTo>
                      <a:pt x="106" y="6"/>
                    </a:lnTo>
                    <a:lnTo>
                      <a:pt x="106" y="6"/>
                    </a:lnTo>
                    <a:lnTo>
                      <a:pt x="102" y="2"/>
                    </a:lnTo>
                    <a:lnTo>
                      <a:pt x="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49" name="Freeform 320"/>
              <p:cNvSpPr>
                <a:spLocks noEditPoints="1"/>
              </p:cNvSpPr>
              <p:nvPr/>
            </p:nvSpPr>
            <p:spPr bwMode="auto">
              <a:xfrm>
                <a:off x="10058530" y="2377728"/>
                <a:ext cx="537173" cy="535971"/>
              </a:xfrm>
              <a:custGeom>
                <a:avLst/>
                <a:gdLst>
                  <a:gd name="T0" fmla="*/ 361 w 447"/>
                  <a:gd name="T1" fmla="*/ 46 h 446"/>
                  <a:gd name="T2" fmla="*/ 345 w 447"/>
                  <a:gd name="T3" fmla="*/ 44 h 446"/>
                  <a:gd name="T4" fmla="*/ 319 w 447"/>
                  <a:gd name="T5" fmla="*/ 66 h 446"/>
                  <a:gd name="T6" fmla="*/ 281 w 447"/>
                  <a:gd name="T7" fmla="*/ 20 h 446"/>
                  <a:gd name="T8" fmla="*/ 277 w 447"/>
                  <a:gd name="T9" fmla="*/ 8 h 446"/>
                  <a:gd name="T10" fmla="*/ 201 w 447"/>
                  <a:gd name="T11" fmla="*/ 0 h 446"/>
                  <a:gd name="T12" fmla="*/ 189 w 447"/>
                  <a:gd name="T13" fmla="*/ 4 h 446"/>
                  <a:gd name="T14" fmla="*/ 183 w 447"/>
                  <a:gd name="T15" fmla="*/ 42 h 446"/>
                  <a:gd name="T16" fmla="*/ 134 w 447"/>
                  <a:gd name="T17" fmla="*/ 58 h 446"/>
                  <a:gd name="T18" fmla="*/ 112 w 447"/>
                  <a:gd name="T19" fmla="*/ 38 h 446"/>
                  <a:gd name="T20" fmla="*/ 94 w 447"/>
                  <a:gd name="T21" fmla="*/ 40 h 446"/>
                  <a:gd name="T22" fmla="*/ 44 w 447"/>
                  <a:gd name="T23" fmla="*/ 90 h 446"/>
                  <a:gd name="T24" fmla="*/ 46 w 447"/>
                  <a:gd name="T25" fmla="*/ 108 h 446"/>
                  <a:gd name="T26" fmla="*/ 48 w 447"/>
                  <a:gd name="T27" fmla="*/ 144 h 446"/>
                  <a:gd name="T28" fmla="*/ 20 w 447"/>
                  <a:gd name="T29" fmla="*/ 166 h 446"/>
                  <a:gd name="T30" fmla="*/ 6 w 447"/>
                  <a:gd name="T31" fmla="*/ 174 h 446"/>
                  <a:gd name="T32" fmla="*/ 0 w 447"/>
                  <a:gd name="T33" fmla="*/ 246 h 446"/>
                  <a:gd name="T34" fmla="*/ 10 w 447"/>
                  <a:gd name="T35" fmla="*/ 260 h 446"/>
                  <a:gd name="T36" fmla="*/ 30 w 447"/>
                  <a:gd name="T37" fmla="*/ 264 h 446"/>
                  <a:gd name="T38" fmla="*/ 42 w 447"/>
                  <a:gd name="T39" fmla="*/ 308 h 446"/>
                  <a:gd name="T40" fmla="*/ 40 w 447"/>
                  <a:gd name="T41" fmla="*/ 330 h 446"/>
                  <a:gd name="T42" fmla="*/ 36 w 447"/>
                  <a:gd name="T43" fmla="*/ 346 h 446"/>
                  <a:gd name="T44" fmla="*/ 86 w 447"/>
                  <a:gd name="T45" fmla="*/ 400 h 446"/>
                  <a:gd name="T46" fmla="*/ 102 w 447"/>
                  <a:gd name="T47" fmla="*/ 402 h 446"/>
                  <a:gd name="T48" fmla="*/ 114 w 447"/>
                  <a:gd name="T49" fmla="*/ 392 h 446"/>
                  <a:gd name="T50" fmla="*/ 167 w 447"/>
                  <a:gd name="T51" fmla="*/ 426 h 446"/>
                  <a:gd name="T52" fmla="*/ 171 w 447"/>
                  <a:gd name="T53" fmla="*/ 438 h 446"/>
                  <a:gd name="T54" fmla="*/ 247 w 447"/>
                  <a:gd name="T55" fmla="*/ 446 h 446"/>
                  <a:gd name="T56" fmla="*/ 259 w 447"/>
                  <a:gd name="T57" fmla="*/ 442 h 446"/>
                  <a:gd name="T58" fmla="*/ 265 w 447"/>
                  <a:gd name="T59" fmla="*/ 418 h 446"/>
                  <a:gd name="T60" fmla="*/ 293 w 447"/>
                  <a:gd name="T61" fmla="*/ 410 h 446"/>
                  <a:gd name="T62" fmla="*/ 331 w 447"/>
                  <a:gd name="T63" fmla="*/ 406 h 446"/>
                  <a:gd name="T64" fmla="*/ 341 w 447"/>
                  <a:gd name="T65" fmla="*/ 410 h 446"/>
                  <a:gd name="T66" fmla="*/ 401 w 447"/>
                  <a:gd name="T67" fmla="*/ 360 h 446"/>
                  <a:gd name="T68" fmla="*/ 405 w 447"/>
                  <a:gd name="T69" fmla="*/ 350 h 446"/>
                  <a:gd name="T70" fmla="*/ 389 w 447"/>
                  <a:gd name="T71" fmla="*/ 326 h 446"/>
                  <a:gd name="T72" fmla="*/ 407 w 447"/>
                  <a:gd name="T73" fmla="*/ 280 h 446"/>
                  <a:gd name="T74" fmla="*/ 433 w 447"/>
                  <a:gd name="T75" fmla="*/ 280 h 446"/>
                  <a:gd name="T76" fmla="*/ 443 w 447"/>
                  <a:gd name="T77" fmla="*/ 266 h 446"/>
                  <a:gd name="T78" fmla="*/ 445 w 447"/>
                  <a:gd name="T79" fmla="*/ 194 h 446"/>
                  <a:gd name="T80" fmla="*/ 431 w 447"/>
                  <a:gd name="T81" fmla="*/ 184 h 446"/>
                  <a:gd name="T82" fmla="*/ 399 w 447"/>
                  <a:gd name="T83" fmla="*/ 158 h 446"/>
                  <a:gd name="T84" fmla="*/ 407 w 447"/>
                  <a:gd name="T85" fmla="*/ 116 h 446"/>
                  <a:gd name="T86" fmla="*/ 411 w 447"/>
                  <a:gd name="T87" fmla="*/ 100 h 446"/>
                  <a:gd name="T88" fmla="*/ 279 w 447"/>
                  <a:gd name="T89" fmla="*/ 174 h 446"/>
                  <a:gd name="T90" fmla="*/ 297 w 447"/>
                  <a:gd name="T91" fmla="*/ 202 h 446"/>
                  <a:gd name="T92" fmla="*/ 301 w 447"/>
                  <a:gd name="T93" fmla="*/ 248 h 446"/>
                  <a:gd name="T94" fmla="*/ 277 w 447"/>
                  <a:gd name="T95" fmla="*/ 290 h 446"/>
                  <a:gd name="T96" fmla="*/ 249 w 447"/>
                  <a:gd name="T97" fmla="*/ 306 h 446"/>
                  <a:gd name="T98" fmla="*/ 203 w 447"/>
                  <a:gd name="T99" fmla="*/ 310 h 446"/>
                  <a:gd name="T100" fmla="*/ 161 w 447"/>
                  <a:gd name="T101" fmla="*/ 286 h 446"/>
                  <a:gd name="T102" fmla="*/ 144 w 447"/>
                  <a:gd name="T103" fmla="*/ 260 h 446"/>
                  <a:gd name="T104" fmla="*/ 140 w 447"/>
                  <a:gd name="T105" fmla="*/ 214 h 446"/>
                  <a:gd name="T106" fmla="*/ 165 w 447"/>
                  <a:gd name="T107" fmla="*/ 172 h 446"/>
                  <a:gd name="T108" fmla="*/ 193 w 447"/>
                  <a:gd name="T109" fmla="*/ 154 h 446"/>
                  <a:gd name="T110" fmla="*/ 239 w 447"/>
                  <a:gd name="T111" fmla="*/ 152 h 446"/>
                  <a:gd name="T112" fmla="*/ 279 w 447"/>
                  <a:gd name="T113" fmla="*/ 174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7" h="446">
                    <a:moveTo>
                      <a:pt x="407" y="94"/>
                    </a:moveTo>
                    <a:lnTo>
                      <a:pt x="361" y="46"/>
                    </a:lnTo>
                    <a:lnTo>
                      <a:pt x="361" y="46"/>
                    </a:lnTo>
                    <a:lnTo>
                      <a:pt x="357" y="44"/>
                    </a:lnTo>
                    <a:lnTo>
                      <a:pt x="351" y="42"/>
                    </a:lnTo>
                    <a:lnTo>
                      <a:pt x="345" y="44"/>
                    </a:lnTo>
                    <a:lnTo>
                      <a:pt x="339" y="46"/>
                    </a:lnTo>
                    <a:lnTo>
                      <a:pt x="319" y="66"/>
                    </a:lnTo>
                    <a:lnTo>
                      <a:pt x="319" y="66"/>
                    </a:lnTo>
                    <a:lnTo>
                      <a:pt x="301" y="56"/>
                    </a:lnTo>
                    <a:lnTo>
                      <a:pt x="281" y="48"/>
                    </a:lnTo>
                    <a:lnTo>
                      <a:pt x="281" y="20"/>
                    </a:lnTo>
                    <a:lnTo>
                      <a:pt x="281" y="20"/>
                    </a:lnTo>
                    <a:lnTo>
                      <a:pt x="281" y="14"/>
                    </a:lnTo>
                    <a:lnTo>
                      <a:pt x="277" y="8"/>
                    </a:lnTo>
                    <a:lnTo>
                      <a:pt x="273" y="6"/>
                    </a:lnTo>
                    <a:lnTo>
                      <a:pt x="267" y="4"/>
                    </a:lnTo>
                    <a:lnTo>
                      <a:pt x="201" y="0"/>
                    </a:lnTo>
                    <a:lnTo>
                      <a:pt x="201" y="0"/>
                    </a:lnTo>
                    <a:lnTo>
                      <a:pt x="195" y="2"/>
                    </a:lnTo>
                    <a:lnTo>
                      <a:pt x="189" y="4"/>
                    </a:lnTo>
                    <a:lnTo>
                      <a:pt x="187" y="10"/>
                    </a:lnTo>
                    <a:lnTo>
                      <a:pt x="185" y="16"/>
                    </a:lnTo>
                    <a:lnTo>
                      <a:pt x="183" y="42"/>
                    </a:lnTo>
                    <a:lnTo>
                      <a:pt x="183" y="42"/>
                    </a:lnTo>
                    <a:lnTo>
                      <a:pt x="159" y="48"/>
                    </a:lnTo>
                    <a:lnTo>
                      <a:pt x="134" y="58"/>
                    </a:lnTo>
                    <a:lnTo>
                      <a:pt x="116" y="40"/>
                    </a:lnTo>
                    <a:lnTo>
                      <a:pt x="116" y="40"/>
                    </a:lnTo>
                    <a:lnTo>
                      <a:pt x="112" y="38"/>
                    </a:lnTo>
                    <a:lnTo>
                      <a:pt x="106" y="36"/>
                    </a:lnTo>
                    <a:lnTo>
                      <a:pt x="100" y="36"/>
                    </a:lnTo>
                    <a:lnTo>
                      <a:pt x="94" y="40"/>
                    </a:lnTo>
                    <a:lnTo>
                      <a:pt x="46" y="86"/>
                    </a:lnTo>
                    <a:lnTo>
                      <a:pt x="46" y="86"/>
                    </a:lnTo>
                    <a:lnTo>
                      <a:pt x="44" y="90"/>
                    </a:lnTo>
                    <a:lnTo>
                      <a:pt x="42" y="96"/>
                    </a:lnTo>
                    <a:lnTo>
                      <a:pt x="44" y="102"/>
                    </a:lnTo>
                    <a:lnTo>
                      <a:pt x="46" y="108"/>
                    </a:lnTo>
                    <a:lnTo>
                      <a:pt x="60" y="122"/>
                    </a:lnTo>
                    <a:lnTo>
                      <a:pt x="60" y="122"/>
                    </a:lnTo>
                    <a:lnTo>
                      <a:pt x="48" y="144"/>
                    </a:lnTo>
                    <a:lnTo>
                      <a:pt x="38" y="166"/>
                    </a:lnTo>
                    <a:lnTo>
                      <a:pt x="20" y="166"/>
                    </a:lnTo>
                    <a:lnTo>
                      <a:pt x="20" y="166"/>
                    </a:lnTo>
                    <a:lnTo>
                      <a:pt x="14" y="166"/>
                    </a:lnTo>
                    <a:lnTo>
                      <a:pt x="8" y="170"/>
                    </a:lnTo>
                    <a:lnTo>
                      <a:pt x="6" y="174"/>
                    </a:lnTo>
                    <a:lnTo>
                      <a:pt x="4" y="180"/>
                    </a:lnTo>
                    <a:lnTo>
                      <a:pt x="0" y="246"/>
                    </a:lnTo>
                    <a:lnTo>
                      <a:pt x="0" y="246"/>
                    </a:lnTo>
                    <a:lnTo>
                      <a:pt x="2" y="252"/>
                    </a:lnTo>
                    <a:lnTo>
                      <a:pt x="4" y="258"/>
                    </a:lnTo>
                    <a:lnTo>
                      <a:pt x="10" y="260"/>
                    </a:lnTo>
                    <a:lnTo>
                      <a:pt x="16" y="262"/>
                    </a:lnTo>
                    <a:lnTo>
                      <a:pt x="30" y="264"/>
                    </a:lnTo>
                    <a:lnTo>
                      <a:pt x="30" y="264"/>
                    </a:lnTo>
                    <a:lnTo>
                      <a:pt x="32" y="278"/>
                    </a:lnTo>
                    <a:lnTo>
                      <a:pt x="36" y="292"/>
                    </a:lnTo>
                    <a:lnTo>
                      <a:pt x="42" y="308"/>
                    </a:lnTo>
                    <a:lnTo>
                      <a:pt x="50" y="322"/>
                    </a:lnTo>
                    <a:lnTo>
                      <a:pt x="40" y="330"/>
                    </a:lnTo>
                    <a:lnTo>
                      <a:pt x="40" y="330"/>
                    </a:lnTo>
                    <a:lnTo>
                      <a:pt x="38" y="334"/>
                    </a:lnTo>
                    <a:lnTo>
                      <a:pt x="36" y="340"/>
                    </a:lnTo>
                    <a:lnTo>
                      <a:pt x="36" y="346"/>
                    </a:lnTo>
                    <a:lnTo>
                      <a:pt x="40" y="352"/>
                    </a:lnTo>
                    <a:lnTo>
                      <a:pt x="86" y="400"/>
                    </a:lnTo>
                    <a:lnTo>
                      <a:pt x="86" y="400"/>
                    </a:lnTo>
                    <a:lnTo>
                      <a:pt x="90" y="402"/>
                    </a:lnTo>
                    <a:lnTo>
                      <a:pt x="96" y="404"/>
                    </a:lnTo>
                    <a:lnTo>
                      <a:pt x="102" y="402"/>
                    </a:lnTo>
                    <a:lnTo>
                      <a:pt x="108" y="400"/>
                    </a:lnTo>
                    <a:lnTo>
                      <a:pt x="114" y="392"/>
                    </a:lnTo>
                    <a:lnTo>
                      <a:pt x="114" y="392"/>
                    </a:lnTo>
                    <a:lnTo>
                      <a:pt x="140" y="406"/>
                    </a:lnTo>
                    <a:lnTo>
                      <a:pt x="167" y="416"/>
                    </a:lnTo>
                    <a:lnTo>
                      <a:pt x="167" y="426"/>
                    </a:lnTo>
                    <a:lnTo>
                      <a:pt x="167" y="426"/>
                    </a:lnTo>
                    <a:lnTo>
                      <a:pt x="167" y="432"/>
                    </a:lnTo>
                    <a:lnTo>
                      <a:pt x="171" y="438"/>
                    </a:lnTo>
                    <a:lnTo>
                      <a:pt x="175" y="440"/>
                    </a:lnTo>
                    <a:lnTo>
                      <a:pt x="181" y="442"/>
                    </a:lnTo>
                    <a:lnTo>
                      <a:pt x="247" y="446"/>
                    </a:lnTo>
                    <a:lnTo>
                      <a:pt x="247" y="446"/>
                    </a:lnTo>
                    <a:lnTo>
                      <a:pt x="253" y="444"/>
                    </a:lnTo>
                    <a:lnTo>
                      <a:pt x="259" y="442"/>
                    </a:lnTo>
                    <a:lnTo>
                      <a:pt x="263" y="436"/>
                    </a:lnTo>
                    <a:lnTo>
                      <a:pt x="263" y="430"/>
                    </a:lnTo>
                    <a:lnTo>
                      <a:pt x="265" y="418"/>
                    </a:lnTo>
                    <a:lnTo>
                      <a:pt x="265" y="418"/>
                    </a:lnTo>
                    <a:lnTo>
                      <a:pt x="279" y="414"/>
                    </a:lnTo>
                    <a:lnTo>
                      <a:pt x="293" y="410"/>
                    </a:lnTo>
                    <a:lnTo>
                      <a:pt x="307" y="404"/>
                    </a:lnTo>
                    <a:lnTo>
                      <a:pt x="321" y="396"/>
                    </a:lnTo>
                    <a:lnTo>
                      <a:pt x="331" y="406"/>
                    </a:lnTo>
                    <a:lnTo>
                      <a:pt x="331" y="406"/>
                    </a:lnTo>
                    <a:lnTo>
                      <a:pt x="335" y="410"/>
                    </a:lnTo>
                    <a:lnTo>
                      <a:pt x="341" y="410"/>
                    </a:lnTo>
                    <a:lnTo>
                      <a:pt x="347" y="410"/>
                    </a:lnTo>
                    <a:lnTo>
                      <a:pt x="353" y="406"/>
                    </a:lnTo>
                    <a:lnTo>
                      <a:pt x="401" y="360"/>
                    </a:lnTo>
                    <a:lnTo>
                      <a:pt x="401" y="360"/>
                    </a:lnTo>
                    <a:lnTo>
                      <a:pt x="403" y="356"/>
                    </a:lnTo>
                    <a:lnTo>
                      <a:pt x="405" y="350"/>
                    </a:lnTo>
                    <a:lnTo>
                      <a:pt x="403" y="344"/>
                    </a:lnTo>
                    <a:lnTo>
                      <a:pt x="401" y="338"/>
                    </a:lnTo>
                    <a:lnTo>
                      <a:pt x="389" y="326"/>
                    </a:lnTo>
                    <a:lnTo>
                      <a:pt x="389" y="326"/>
                    </a:lnTo>
                    <a:lnTo>
                      <a:pt x="399" y="304"/>
                    </a:lnTo>
                    <a:lnTo>
                      <a:pt x="407" y="280"/>
                    </a:lnTo>
                    <a:lnTo>
                      <a:pt x="427" y="280"/>
                    </a:lnTo>
                    <a:lnTo>
                      <a:pt x="427" y="280"/>
                    </a:lnTo>
                    <a:lnTo>
                      <a:pt x="433" y="280"/>
                    </a:lnTo>
                    <a:lnTo>
                      <a:pt x="439" y="276"/>
                    </a:lnTo>
                    <a:lnTo>
                      <a:pt x="441" y="272"/>
                    </a:lnTo>
                    <a:lnTo>
                      <a:pt x="443" y="266"/>
                    </a:lnTo>
                    <a:lnTo>
                      <a:pt x="447" y="200"/>
                    </a:lnTo>
                    <a:lnTo>
                      <a:pt x="447" y="200"/>
                    </a:lnTo>
                    <a:lnTo>
                      <a:pt x="445" y="194"/>
                    </a:lnTo>
                    <a:lnTo>
                      <a:pt x="443" y="188"/>
                    </a:lnTo>
                    <a:lnTo>
                      <a:pt x="437" y="186"/>
                    </a:lnTo>
                    <a:lnTo>
                      <a:pt x="431" y="184"/>
                    </a:lnTo>
                    <a:lnTo>
                      <a:pt x="407" y="182"/>
                    </a:lnTo>
                    <a:lnTo>
                      <a:pt x="407" y="182"/>
                    </a:lnTo>
                    <a:lnTo>
                      <a:pt x="399" y="158"/>
                    </a:lnTo>
                    <a:lnTo>
                      <a:pt x="387" y="134"/>
                    </a:lnTo>
                    <a:lnTo>
                      <a:pt x="407" y="116"/>
                    </a:lnTo>
                    <a:lnTo>
                      <a:pt x="407" y="116"/>
                    </a:lnTo>
                    <a:lnTo>
                      <a:pt x="411" y="112"/>
                    </a:lnTo>
                    <a:lnTo>
                      <a:pt x="411" y="106"/>
                    </a:lnTo>
                    <a:lnTo>
                      <a:pt x="411" y="100"/>
                    </a:lnTo>
                    <a:lnTo>
                      <a:pt x="407" y="94"/>
                    </a:lnTo>
                    <a:lnTo>
                      <a:pt x="407" y="94"/>
                    </a:lnTo>
                    <a:close/>
                    <a:moveTo>
                      <a:pt x="279" y="174"/>
                    </a:moveTo>
                    <a:lnTo>
                      <a:pt x="279" y="174"/>
                    </a:lnTo>
                    <a:lnTo>
                      <a:pt x="289" y="188"/>
                    </a:lnTo>
                    <a:lnTo>
                      <a:pt x="297" y="202"/>
                    </a:lnTo>
                    <a:lnTo>
                      <a:pt x="301" y="218"/>
                    </a:lnTo>
                    <a:lnTo>
                      <a:pt x="303" y="232"/>
                    </a:lnTo>
                    <a:lnTo>
                      <a:pt x="301" y="248"/>
                    </a:lnTo>
                    <a:lnTo>
                      <a:pt x="295" y="264"/>
                    </a:lnTo>
                    <a:lnTo>
                      <a:pt x="287" y="278"/>
                    </a:lnTo>
                    <a:lnTo>
                      <a:pt x="277" y="290"/>
                    </a:lnTo>
                    <a:lnTo>
                      <a:pt x="277" y="290"/>
                    </a:lnTo>
                    <a:lnTo>
                      <a:pt x="263" y="300"/>
                    </a:lnTo>
                    <a:lnTo>
                      <a:pt x="249" y="306"/>
                    </a:lnTo>
                    <a:lnTo>
                      <a:pt x="235" y="310"/>
                    </a:lnTo>
                    <a:lnTo>
                      <a:pt x="219" y="312"/>
                    </a:lnTo>
                    <a:lnTo>
                      <a:pt x="203" y="310"/>
                    </a:lnTo>
                    <a:lnTo>
                      <a:pt x="189" y="306"/>
                    </a:lnTo>
                    <a:lnTo>
                      <a:pt x="175" y="298"/>
                    </a:lnTo>
                    <a:lnTo>
                      <a:pt x="161" y="286"/>
                    </a:lnTo>
                    <a:lnTo>
                      <a:pt x="161" y="286"/>
                    </a:lnTo>
                    <a:lnTo>
                      <a:pt x="150" y="274"/>
                    </a:lnTo>
                    <a:lnTo>
                      <a:pt x="144" y="260"/>
                    </a:lnTo>
                    <a:lnTo>
                      <a:pt x="140" y="244"/>
                    </a:lnTo>
                    <a:lnTo>
                      <a:pt x="138" y="228"/>
                    </a:lnTo>
                    <a:lnTo>
                      <a:pt x="140" y="214"/>
                    </a:lnTo>
                    <a:lnTo>
                      <a:pt x="146" y="198"/>
                    </a:lnTo>
                    <a:lnTo>
                      <a:pt x="154" y="184"/>
                    </a:lnTo>
                    <a:lnTo>
                      <a:pt x="165" y="172"/>
                    </a:lnTo>
                    <a:lnTo>
                      <a:pt x="165" y="172"/>
                    </a:lnTo>
                    <a:lnTo>
                      <a:pt x="177" y="162"/>
                    </a:lnTo>
                    <a:lnTo>
                      <a:pt x="193" y="154"/>
                    </a:lnTo>
                    <a:lnTo>
                      <a:pt x="207" y="150"/>
                    </a:lnTo>
                    <a:lnTo>
                      <a:pt x="223" y="150"/>
                    </a:lnTo>
                    <a:lnTo>
                      <a:pt x="239" y="152"/>
                    </a:lnTo>
                    <a:lnTo>
                      <a:pt x="253" y="156"/>
                    </a:lnTo>
                    <a:lnTo>
                      <a:pt x="267" y="164"/>
                    </a:lnTo>
                    <a:lnTo>
                      <a:pt x="279" y="174"/>
                    </a:lnTo>
                    <a:lnTo>
                      <a:pt x="279" y="174"/>
                    </a:lnTo>
                    <a:close/>
                  </a:path>
                </a:pathLst>
              </a:custGeom>
              <a:solidFill>
                <a:srgbClr val="ADC9C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0" name="Freeform 322"/>
              <p:cNvSpPr>
                <a:spLocks noEditPoints="1"/>
              </p:cNvSpPr>
              <p:nvPr/>
            </p:nvSpPr>
            <p:spPr bwMode="auto">
              <a:xfrm>
                <a:off x="10641369" y="2834386"/>
                <a:ext cx="278801" cy="281204"/>
              </a:xfrm>
              <a:custGeom>
                <a:avLst/>
                <a:gdLst>
                  <a:gd name="T0" fmla="*/ 220 w 232"/>
                  <a:gd name="T1" fmla="*/ 64 h 234"/>
                  <a:gd name="T2" fmla="*/ 214 w 232"/>
                  <a:gd name="T3" fmla="*/ 58 h 234"/>
                  <a:gd name="T4" fmla="*/ 196 w 232"/>
                  <a:gd name="T5" fmla="*/ 62 h 234"/>
                  <a:gd name="T6" fmla="*/ 188 w 232"/>
                  <a:gd name="T7" fmla="*/ 32 h 234"/>
                  <a:gd name="T8" fmla="*/ 188 w 232"/>
                  <a:gd name="T9" fmla="*/ 26 h 234"/>
                  <a:gd name="T10" fmla="*/ 154 w 232"/>
                  <a:gd name="T11" fmla="*/ 6 h 234"/>
                  <a:gd name="T12" fmla="*/ 148 w 232"/>
                  <a:gd name="T13" fmla="*/ 4 h 234"/>
                  <a:gd name="T14" fmla="*/ 136 w 232"/>
                  <a:gd name="T15" fmla="*/ 22 h 234"/>
                  <a:gd name="T16" fmla="*/ 110 w 232"/>
                  <a:gd name="T17" fmla="*/ 18 h 234"/>
                  <a:gd name="T18" fmla="*/ 104 w 232"/>
                  <a:gd name="T19" fmla="*/ 4 h 234"/>
                  <a:gd name="T20" fmla="*/ 94 w 232"/>
                  <a:gd name="T21" fmla="*/ 2 h 234"/>
                  <a:gd name="T22" fmla="*/ 58 w 232"/>
                  <a:gd name="T23" fmla="*/ 14 h 234"/>
                  <a:gd name="T24" fmla="*/ 56 w 232"/>
                  <a:gd name="T25" fmla="*/ 22 h 234"/>
                  <a:gd name="T26" fmla="*/ 50 w 232"/>
                  <a:gd name="T27" fmla="*/ 40 h 234"/>
                  <a:gd name="T28" fmla="*/ 32 w 232"/>
                  <a:gd name="T29" fmla="*/ 44 h 234"/>
                  <a:gd name="T30" fmla="*/ 22 w 232"/>
                  <a:gd name="T31" fmla="*/ 46 h 234"/>
                  <a:gd name="T32" fmla="*/ 4 w 232"/>
                  <a:gd name="T33" fmla="*/ 80 h 234"/>
                  <a:gd name="T34" fmla="*/ 6 w 232"/>
                  <a:gd name="T35" fmla="*/ 88 h 234"/>
                  <a:gd name="T36" fmla="*/ 14 w 232"/>
                  <a:gd name="T37" fmla="*/ 94 h 234"/>
                  <a:gd name="T38" fmla="*/ 4 w 232"/>
                  <a:gd name="T39" fmla="*/ 128 h 234"/>
                  <a:gd name="T40" fmla="*/ 0 w 232"/>
                  <a:gd name="T41" fmla="*/ 132 h 234"/>
                  <a:gd name="T42" fmla="*/ 10 w 232"/>
                  <a:gd name="T43" fmla="*/ 172 h 234"/>
                  <a:gd name="T44" fmla="*/ 14 w 232"/>
                  <a:gd name="T45" fmla="*/ 176 h 234"/>
                  <a:gd name="T46" fmla="*/ 26 w 232"/>
                  <a:gd name="T47" fmla="*/ 174 h 234"/>
                  <a:gd name="T48" fmla="*/ 46 w 232"/>
                  <a:gd name="T49" fmla="*/ 198 h 234"/>
                  <a:gd name="T50" fmla="*/ 42 w 232"/>
                  <a:gd name="T51" fmla="*/ 204 h 234"/>
                  <a:gd name="T52" fmla="*/ 46 w 232"/>
                  <a:gd name="T53" fmla="*/ 212 h 234"/>
                  <a:gd name="T54" fmla="*/ 80 w 232"/>
                  <a:gd name="T55" fmla="*/ 230 h 234"/>
                  <a:gd name="T56" fmla="*/ 88 w 232"/>
                  <a:gd name="T57" fmla="*/ 226 h 234"/>
                  <a:gd name="T58" fmla="*/ 108 w 232"/>
                  <a:gd name="T59" fmla="*/ 222 h 234"/>
                  <a:gd name="T60" fmla="*/ 126 w 232"/>
                  <a:gd name="T61" fmla="*/ 228 h 234"/>
                  <a:gd name="T62" fmla="*/ 134 w 232"/>
                  <a:gd name="T63" fmla="*/ 234 h 234"/>
                  <a:gd name="T64" fmla="*/ 170 w 232"/>
                  <a:gd name="T65" fmla="*/ 222 h 234"/>
                  <a:gd name="T66" fmla="*/ 176 w 232"/>
                  <a:gd name="T67" fmla="*/ 214 h 234"/>
                  <a:gd name="T68" fmla="*/ 172 w 232"/>
                  <a:gd name="T69" fmla="*/ 202 h 234"/>
                  <a:gd name="T70" fmla="*/ 200 w 232"/>
                  <a:gd name="T71" fmla="*/ 190 h 234"/>
                  <a:gd name="T72" fmla="*/ 206 w 232"/>
                  <a:gd name="T73" fmla="*/ 190 h 234"/>
                  <a:gd name="T74" fmla="*/ 228 w 232"/>
                  <a:gd name="T75" fmla="*/ 156 h 234"/>
                  <a:gd name="T76" fmla="*/ 228 w 232"/>
                  <a:gd name="T77" fmla="*/ 148 h 234"/>
                  <a:gd name="T78" fmla="*/ 212 w 232"/>
                  <a:gd name="T79" fmla="*/ 138 h 234"/>
                  <a:gd name="T80" fmla="*/ 214 w 232"/>
                  <a:gd name="T81" fmla="*/ 110 h 234"/>
                  <a:gd name="T82" fmla="*/ 230 w 232"/>
                  <a:gd name="T83" fmla="*/ 104 h 234"/>
                  <a:gd name="T84" fmla="*/ 232 w 232"/>
                  <a:gd name="T85" fmla="*/ 96 h 234"/>
                  <a:gd name="T86" fmla="*/ 164 w 232"/>
                  <a:gd name="T87" fmla="*/ 102 h 234"/>
                  <a:gd name="T88" fmla="*/ 166 w 232"/>
                  <a:gd name="T89" fmla="*/ 134 h 234"/>
                  <a:gd name="T90" fmla="*/ 148 w 232"/>
                  <a:gd name="T91" fmla="*/ 162 h 234"/>
                  <a:gd name="T92" fmla="*/ 130 w 232"/>
                  <a:gd name="T93" fmla="*/ 172 h 234"/>
                  <a:gd name="T94" fmla="*/ 98 w 232"/>
                  <a:gd name="T95" fmla="*/ 172 h 234"/>
                  <a:gd name="T96" fmla="*/ 72 w 232"/>
                  <a:gd name="T97" fmla="*/ 156 h 234"/>
                  <a:gd name="T98" fmla="*/ 60 w 232"/>
                  <a:gd name="T99" fmla="*/ 138 h 234"/>
                  <a:gd name="T100" fmla="*/ 60 w 232"/>
                  <a:gd name="T101" fmla="*/ 106 h 234"/>
                  <a:gd name="T102" fmla="*/ 76 w 232"/>
                  <a:gd name="T103" fmla="*/ 80 h 234"/>
                  <a:gd name="T104" fmla="*/ 94 w 232"/>
                  <a:gd name="T105" fmla="*/ 68 h 234"/>
                  <a:gd name="T106" fmla="*/ 126 w 232"/>
                  <a:gd name="T107" fmla="*/ 68 h 234"/>
                  <a:gd name="T108" fmla="*/ 154 w 232"/>
                  <a:gd name="T109" fmla="*/ 84 h 234"/>
                  <a:gd name="T110" fmla="*/ 164 w 232"/>
                  <a:gd name="T111" fmla="*/ 10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2" h="234">
                    <a:moveTo>
                      <a:pt x="232" y="96"/>
                    </a:moveTo>
                    <a:lnTo>
                      <a:pt x="220" y="64"/>
                    </a:lnTo>
                    <a:lnTo>
                      <a:pt x="220" y="64"/>
                    </a:lnTo>
                    <a:lnTo>
                      <a:pt x="218" y="60"/>
                    </a:lnTo>
                    <a:lnTo>
                      <a:pt x="216" y="58"/>
                    </a:lnTo>
                    <a:lnTo>
                      <a:pt x="214" y="58"/>
                    </a:lnTo>
                    <a:lnTo>
                      <a:pt x="210" y="58"/>
                    </a:lnTo>
                    <a:lnTo>
                      <a:pt x="196" y="62"/>
                    </a:lnTo>
                    <a:lnTo>
                      <a:pt x="196" y="62"/>
                    </a:lnTo>
                    <a:lnTo>
                      <a:pt x="190" y="54"/>
                    </a:lnTo>
                    <a:lnTo>
                      <a:pt x="182" y="46"/>
                    </a:lnTo>
                    <a:lnTo>
                      <a:pt x="188" y="32"/>
                    </a:lnTo>
                    <a:lnTo>
                      <a:pt x="188" y="32"/>
                    </a:lnTo>
                    <a:lnTo>
                      <a:pt x="190" y="30"/>
                    </a:lnTo>
                    <a:lnTo>
                      <a:pt x="188" y="26"/>
                    </a:lnTo>
                    <a:lnTo>
                      <a:pt x="188" y="24"/>
                    </a:lnTo>
                    <a:lnTo>
                      <a:pt x="184" y="22"/>
                    </a:lnTo>
                    <a:lnTo>
                      <a:pt x="154" y="6"/>
                    </a:lnTo>
                    <a:lnTo>
                      <a:pt x="154" y="6"/>
                    </a:lnTo>
                    <a:lnTo>
                      <a:pt x="150" y="4"/>
                    </a:lnTo>
                    <a:lnTo>
                      <a:pt x="148" y="4"/>
                    </a:lnTo>
                    <a:lnTo>
                      <a:pt x="144" y="6"/>
                    </a:lnTo>
                    <a:lnTo>
                      <a:pt x="142" y="10"/>
                    </a:lnTo>
                    <a:lnTo>
                      <a:pt x="136" y="22"/>
                    </a:lnTo>
                    <a:lnTo>
                      <a:pt x="136" y="22"/>
                    </a:lnTo>
                    <a:lnTo>
                      <a:pt x="122" y="18"/>
                    </a:lnTo>
                    <a:lnTo>
                      <a:pt x="110" y="18"/>
                    </a:lnTo>
                    <a:lnTo>
                      <a:pt x="106" y="6"/>
                    </a:lnTo>
                    <a:lnTo>
                      <a:pt x="106" y="6"/>
                    </a:lnTo>
                    <a:lnTo>
                      <a:pt x="104" y="4"/>
                    </a:lnTo>
                    <a:lnTo>
                      <a:pt x="102" y="2"/>
                    </a:lnTo>
                    <a:lnTo>
                      <a:pt x="98" y="0"/>
                    </a:lnTo>
                    <a:lnTo>
                      <a:pt x="94" y="2"/>
                    </a:lnTo>
                    <a:lnTo>
                      <a:pt x="62" y="12"/>
                    </a:lnTo>
                    <a:lnTo>
                      <a:pt x="62" y="12"/>
                    </a:lnTo>
                    <a:lnTo>
                      <a:pt x="58" y="14"/>
                    </a:lnTo>
                    <a:lnTo>
                      <a:pt x="58" y="16"/>
                    </a:lnTo>
                    <a:lnTo>
                      <a:pt x="56" y="20"/>
                    </a:lnTo>
                    <a:lnTo>
                      <a:pt x="56" y="22"/>
                    </a:lnTo>
                    <a:lnTo>
                      <a:pt x="60" y="32"/>
                    </a:lnTo>
                    <a:lnTo>
                      <a:pt x="60" y="32"/>
                    </a:lnTo>
                    <a:lnTo>
                      <a:pt x="50" y="40"/>
                    </a:lnTo>
                    <a:lnTo>
                      <a:pt x="40" y="50"/>
                    </a:lnTo>
                    <a:lnTo>
                      <a:pt x="32" y="44"/>
                    </a:lnTo>
                    <a:lnTo>
                      <a:pt x="32" y="44"/>
                    </a:lnTo>
                    <a:lnTo>
                      <a:pt x="28" y="44"/>
                    </a:lnTo>
                    <a:lnTo>
                      <a:pt x="24" y="44"/>
                    </a:lnTo>
                    <a:lnTo>
                      <a:pt x="22" y="46"/>
                    </a:lnTo>
                    <a:lnTo>
                      <a:pt x="20" y="48"/>
                    </a:lnTo>
                    <a:lnTo>
                      <a:pt x="4" y="80"/>
                    </a:lnTo>
                    <a:lnTo>
                      <a:pt x="4" y="80"/>
                    </a:lnTo>
                    <a:lnTo>
                      <a:pt x="4" y="82"/>
                    </a:lnTo>
                    <a:lnTo>
                      <a:pt x="4" y="86"/>
                    </a:lnTo>
                    <a:lnTo>
                      <a:pt x="6" y="88"/>
                    </a:lnTo>
                    <a:lnTo>
                      <a:pt x="8" y="90"/>
                    </a:lnTo>
                    <a:lnTo>
                      <a:pt x="14" y="94"/>
                    </a:lnTo>
                    <a:lnTo>
                      <a:pt x="14" y="94"/>
                    </a:lnTo>
                    <a:lnTo>
                      <a:pt x="12" y="110"/>
                    </a:lnTo>
                    <a:lnTo>
                      <a:pt x="10" y="126"/>
                    </a:lnTo>
                    <a:lnTo>
                      <a:pt x="4" y="128"/>
                    </a:lnTo>
                    <a:lnTo>
                      <a:pt x="4" y="128"/>
                    </a:lnTo>
                    <a:lnTo>
                      <a:pt x="2" y="130"/>
                    </a:lnTo>
                    <a:lnTo>
                      <a:pt x="0" y="132"/>
                    </a:lnTo>
                    <a:lnTo>
                      <a:pt x="0" y="134"/>
                    </a:lnTo>
                    <a:lnTo>
                      <a:pt x="0" y="138"/>
                    </a:lnTo>
                    <a:lnTo>
                      <a:pt x="10" y="172"/>
                    </a:lnTo>
                    <a:lnTo>
                      <a:pt x="10" y="172"/>
                    </a:lnTo>
                    <a:lnTo>
                      <a:pt x="12" y="174"/>
                    </a:lnTo>
                    <a:lnTo>
                      <a:pt x="14" y="176"/>
                    </a:lnTo>
                    <a:lnTo>
                      <a:pt x="18" y="176"/>
                    </a:lnTo>
                    <a:lnTo>
                      <a:pt x="22" y="176"/>
                    </a:lnTo>
                    <a:lnTo>
                      <a:pt x="26" y="174"/>
                    </a:lnTo>
                    <a:lnTo>
                      <a:pt x="26" y="174"/>
                    </a:lnTo>
                    <a:lnTo>
                      <a:pt x="36" y="186"/>
                    </a:lnTo>
                    <a:lnTo>
                      <a:pt x="46" y="198"/>
                    </a:lnTo>
                    <a:lnTo>
                      <a:pt x="44" y="202"/>
                    </a:lnTo>
                    <a:lnTo>
                      <a:pt x="44" y="202"/>
                    </a:lnTo>
                    <a:lnTo>
                      <a:pt x="42" y="204"/>
                    </a:lnTo>
                    <a:lnTo>
                      <a:pt x="42" y="208"/>
                    </a:lnTo>
                    <a:lnTo>
                      <a:pt x="44" y="210"/>
                    </a:lnTo>
                    <a:lnTo>
                      <a:pt x="46" y="212"/>
                    </a:lnTo>
                    <a:lnTo>
                      <a:pt x="78" y="228"/>
                    </a:lnTo>
                    <a:lnTo>
                      <a:pt x="78" y="228"/>
                    </a:lnTo>
                    <a:lnTo>
                      <a:pt x="80" y="230"/>
                    </a:lnTo>
                    <a:lnTo>
                      <a:pt x="84" y="230"/>
                    </a:lnTo>
                    <a:lnTo>
                      <a:pt x="86" y="228"/>
                    </a:lnTo>
                    <a:lnTo>
                      <a:pt x="88" y="226"/>
                    </a:lnTo>
                    <a:lnTo>
                      <a:pt x="92" y="220"/>
                    </a:lnTo>
                    <a:lnTo>
                      <a:pt x="92" y="220"/>
                    </a:lnTo>
                    <a:lnTo>
                      <a:pt x="108" y="222"/>
                    </a:lnTo>
                    <a:lnTo>
                      <a:pt x="124" y="222"/>
                    </a:lnTo>
                    <a:lnTo>
                      <a:pt x="126" y="228"/>
                    </a:lnTo>
                    <a:lnTo>
                      <a:pt x="126" y="228"/>
                    </a:lnTo>
                    <a:lnTo>
                      <a:pt x="128" y="230"/>
                    </a:lnTo>
                    <a:lnTo>
                      <a:pt x="130" y="232"/>
                    </a:lnTo>
                    <a:lnTo>
                      <a:pt x="134" y="234"/>
                    </a:lnTo>
                    <a:lnTo>
                      <a:pt x="136" y="234"/>
                    </a:lnTo>
                    <a:lnTo>
                      <a:pt x="170" y="222"/>
                    </a:lnTo>
                    <a:lnTo>
                      <a:pt x="170" y="222"/>
                    </a:lnTo>
                    <a:lnTo>
                      <a:pt x="172" y="220"/>
                    </a:lnTo>
                    <a:lnTo>
                      <a:pt x="174" y="218"/>
                    </a:lnTo>
                    <a:lnTo>
                      <a:pt x="176" y="214"/>
                    </a:lnTo>
                    <a:lnTo>
                      <a:pt x="174" y="212"/>
                    </a:lnTo>
                    <a:lnTo>
                      <a:pt x="172" y="202"/>
                    </a:lnTo>
                    <a:lnTo>
                      <a:pt x="172" y="202"/>
                    </a:lnTo>
                    <a:lnTo>
                      <a:pt x="182" y="194"/>
                    </a:lnTo>
                    <a:lnTo>
                      <a:pt x="192" y="184"/>
                    </a:lnTo>
                    <a:lnTo>
                      <a:pt x="200" y="190"/>
                    </a:lnTo>
                    <a:lnTo>
                      <a:pt x="200" y="190"/>
                    </a:lnTo>
                    <a:lnTo>
                      <a:pt x="204" y="190"/>
                    </a:lnTo>
                    <a:lnTo>
                      <a:pt x="206" y="190"/>
                    </a:lnTo>
                    <a:lnTo>
                      <a:pt x="210" y="188"/>
                    </a:lnTo>
                    <a:lnTo>
                      <a:pt x="212" y="186"/>
                    </a:lnTo>
                    <a:lnTo>
                      <a:pt x="228" y="156"/>
                    </a:lnTo>
                    <a:lnTo>
                      <a:pt x="228" y="156"/>
                    </a:lnTo>
                    <a:lnTo>
                      <a:pt x="228" y="152"/>
                    </a:lnTo>
                    <a:lnTo>
                      <a:pt x="228" y="148"/>
                    </a:lnTo>
                    <a:lnTo>
                      <a:pt x="226" y="146"/>
                    </a:lnTo>
                    <a:lnTo>
                      <a:pt x="224" y="144"/>
                    </a:lnTo>
                    <a:lnTo>
                      <a:pt x="212" y="138"/>
                    </a:lnTo>
                    <a:lnTo>
                      <a:pt x="212" y="138"/>
                    </a:lnTo>
                    <a:lnTo>
                      <a:pt x="214" y="124"/>
                    </a:lnTo>
                    <a:lnTo>
                      <a:pt x="214" y="110"/>
                    </a:lnTo>
                    <a:lnTo>
                      <a:pt x="226" y="106"/>
                    </a:lnTo>
                    <a:lnTo>
                      <a:pt x="226" y="106"/>
                    </a:lnTo>
                    <a:lnTo>
                      <a:pt x="230" y="104"/>
                    </a:lnTo>
                    <a:lnTo>
                      <a:pt x="232" y="102"/>
                    </a:lnTo>
                    <a:lnTo>
                      <a:pt x="232" y="100"/>
                    </a:lnTo>
                    <a:lnTo>
                      <a:pt x="232" y="96"/>
                    </a:lnTo>
                    <a:lnTo>
                      <a:pt x="232" y="96"/>
                    </a:lnTo>
                    <a:close/>
                    <a:moveTo>
                      <a:pt x="164" y="102"/>
                    </a:moveTo>
                    <a:lnTo>
                      <a:pt x="164" y="102"/>
                    </a:lnTo>
                    <a:lnTo>
                      <a:pt x="166" y="114"/>
                    </a:lnTo>
                    <a:lnTo>
                      <a:pt x="168" y="124"/>
                    </a:lnTo>
                    <a:lnTo>
                      <a:pt x="166" y="134"/>
                    </a:lnTo>
                    <a:lnTo>
                      <a:pt x="162" y="144"/>
                    </a:lnTo>
                    <a:lnTo>
                      <a:pt x="156" y="154"/>
                    </a:lnTo>
                    <a:lnTo>
                      <a:pt x="148" y="162"/>
                    </a:lnTo>
                    <a:lnTo>
                      <a:pt x="140" y="168"/>
                    </a:lnTo>
                    <a:lnTo>
                      <a:pt x="130" y="172"/>
                    </a:lnTo>
                    <a:lnTo>
                      <a:pt x="130" y="172"/>
                    </a:lnTo>
                    <a:lnTo>
                      <a:pt x="120" y="174"/>
                    </a:lnTo>
                    <a:lnTo>
                      <a:pt x="108" y="174"/>
                    </a:lnTo>
                    <a:lnTo>
                      <a:pt x="98" y="172"/>
                    </a:lnTo>
                    <a:lnTo>
                      <a:pt x="88" y="170"/>
                    </a:lnTo>
                    <a:lnTo>
                      <a:pt x="80" y="164"/>
                    </a:lnTo>
                    <a:lnTo>
                      <a:pt x="72" y="156"/>
                    </a:lnTo>
                    <a:lnTo>
                      <a:pt x="66" y="148"/>
                    </a:lnTo>
                    <a:lnTo>
                      <a:pt x="60" y="138"/>
                    </a:lnTo>
                    <a:lnTo>
                      <a:pt x="60" y="138"/>
                    </a:lnTo>
                    <a:lnTo>
                      <a:pt x="58" y="126"/>
                    </a:lnTo>
                    <a:lnTo>
                      <a:pt x="58" y="116"/>
                    </a:lnTo>
                    <a:lnTo>
                      <a:pt x="60" y="106"/>
                    </a:lnTo>
                    <a:lnTo>
                      <a:pt x="64" y="96"/>
                    </a:lnTo>
                    <a:lnTo>
                      <a:pt x="68" y="88"/>
                    </a:lnTo>
                    <a:lnTo>
                      <a:pt x="76" y="80"/>
                    </a:lnTo>
                    <a:lnTo>
                      <a:pt x="84" y="72"/>
                    </a:lnTo>
                    <a:lnTo>
                      <a:pt x="94" y="68"/>
                    </a:lnTo>
                    <a:lnTo>
                      <a:pt x="94" y="68"/>
                    </a:lnTo>
                    <a:lnTo>
                      <a:pt x="106" y="66"/>
                    </a:lnTo>
                    <a:lnTo>
                      <a:pt x="116" y="66"/>
                    </a:lnTo>
                    <a:lnTo>
                      <a:pt x="126" y="68"/>
                    </a:lnTo>
                    <a:lnTo>
                      <a:pt x="136" y="72"/>
                    </a:lnTo>
                    <a:lnTo>
                      <a:pt x="146" y="76"/>
                    </a:lnTo>
                    <a:lnTo>
                      <a:pt x="154" y="84"/>
                    </a:lnTo>
                    <a:lnTo>
                      <a:pt x="160" y="92"/>
                    </a:lnTo>
                    <a:lnTo>
                      <a:pt x="164" y="102"/>
                    </a:lnTo>
                    <a:lnTo>
                      <a:pt x="164" y="102"/>
                    </a:lnTo>
                    <a:close/>
                  </a:path>
                </a:pathLst>
              </a:custGeom>
              <a:solidFill>
                <a:srgbClr val="DFEF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1" name="Freeform 323"/>
              <p:cNvSpPr/>
              <p:nvPr/>
            </p:nvSpPr>
            <p:spPr bwMode="auto">
              <a:xfrm>
                <a:off x="10226772" y="2567601"/>
                <a:ext cx="188672" cy="187470"/>
              </a:xfrm>
              <a:custGeom>
                <a:avLst/>
                <a:gdLst>
                  <a:gd name="T0" fmla="*/ 0 w 157"/>
                  <a:gd name="T1" fmla="*/ 78 h 156"/>
                  <a:gd name="T2" fmla="*/ 0 w 157"/>
                  <a:gd name="T3" fmla="*/ 78 h 156"/>
                  <a:gd name="T4" fmla="*/ 2 w 157"/>
                  <a:gd name="T5" fmla="*/ 62 h 156"/>
                  <a:gd name="T6" fmla="*/ 6 w 157"/>
                  <a:gd name="T7" fmla="*/ 48 h 156"/>
                  <a:gd name="T8" fmla="*/ 14 w 157"/>
                  <a:gd name="T9" fmla="*/ 34 h 156"/>
                  <a:gd name="T10" fmla="*/ 25 w 157"/>
                  <a:gd name="T11" fmla="*/ 24 h 156"/>
                  <a:gd name="T12" fmla="*/ 35 w 157"/>
                  <a:gd name="T13" fmla="*/ 14 h 156"/>
                  <a:gd name="T14" fmla="*/ 49 w 157"/>
                  <a:gd name="T15" fmla="*/ 6 h 156"/>
                  <a:gd name="T16" fmla="*/ 63 w 157"/>
                  <a:gd name="T17" fmla="*/ 2 h 156"/>
                  <a:gd name="T18" fmla="*/ 79 w 157"/>
                  <a:gd name="T19" fmla="*/ 0 h 156"/>
                  <a:gd name="T20" fmla="*/ 79 w 157"/>
                  <a:gd name="T21" fmla="*/ 0 h 156"/>
                  <a:gd name="T22" fmla="*/ 95 w 157"/>
                  <a:gd name="T23" fmla="*/ 2 h 156"/>
                  <a:gd name="T24" fmla="*/ 109 w 157"/>
                  <a:gd name="T25" fmla="*/ 6 h 156"/>
                  <a:gd name="T26" fmla="*/ 123 w 157"/>
                  <a:gd name="T27" fmla="*/ 14 h 156"/>
                  <a:gd name="T28" fmla="*/ 133 w 157"/>
                  <a:gd name="T29" fmla="*/ 24 h 156"/>
                  <a:gd name="T30" fmla="*/ 143 w 157"/>
                  <a:gd name="T31" fmla="*/ 34 h 156"/>
                  <a:gd name="T32" fmla="*/ 151 w 157"/>
                  <a:gd name="T33" fmla="*/ 48 h 156"/>
                  <a:gd name="T34" fmla="*/ 155 w 157"/>
                  <a:gd name="T35" fmla="*/ 62 h 156"/>
                  <a:gd name="T36" fmla="*/ 157 w 157"/>
                  <a:gd name="T37" fmla="*/ 78 h 156"/>
                  <a:gd name="T38" fmla="*/ 157 w 157"/>
                  <a:gd name="T39" fmla="*/ 78 h 156"/>
                  <a:gd name="T40" fmla="*/ 155 w 157"/>
                  <a:gd name="T41" fmla="*/ 94 h 156"/>
                  <a:gd name="T42" fmla="*/ 151 w 157"/>
                  <a:gd name="T43" fmla="*/ 108 h 156"/>
                  <a:gd name="T44" fmla="*/ 143 w 157"/>
                  <a:gd name="T45" fmla="*/ 122 h 156"/>
                  <a:gd name="T46" fmla="*/ 133 w 157"/>
                  <a:gd name="T47" fmla="*/ 132 h 156"/>
                  <a:gd name="T48" fmla="*/ 123 w 157"/>
                  <a:gd name="T49" fmla="*/ 142 h 156"/>
                  <a:gd name="T50" fmla="*/ 109 w 157"/>
                  <a:gd name="T51" fmla="*/ 150 h 156"/>
                  <a:gd name="T52" fmla="*/ 95 w 157"/>
                  <a:gd name="T53" fmla="*/ 154 h 156"/>
                  <a:gd name="T54" fmla="*/ 79 w 157"/>
                  <a:gd name="T55" fmla="*/ 156 h 156"/>
                  <a:gd name="T56" fmla="*/ 79 w 157"/>
                  <a:gd name="T57" fmla="*/ 156 h 156"/>
                  <a:gd name="T58" fmla="*/ 63 w 157"/>
                  <a:gd name="T59" fmla="*/ 154 h 156"/>
                  <a:gd name="T60" fmla="*/ 49 w 157"/>
                  <a:gd name="T61" fmla="*/ 150 h 156"/>
                  <a:gd name="T62" fmla="*/ 35 w 157"/>
                  <a:gd name="T63" fmla="*/ 142 h 156"/>
                  <a:gd name="T64" fmla="*/ 25 w 157"/>
                  <a:gd name="T65" fmla="*/ 132 h 156"/>
                  <a:gd name="T66" fmla="*/ 14 w 157"/>
                  <a:gd name="T67" fmla="*/ 122 h 156"/>
                  <a:gd name="T68" fmla="*/ 6 w 157"/>
                  <a:gd name="T69" fmla="*/ 108 h 156"/>
                  <a:gd name="T70" fmla="*/ 2 w 157"/>
                  <a:gd name="T71" fmla="*/ 94 h 156"/>
                  <a:gd name="T72" fmla="*/ 0 w 157"/>
                  <a:gd name="T73" fmla="*/ 78 h 156"/>
                  <a:gd name="T74" fmla="*/ 0 w 157"/>
                  <a:gd name="T75"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0" y="78"/>
                    </a:moveTo>
                    <a:lnTo>
                      <a:pt x="0" y="78"/>
                    </a:lnTo>
                    <a:lnTo>
                      <a:pt x="2" y="62"/>
                    </a:lnTo>
                    <a:lnTo>
                      <a:pt x="6" y="48"/>
                    </a:lnTo>
                    <a:lnTo>
                      <a:pt x="14" y="34"/>
                    </a:lnTo>
                    <a:lnTo>
                      <a:pt x="25" y="24"/>
                    </a:lnTo>
                    <a:lnTo>
                      <a:pt x="35" y="14"/>
                    </a:lnTo>
                    <a:lnTo>
                      <a:pt x="49" y="6"/>
                    </a:lnTo>
                    <a:lnTo>
                      <a:pt x="63" y="2"/>
                    </a:lnTo>
                    <a:lnTo>
                      <a:pt x="79" y="0"/>
                    </a:lnTo>
                    <a:lnTo>
                      <a:pt x="79" y="0"/>
                    </a:lnTo>
                    <a:lnTo>
                      <a:pt x="95" y="2"/>
                    </a:lnTo>
                    <a:lnTo>
                      <a:pt x="109" y="6"/>
                    </a:lnTo>
                    <a:lnTo>
                      <a:pt x="123" y="14"/>
                    </a:lnTo>
                    <a:lnTo>
                      <a:pt x="133" y="24"/>
                    </a:lnTo>
                    <a:lnTo>
                      <a:pt x="143" y="34"/>
                    </a:lnTo>
                    <a:lnTo>
                      <a:pt x="151" y="48"/>
                    </a:lnTo>
                    <a:lnTo>
                      <a:pt x="155" y="62"/>
                    </a:lnTo>
                    <a:lnTo>
                      <a:pt x="157" y="78"/>
                    </a:lnTo>
                    <a:lnTo>
                      <a:pt x="157" y="78"/>
                    </a:lnTo>
                    <a:lnTo>
                      <a:pt x="155" y="94"/>
                    </a:lnTo>
                    <a:lnTo>
                      <a:pt x="151" y="108"/>
                    </a:lnTo>
                    <a:lnTo>
                      <a:pt x="143" y="122"/>
                    </a:lnTo>
                    <a:lnTo>
                      <a:pt x="133" y="132"/>
                    </a:lnTo>
                    <a:lnTo>
                      <a:pt x="123" y="142"/>
                    </a:lnTo>
                    <a:lnTo>
                      <a:pt x="109" y="150"/>
                    </a:lnTo>
                    <a:lnTo>
                      <a:pt x="95" y="154"/>
                    </a:lnTo>
                    <a:lnTo>
                      <a:pt x="79" y="156"/>
                    </a:lnTo>
                    <a:lnTo>
                      <a:pt x="79" y="156"/>
                    </a:lnTo>
                    <a:lnTo>
                      <a:pt x="63" y="154"/>
                    </a:lnTo>
                    <a:lnTo>
                      <a:pt x="49" y="150"/>
                    </a:lnTo>
                    <a:lnTo>
                      <a:pt x="35" y="142"/>
                    </a:lnTo>
                    <a:lnTo>
                      <a:pt x="25" y="132"/>
                    </a:lnTo>
                    <a:lnTo>
                      <a:pt x="14" y="122"/>
                    </a:lnTo>
                    <a:lnTo>
                      <a:pt x="6" y="108"/>
                    </a:lnTo>
                    <a:lnTo>
                      <a:pt x="2" y="94"/>
                    </a:lnTo>
                    <a:lnTo>
                      <a:pt x="0" y="78"/>
                    </a:lnTo>
                    <a:lnTo>
                      <a:pt x="0" y="78"/>
                    </a:lnTo>
                    <a:close/>
                  </a:path>
                </a:pathLst>
              </a:custGeom>
              <a:solidFill>
                <a:srgbClr val="DFEF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2" name="Freeform 324"/>
              <p:cNvSpPr/>
              <p:nvPr/>
            </p:nvSpPr>
            <p:spPr bwMode="auto">
              <a:xfrm>
                <a:off x="10271237" y="2606057"/>
                <a:ext cx="100945" cy="100945"/>
              </a:xfrm>
              <a:custGeom>
                <a:avLst/>
                <a:gdLst>
                  <a:gd name="T0" fmla="*/ 0 w 84"/>
                  <a:gd name="T1" fmla="*/ 42 h 84"/>
                  <a:gd name="T2" fmla="*/ 0 w 84"/>
                  <a:gd name="T3" fmla="*/ 42 h 84"/>
                  <a:gd name="T4" fmla="*/ 0 w 84"/>
                  <a:gd name="T5" fmla="*/ 34 h 84"/>
                  <a:gd name="T6" fmla="*/ 2 w 84"/>
                  <a:gd name="T7" fmla="*/ 26 h 84"/>
                  <a:gd name="T8" fmla="*/ 6 w 84"/>
                  <a:gd name="T9" fmla="*/ 18 h 84"/>
                  <a:gd name="T10" fmla="*/ 12 w 84"/>
                  <a:gd name="T11" fmla="*/ 12 h 84"/>
                  <a:gd name="T12" fmla="*/ 18 w 84"/>
                  <a:gd name="T13" fmla="*/ 6 h 84"/>
                  <a:gd name="T14" fmla="*/ 26 w 84"/>
                  <a:gd name="T15" fmla="*/ 2 h 84"/>
                  <a:gd name="T16" fmla="*/ 34 w 84"/>
                  <a:gd name="T17" fmla="*/ 0 h 84"/>
                  <a:gd name="T18" fmla="*/ 42 w 84"/>
                  <a:gd name="T19" fmla="*/ 0 h 84"/>
                  <a:gd name="T20" fmla="*/ 42 w 84"/>
                  <a:gd name="T21" fmla="*/ 0 h 84"/>
                  <a:gd name="T22" fmla="*/ 50 w 84"/>
                  <a:gd name="T23" fmla="*/ 0 h 84"/>
                  <a:gd name="T24" fmla="*/ 58 w 84"/>
                  <a:gd name="T25" fmla="*/ 2 h 84"/>
                  <a:gd name="T26" fmla="*/ 66 w 84"/>
                  <a:gd name="T27" fmla="*/ 6 h 84"/>
                  <a:gd name="T28" fmla="*/ 72 w 84"/>
                  <a:gd name="T29" fmla="*/ 12 h 84"/>
                  <a:gd name="T30" fmla="*/ 78 w 84"/>
                  <a:gd name="T31" fmla="*/ 18 h 84"/>
                  <a:gd name="T32" fmla="*/ 82 w 84"/>
                  <a:gd name="T33" fmla="*/ 26 h 84"/>
                  <a:gd name="T34" fmla="*/ 84 w 84"/>
                  <a:gd name="T35" fmla="*/ 34 h 84"/>
                  <a:gd name="T36" fmla="*/ 84 w 84"/>
                  <a:gd name="T37" fmla="*/ 42 h 84"/>
                  <a:gd name="T38" fmla="*/ 84 w 84"/>
                  <a:gd name="T39" fmla="*/ 42 h 84"/>
                  <a:gd name="T40" fmla="*/ 84 w 84"/>
                  <a:gd name="T41" fmla="*/ 50 h 84"/>
                  <a:gd name="T42" fmla="*/ 82 w 84"/>
                  <a:gd name="T43" fmla="*/ 58 h 84"/>
                  <a:gd name="T44" fmla="*/ 78 w 84"/>
                  <a:gd name="T45" fmla="*/ 66 h 84"/>
                  <a:gd name="T46" fmla="*/ 72 w 84"/>
                  <a:gd name="T47" fmla="*/ 72 h 84"/>
                  <a:gd name="T48" fmla="*/ 66 w 84"/>
                  <a:gd name="T49" fmla="*/ 78 h 84"/>
                  <a:gd name="T50" fmla="*/ 58 w 84"/>
                  <a:gd name="T51" fmla="*/ 82 h 84"/>
                  <a:gd name="T52" fmla="*/ 50 w 84"/>
                  <a:gd name="T53" fmla="*/ 84 h 84"/>
                  <a:gd name="T54" fmla="*/ 42 w 84"/>
                  <a:gd name="T55" fmla="*/ 84 h 84"/>
                  <a:gd name="T56" fmla="*/ 42 w 84"/>
                  <a:gd name="T57" fmla="*/ 84 h 84"/>
                  <a:gd name="T58" fmla="*/ 34 w 84"/>
                  <a:gd name="T59" fmla="*/ 84 h 84"/>
                  <a:gd name="T60" fmla="*/ 26 w 84"/>
                  <a:gd name="T61" fmla="*/ 82 h 84"/>
                  <a:gd name="T62" fmla="*/ 18 w 84"/>
                  <a:gd name="T63" fmla="*/ 78 h 84"/>
                  <a:gd name="T64" fmla="*/ 12 w 84"/>
                  <a:gd name="T65" fmla="*/ 72 h 84"/>
                  <a:gd name="T66" fmla="*/ 6 w 84"/>
                  <a:gd name="T67" fmla="*/ 66 h 84"/>
                  <a:gd name="T68" fmla="*/ 2 w 84"/>
                  <a:gd name="T69" fmla="*/ 58 h 84"/>
                  <a:gd name="T70" fmla="*/ 0 w 84"/>
                  <a:gd name="T71" fmla="*/ 50 h 84"/>
                  <a:gd name="T72" fmla="*/ 0 w 84"/>
                  <a:gd name="T73" fmla="*/ 42 h 84"/>
                  <a:gd name="T74" fmla="*/ 0 w 84"/>
                  <a:gd name="T75" fmla="*/ 4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0" y="42"/>
                    </a:move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8" y="18"/>
                    </a:lnTo>
                    <a:lnTo>
                      <a:pt x="82" y="26"/>
                    </a:lnTo>
                    <a:lnTo>
                      <a:pt x="84" y="34"/>
                    </a:lnTo>
                    <a:lnTo>
                      <a:pt x="84" y="42"/>
                    </a:lnTo>
                    <a:lnTo>
                      <a:pt x="84" y="42"/>
                    </a:lnTo>
                    <a:lnTo>
                      <a:pt x="84" y="50"/>
                    </a:lnTo>
                    <a:lnTo>
                      <a:pt x="82" y="58"/>
                    </a:lnTo>
                    <a:lnTo>
                      <a:pt x="78" y="66"/>
                    </a:lnTo>
                    <a:lnTo>
                      <a:pt x="72" y="72"/>
                    </a:lnTo>
                    <a:lnTo>
                      <a:pt x="66" y="78"/>
                    </a:lnTo>
                    <a:lnTo>
                      <a:pt x="58" y="82"/>
                    </a:lnTo>
                    <a:lnTo>
                      <a:pt x="50" y="84"/>
                    </a:lnTo>
                    <a:lnTo>
                      <a:pt x="42" y="84"/>
                    </a:lnTo>
                    <a:lnTo>
                      <a:pt x="42" y="84"/>
                    </a:lnTo>
                    <a:lnTo>
                      <a:pt x="34" y="84"/>
                    </a:lnTo>
                    <a:lnTo>
                      <a:pt x="26" y="82"/>
                    </a:lnTo>
                    <a:lnTo>
                      <a:pt x="18" y="78"/>
                    </a:lnTo>
                    <a:lnTo>
                      <a:pt x="12" y="72"/>
                    </a:lnTo>
                    <a:lnTo>
                      <a:pt x="6" y="66"/>
                    </a:lnTo>
                    <a:lnTo>
                      <a:pt x="2" y="58"/>
                    </a:lnTo>
                    <a:lnTo>
                      <a:pt x="0" y="50"/>
                    </a:lnTo>
                    <a:lnTo>
                      <a:pt x="0" y="42"/>
                    </a:lnTo>
                    <a:lnTo>
                      <a:pt x="0" y="42"/>
                    </a:lnTo>
                    <a:close/>
                  </a:path>
                </a:pathLst>
              </a:custGeom>
              <a:solidFill>
                <a:srgbClr val="47B2B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3" name="Freeform 325"/>
              <p:cNvSpPr>
                <a:spLocks noEditPoints="1"/>
              </p:cNvSpPr>
              <p:nvPr/>
            </p:nvSpPr>
            <p:spPr bwMode="auto">
              <a:xfrm>
                <a:off x="9851833" y="2548374"/>
                <a:ext cx="578032" cy="466271"/>
              </a:xfrm>
              <a:custGeom>
                <a:avLst/>
                <a:gdLst>
                  <a:gd name="T0" fmla="*/ 110 w 481"/>
                  <a:gd name="T1" fmla="*/ 388 h 388"/>
                  <a:gd name="T2" fmla="*/ 82 w 481"/>
                  <a:gd name="T3" fmla="*/ 384 h 388"/>
                  <a:gd name="T4" fmla="*/ 58 w 481"/>
                  <a:gd name="T5" fmla="*/ 376 h 388"/>
                  <a:gd name="T6" fmla="*/ 38 w 481"/>
                  <a:gd name="T7" fmla="*/ 362 h 388"/>
                  <a:gd name="T8" fmla="*/ 20 w 481"/>
                  <a:gd name="T9" fmla="*/ 342 h 388"/>
                  <a:gd name="T10" fmla="*/ 10 w 481"/>
                  <a:gd name="T11" fmla="*/ 324 h 388"/>
                  <a:gd name="T12" fmla="*/ 0 w 481"/>
                  <a:gd name="T13" fmla="*/ 282 h 388"/>
                  <a:gd name="T14" fmla="*/ 2 w 481"/>
                  <a:gd name="T15" fmla="*/ 260 h 388"/>
                  <a:gd name="T16" fmla="*/ 20 w 481"/>
                  <a:gd name="T17" fmla="*/ 218 h 388"/>
                  <a:gd name="T18" fmla="*/ 54 w 481"/>
                  <a:gd name="T19" fmla="*/ 186 h 388"/>
                  <a:gd name="T20" fmla="*/ 308 w 481"/>
                  <a:gd name="T21" fmla="*/ 32 h 388"/>
                  <a:gd name="T22" fmla="*/ 355 w 481"/>
                  <a:gd name="T23" fmla="*/ 8 h 388"/>
                  <a:gd name="T24" fmla="*/ 397 w 481"/>
                  <a:gd name="T25" fmla="*/ 0 h 388"/>
                  <a:gd name="T26" fmla="*/ 417 w 481"/>
                  <a:gd name="T27" fmla="*/ 2 h 388"/>
                  <a:gd name="T28" fmla="*/ 435 w 481"/>
                  <a:gd name="T29" fmla="*/ 8 h 388"/>
                  <a:gd name="T30" fmla="*/ 451 w 481"/>
                  <a:gd name="T31" fmla="*/ 20 h 388"/>
                  <a:gd name="T32" fmla="*/ 463 w 481"/>
                  <a:gd name="T33" fmla="*/ 34 h 388"/>
                  <a:gd name="T34" fmla="*/ 477 w 481"/>
                  <a:gd name="T35" fmla="*/ 64 h 388"/>
                  <a:gd name="T36" fmla="*/ 481 w 481"/>
                  <a:gd name="T37" fmla="*/ 84 h 388"/>
                  <a:gd name="T38" fmla="*/ 479 w 481"/>
                  <a:gd name="T39" fmla="*/ 104 h 388"/>
                  <a:gd name="T40" fmla="*/ 475 w 481"/>
                  <a:gd name="T41" fmla="*/ 114 h 388"/>
                  <a:gd name="T42" fmla="*/ 455 w 481"/>
                  <a:gd name="T43" fmla="*/ 150 h 388"/>
                  <a:gd name="T44" fmla="*/ 419 w 481"/>
                  <a:gd name="T45" fmla="*/ 182 h 388"/>
                  <a:gd name="T46" fmla="*/ 188 w 481"/>
                  <a:gd name="T47" fmla="*/ 362 h 388"/>
                  <a:gd name="T48" fmla="*/ 150 w 481"/>
                  <a:gd name="T49" fmla="*/ 380 h 388"/>
                  <a:gd name="T50" fmla="*/ 110 w 481"/>
                  <a:gd name="T51" fmla="*/ 388 h 388"/>
                  <a:gd name="T52" fmla="*/ 397 w 481"/>
                  <a:gd name="T53" fmla="*/ 16 h 388"/>
                  <a:gd name="T54" fmla="*/ 379 w 481"/>
                  <a:gd name="T55" fmla="*/ 16 h 388"/>
                  <a:gd name="T56" fmla="*/ 339 w 481"/>
                  <a:gd name="T57" fmla="*/ 32 h 388"/>
                  <a:gd name="T58" fmla="*/ 62 w 481"/>
                  <a:gd name="T59" fmla="*/ 198 h 388"/>
                  <a:gd name="T60" fmla="*/ 46 w 481"/>
                  <a:gd name="T61" fmla="*/ 212 h 388"/>
                  <a:gd name="T62" fmla="*/ 24 w 481"/>
                  <a:gd name="T63" fmla="*/ 244 h 388"/>
                  <a:gd name="T64" fmla="*/ 18 w 481"/>
                  <a:gd name="T65" fmla="*/ 264 h 388"/>
                  <a:gd name="T66" fmla="*/ 18 w 481"/>
                  <a:gd name="T67" fmla="*/ 300 h 388"/>
                  <a:gd name="T68" fmla="*/ 34 w 481"/>
                  <a:gd name="T69" fmla="*/ 334 h 388"/>
                  <a:gd name="T70" fmla="*/ 40 w 481"/>
                  <a:gd name="T71" fmla="*/ 342 h 388"/>
                  <a:gd name="T72" fmla="*/ 56 w 481"/>
                  <a:gd name="T73" fmla="*/ 356 h 388"/>
                  <a:gd name="T74" fmla="*/ 76 w 481"/>
                  <a:gd name="T75" fmla="*/ 366 h 388"/>
                  <a:gd name="T76" fmla="*/ 98 w 481"/>
                  <a:gd name="T77" fmla="*/ 370 h 388"/>
                  <a:gd name="T78" fmla="*/ 110 w 481"/>
                  <a:gd name="T79" fmla="*/ 372 h 388"/>
                  <a:gd name="T80" fmla="*/ 144 w 481"/>
                  <a:gd name="T81" fmla="*/ 366 h 388"/>
                  <a:gd name="T82" fmla="*/ 178 w 481"/>
                  <a:gd name="T83" fmla="*/ 350 h 388"/>
                  <a:gd name="T84" fmla="*/ 409 w 481"/>
                  <a:gd name="T85" fmla="*/ 170 h 388"/>
                  <a:gd name="T86" fmla="*/ 441 w 481"/>
                  <a:gd name="T87" fmla="*/ 140 h 388"/>
                  <a:gd name="T88" fmla="*/ 461 w 481"/>
                  <a:gd name="T89" fmla="*/ 108 h 388"/>
                  <a:gd name="T90" fmla="*/ 465 w 481"/>
                  <a:gd name="T91" fmla="*/ 92 h 388"/>
                  <a:gd name="T92" fmla="*/ 459 w 481"/>
                  <a:gd name="T93" fmla="*/ 60 h 388"/>
                  <a:gd name="T94" fmla="*/ 451 w 481"/>
                  <a:gd name="T95" fmla="*/ 44 h 388"/>
                  <a:gd name="T96" fmla="*/ 427 w 481"/>
                  <a:gd name="T97" fmla="*/ 22 h 388"/>
                  <a:gd name="T98" fmla="*/ 397 w 481"/>
                  <a:gd name="T99" fmla="*/ 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1" h="388">
                    <a:moveTo>
                      <a:pt x="110" y="388"/>
                    </a:moveTo>
                    <a:lnTo>
                      <a:pt x="110" y="388"/>
                    </a:lnTo>
                    <a:lnTo>
                      <a:pt x="96" y="386"/>
                    </a:lnTo>
                    <a:lnTo>
                      <a:pt x="82" y="384"/>
                    </a:lnTo>
                    <a:lnTo>
                      <a:pt x="70" y="380"/>
                    </a:lnTo>
                    <a:lnTo>
                      <a:pt x="58" y="376"/>
                    </a:lnTo>
                    <a:lnTo>
                      <a:pt x="48" y="370"/>
                    </a:lnTo>
                    <a:lnTo>
                      <a:pt x="38" y="362"/>
                    </a:lnTo>
                    <a:lnTo>
                      <a:pt x="28" y="352"/>
                    </a:lnTo>
                    <a:lnTo>
                      <a:pt x="20" y="342"/>
                    </a:lnTo>
                    <a:lnTo>
                      <a:pt x="20" y="342"/>
                    </a:lnTo>
                    <a:lnTo>
                      <a:pt x="10" y="324"/>
                    </a:lnTo>
                    <a:lnTo>
                      <a:pt x="2" y="302"/>
                    </a:lnTo>
                    <a:lnTo>
                      <a:pt x="0" y="282"/>
                    </a:lnTo>
                    <a:lnTo>
                      <a:pt x="2" y="260"/>
                    </a:lnTo>
                    <a:lnTo>
                      <a:pt x="2" y="260"/>
                    </a:lnTo>
                    <a:lnTo>
                      <a:pt x="10" y="238"/>
                    </a:lnTo>
                    <a:lnTo>
                      <a:pt x="20" y="218"/>
                    </a:lnTo>
                    <a:lnTo>
                      <a:pt x="36" y="200"/>
                    </a:lnTo>
                    <a:lnTo>
                      <a:pt x="54" y="186"/>
                    </a:lnTo>
                    <a:lnTo>
                      <a:pt x="308" y="32"/>
                    </a:lnTo>
                    <a:lnTo>
                      <a:pt x="308" y="32"/>
                    </a:lnTo>
                    <a:lnTo>
                      <a:pt x="333" y="18"/>
                    </a:lnTo>
                    <a:lnTo>
                      <a:pt x="355" y="8"/>
                    </a:lnTo>
                    <a:lnTo>
                      <a:pt x="377" y="2"/>
                    </a:lnTo>
                    <a:lnTo>
                      <a:pt x="397" y="0"/>
                    </a:lnTo>
                    <a:lnTo>
                      <a:pt x="397" y="0"/>
                    </a:lnTo>
                    <a:lnTo>
                      <a:pt x="417" y="2"/>
                    </a:lnTo>
                    <a:lnTo>
                      <a:pt x="425" y="4"/>
                    </a:lnTo>
                    <a:lnTo>
                      <a:pt x="435" y="8"/>
                    </a:lnTo>
                    <a:lnTo>
                      <a:pt x="443" y="14"/>
                    </a:lnTo>
                    <a:lnTo>
                      <a:pt x="451" y="20"/>
                    </a:lnTo>
                    <a:lnTo>
                      <a:pt x="463" y="34"/>
                    </a:lnTo>
                    <a:lnTo>
                      <a:pt x="463" y="34"/>
                    </a:lnTo>
                    <a:lnTo>
                      <a:pt x="475" y="54"/>
                    </a:lnTo>
                    <a:lnTo>
                      <a:pt x="477" y="64"/>
                    </a:lnTo>
                    <a:lnTo>
                      <a:pt x="479" y="74"/>
                    </a:lnTo>
                    <a:lnTo>
                      <a:pt x="481" y="84"/>
                    </a:lnTo>
                    <a:lnTo>
                      <a:pt x="479" y="94"/>
                    </a:lnTo>
                    <a:lnTo>
                      <a:pt x="479" y="104"/>
                    </a:lnTo>
                    <a:lnTo>
                      <a:pt x="475" y="114"/>
                    </a:lnTo>
                    <a:lnTo>
                      <a:pt x="475" y="114"/>
                    </a:lnTo>
                    <a:lnTo>
                      <a:pt x="467" y="132"/>
                    </a:lnTo>
                    <a:lnTo>
                      <a:pt x="455" y="150"/>
                    </a:lnTo>
                    <a:lnTo>
                      <a:pt x="439" y="166"/>
                    </a:lnTo>
                    <a:lnTo>
                      <a:pt x="419" y="182"/>
                    </a:lnTo>
                    <a:lnTo>
                      <a:pt x="188" y="362"/>
                    </a:lnTo>
                    <a:lnTo>
                      <a:pt x="188" y="362"/>
                    </a:lnTo>
                    <a:lnTo>
                      <a:pt x="168" y="374"/>
                    </a:lnTo>
                    <a:lnTo>
                      <a:pt x="150" y="380"/>
                    </a:lnTo>
                    <a:lnTo>
                      <a:pt x="130" y="386"/>
                    </a:lnTo>
                    <a:lnTo>
                      <a:pt x="110" y="388"/>
                    </a:lnTo>
                    <a:lnTo>
                      <a:pt x="110" y="388"/>
                    </a:lnTo>
                    <a:close/>
                    <a:moveTo>
                      <a:pt x="397" y="16"/>
                    </a:moveTo>
                    <a:lnTo>
                      <a:pt x="397" y="16"/>
                    </a:lnTo>
                    <a:lnTo>
                      <a:pt x="379" y="16"/>
                    </a:lnTo>
                    <a:lnTo>
                      <a:pt x="359" y="22"/>
                    </a:lnTo>
                    <a:lnTo>
                      <a:pt x="339" y="32"/>
                    </a:lnTo>
                    <a:lnTo>
                      <a:pt x="318" y="44"/>
                    </a:lnTo>
                    <a:lnTo>
                      <a:pt x="62" y="198"/>
                    </a:lnTo>
                    <a:lnTo>
                      <a:pt x="62" y="198"/>
                    </a:lnTo>
                    <a:lnTo>
                      <a:pt x="46" y="212"/>
                    </a:lnTo>
                    <a:lnTo>
                      <a:pt x="34" y="228"/>
                    </a:lnTo>
                    <a:lnTo>
                      <a:pt x="24" y="244"/>
                    </a:lnTo>
                    <a:lnTo>
                      <a:pt x="18" y="264"/>
                    </a:lnTo>
                    <a:lnTo>
                      <a:pt x="18" y="264"/>
                    </a:lnTo>
                    <a:lnTo>
                      <a:pt x="16" y="282"/>
                    </a:lnTo>
                    <a:lnTo>
                      <a:pt x="18" y="300"/>
                    </a:lnTo>
                    <a:lnTo>
                      <a:pt x="24" y="318"/>
                    </a:lnTo>
                    <a:lnTo>
                      <a:pt x="34" y="334"/>
                    </a:lnTo>
                    <a:lnTo>
                      <a:pt x="34" y="334"/>
                    </a:lnTo>
                    <a:lnTo>
                      <a:pt x="40" y="342"/>
                    </a:lnTo>
                    <a:lnTo>
                      <a:pt x="48" y="350"/>
                    </a:lnTo>
                    <a:lnTo>
                      <a:pt x="56" y="356"/>
                    </a:lnTo>
                    <a:lnTo>
                      <a:pt x="66" y="362"/>
                    </a:lnTo>
                    <a:lnTo>
                      <a:pt x="76" y="366"/>
                    </a:lnTo>
                    <a:lnTo>
                      <a:pt x="86" y="368"/>
                    </a:lnTo>
                    <a:lnTo>
                      <a:pt x="98" y="370"/>
                    </a:lnTo>
                    <a:lnTo>
                      <a:pt x="110" y="372"/>
                    </a:lnTo>
                    <a:lnTo>
                      <a:pt x="110" y="372"/>
                    </a:lnTo>
                    <a:lnTo>
                      <a:pt x="128" y="370"/>
                    </a:lnTo>
                    <a:lnTo>
                      <a:pt x="144" y="366"/>
                    </a:lnTo>
                    <a:lnTo>
                      <a:pt x="162" y="358"/>
                    </a:lnTo>
                    <a:lnTo>
                      <a:pt x="178" y="350"/>
                    </a:lnTo>
                    <a:lnTo>
                      <a:pt x="409" y="170"/>
                    </a:lnTo>
                    <a:lnTo>
                      <a:pt x="409" y="170"/>
                    </a:lnTo>
                    <a:lnTo>
                      <a:pt x="427" y="156"/>
                    </a:lnTo>
                    <a:lnTo>
                      <a:pt x="441" y="140"/>
                    </a:lnTo>
                    <a:lnTo>
                      <a:pt x="453" y="124"/>
                    </a:lnTo>
                    <a:lnTo>
                      <a:pt x="461" y="108"/>
                    </a:lnTo>
                    <a:lnTo>
                      <a:pt x="461" y="108"/>
                    </a:lnTo>
                    <a:lnTo>
                      <a:pt x="465" y="92"/>
                    </a:lnTo>
                    <a:lnTo>
                      <a:pt x="463" y="76"/>
                    </a:lnTo>
                    <a:lnTo>
                      <a:pt x="459" y="60"/>
                    </a:lnTo>
                    <a:lnTo>
                      <a:pt x="451" y="44"/>
                    </a:lnTo>
                    <a:lnTo>
                      <a:pt x="451" y="44"/>
                    </a:lnTo>
                    <a:lnTo>
                      <a:pt x="439" y="32"/>
                    </a:lnTo>
                    <a:lnTo>
                      <a:pt x="427" y="22"/>
                    </a:lnTo>
                    <a:lnTo>
                      <a:pt x="413" y="16"/>
                    </a:lnTo>
                    <a:lnTo>
                      <a:pt x="397" y="16"/>
                    </a:lnTo>
                    <a:lnTo>
                      <a:pt x="397" y="16"/>
                    </a:lnTo>
                    <a:close/>
                  </a:path>
                </a:pathLst>
              </a:custGeom>
              <a:solidFill>
                <a:srgbClr val="4B8A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54" name="Freeform 326"/>
              <p:cNvSpPr>
                <a:spLocks noEditPoints="1"/>
              </p:cNvSpPr>
              <p:nvPr/>
            </p:nvSpPr>
            <p:spPr bwMode="auto">
              <a:xfrm>
                <a:off x="10217158" y="2550778"/>
                <a:ext cx="635715" cy="504726"/>
              </a:xfrm>
              <a:custGeom>
                <a:avLst/>
                <a:gdLst>
                  <a:gd name="T0" fmla="*/ 469 w 529"/>
                  <a:gd name="T1" fmla="*/ 420 h 420"/>
                  <a:gd name="T2" fmla="*/ 437 w 529"/>
                  <a:gd name="T3" fmla="*/ 414 h 420"/>
                  <a:gd name="T4" fmla="*/ 401 w 529"/>
                  <a:gd name="T5" fmla="*/ 396 h 420"/>
                  <a:gd name="T6" fmla="*/ 39 w 529"/>
                  <a:gd name="T7" fmla="*/ 160 h 420"/>
                  <a:gd name="T8" fmla="*/ 10 w 529"/>
                  <a:gd name="T9" fmla="*/ 130 h 420"/>
                  <a:gd name="T10" fmla="*/ 0 w 529"/>
                  <a:gd name="T11" fmla="*/ 96 h 420"/>
                  <a:gd name="T12" fmla="*/ 2 w 529"/>
                  <a:gd name="T13" fmla="*/ 62 h 420"/>
                  <a:gd name="T14" fmla="*/ 16 w 529"/>
                  <a:gd name="T15" fmla="*/ 32 h 420"/>
                  <a:gd name="T16" fmla="*/ 16 w 529"/>
                  <a:gd name="T17" fmla="*/ 30 h 420"/>
                  <a:gd name="T18" fmla="*/ 29 w 529"/>
                  <a:gd name="T19" fmla="*/ 18 h 420"/>
                  <a:gd name="T20" fmla="*/ 67 w 529"/>
                  <a:gd name="T21" fmla="*/ 2 h 420"/>
                  <a:gd name="T22" fmla="*/ 87 w 529"/>
                  <a:gd name="T23" fmla="*/ 0 h 420"/>
                  <a:gd name="T24" fmla="*/ 119 w 529"/>
                  <a:gd name="T25" fmla="*/ 4 h 420"/>
                  <a:gd name="T26" fmla="*/ 147 w 529"/>
                  <a:gd name="T27" fmla="*/ 18 h 420"/>
                  <a:gd name="T28" fmla="*/ 479 w 529"/>
                  <a:gd name="T29" fmla="*/ 278 h 420"/>
                  <a:gd name="T30" fmla="*/ 509 w 529"/>
                  <a:gd name="T31" fmla="*/ 304 h 420"/>
                  <a:gd name="T32" fmla="*/ 525 w 529"/>
                  <a:gd name="T33" fmla="*/ 332 h 420"/>
                  <a:gd name="T34" fmla="*/ 529 w 529"/>
                  <a:gd name="T35" fmla="*/ 362 h 420"/>
                  <a:gd name="T36" fmla="*/ 521 w 529"/>
                  <a:gd name="T37" fmla="*/ 392 h 420"/>
                  <a:gd name="T38" fmla="*/ 517 w 529"/>
                  <a:gd name="T39" fmla="*/ 398 h 420"/>
                  <a:gd name="T40" fmla="*/ 507 w 529"/>
                  <a:gd name="T41" fmla="*/ 408 h 420"/>
                  <a:gd name="T42" fmla="*/ 483 w 529"/>
                  <a:gd name="T43" fmla="*/ 420 h 420"/>
                  <a:gd name="T44" fmla="*/ 469 w 529"/>
                  <a:gd name="T45" fmla="*/ 420 h 420"/>
                  <a:gd name="T46" fmla="*/ 31 w 529"/>
                  <a:gd name="T47" fmla="*/ 42 h 420"/>
                  <a:gd name="T48" fmla="*/ 22 w 529"/>
                  <a:gd name="T49" fmla="*/ 52 h 420"/>
                  <a:gd name="T50" fmla="*/ 16 w 529"/>
                  <a:gd name="T51" fmla="*/ 78 h 420"/>
                  <a:gd name="T52" fmla="*/ 18 w 529"/>
                  <a:gd name="T53" fmla="*/ 106 h 420"/>
                  <a:gd name="T54" fmla="*/ 35 w 529"/>
                  <a:gd name="T55" fmla="*/ 134 h 420"/>
                  <a:gd name="T56" fmla="*/ 411 w 529"/>
                  <a:gd name="T57" fmla="*/ 382 h 420"/>
                  <a:gd name="T58" fmla="*/ 425 w 529"/>
                  <a:gd name="T59" fmla="*/ 392 h 420"/>
                  <a:gd name="T60" fmla="*/ 455 w 529"/>
                  <a:gd name="T61" fmla="*/ 404 h 420"/>
                  <a:gd name="T62" fmla="*/ 469 w 529"/>
                  <a:gd name="T63" fmla="*/ 404 h 420"/>
                  <a:gd name="T64" fmla="*/ 489 w 529"/>
                  <a:gd name="T65" fmla="*/ 400 h 420"/>
                  <a:gd name="T66" fmla="*/ 505 w 529"/>
                  <a:gd name="T67" fmla="*/ 388 h 420"/>
                  <a:gd name="T68" fmla="*/ 507 w 529"/>
                  <a:gd name="T69" fmla="*/ 384 h 420"/>
                  <a:gd name="T70" fmla="*/ 513 w 529"/>
                  <a:gd name="T71" fmla="*/ 360 h 420"/>
                  <a:gd name="T72" fmla="*/ 509 w 529"/>
                  <a:gd name="T73" fmla="*/ 336 h 420"/>
                  <a:gd name="T74" fmla="*/ 495 w 529"/>
                  <a:gd name="T75" fmla="*/ 312 h 420"/>
                  <a:gd name="T76" fmla="*/ 471 w 529"/>
                  <a:gd name="T77" fmla="*/ 290 h 420"/>
                  <a:gd name="T78" fmla="*/ 137 w 529"/>
                  <a:gd name="T79" fmla="*/ 30 h 420"/>
                  <a:gd name="T80" fmla="*/ 111 w 529"/>
                  <a:gd name="T81" fmla="*/ 18 h 420"/>
                  <a:gd name="T82" fmla="*/ 87 w 529"/>
                  <a:gd name="T83" fmla="*/ 16 h 420"/>
                  <a:gd name="T84" fmla="*/ 71 w 529"/>
                  <a:gd name="T85" fmla="*/ 18 h 420"/>
                  <a:gd name="T86" fmla="*/ 41 w 529"/>
                  <a:gd name="T87" fmla="*/ 30 h 420"/>
                  <a:gd name="T88" fmla="*/ 31 w 529"/>
                  <a:gd name="T89" fmla="*/ 4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420">
                    <a:moveTo>
                      <a:pt x="469" y="420"/>
                    </a:moveTo>
                    <a:lnTo>
                      <a:pt x="469" y="420"/>
                    </a:lnTo>
                    <a:lnTo>
                      <a:pt x="453" y="420"/>
                    </a:lnTo>
                    <a:lnTo>
                      <a:pt x="437" y="414"/>
                    </a:lnTo>
                    <a:lnTo>
                      <a:pt x="419" y="406"/>
                    </a:lnTo>
                    <a:lnTo>
                      <a:pt x="401" y="396"/>
                    </a:lnTo>
                    <a:lnTo>
                      <a:pt x="39" y="160"/>
                    </a:lnTo>
                    <a:lnTo>
                      <a:pt x="39" y="160"/>
                    </a:lnTo>
                    <a:lnTo>
                      <a:pt x="22" y="146"/>
                    </a:lnTo>
                    <a:lnTo>
                      <a:pt x="10" y="130"/>
                    </a:lnTo>
                    <a:lnTo>
                      <a:pt x="4" y="112"/>
                    </a:lnTo>
                    <a:lnTo>
                      <a:pt x="0" y="96"/>
                    </a:lnTo>
                    <a:lnTo>
                      <a:pt x="0" y="78"/>
                    </a:lnTo>
                    <a:lnTo>
                      <a:pt x="2" y="62"/>
                    </a:lnTo>
                    <a:lnTo>
                      <a:pt x="8" y="46"/>
                    </a:lnTo>
                    <a:lnTo>
                      <a:pt x="16" y="32"/>
                    </a:lnTo>
                    <a:lnTo>
                      <a:pt x="16" y="30"/>
                    </a:lnTo>
                    <a:lnTo>
                      <a:pt x="16" y="30"/>
                    </a:lnTo>
                    <a:lnTo>
                      <a:pt x="22" y="24"/>
                    </a:lnTo>
                    <a:lnTo>
                      <a:pt x="29" y="18"/>
                    </a:lnTo>
                    <a:lnTo>
                      <a:pt x="47" y="8"/>
                    </a:lnTo>
                    <a:lnTo>
                      <a:pt x="67" y="2"/>
                    </a:lnTo>
                    <a:lnTo>
                      <a:pt x="87" y="0"/>
                    </a:lnTo>
                    <a:lnTo>
                      <a:pt x="87" y="0"/>
                    </a:lnTo>
                    <a:lnTo>
                      <a:pt x="103" y="0"/>
                    </a:lnTo>
                    <a:lnTo>
                      <a:pt x="119" y="4"/>
                    </a:lnTo>
                    <a:lnTo>
                      <a:pt x="133" y="10"/>
                    </a:lnTo>
                    <a:lnTo>
                      <a:pt x="147" y="18"/>
                    </a:lnTo>
                    <a:lnTo>
                      <a:pt x="479" y="278"/>
                    </a:lnTo>
                    <a:lnTo>
                      <a:pt x="479" y="278"/>
                    </a:lnTo>
                    <a:lnTo>
                      <a:pt x="495" y="290"/>
                    </a:lnTo>
                    <a:lnTo>
                      <a:pt x="509" y="304"/>
                    </a:lnTo>
                    <a:lnTo>
                      <a:pt x="517" y="318"/>
                    </a:lnTo>
                    <a:lnTo>
                      <a:pt x="525" y="332"/>
                    </a:lnTo>
                    <a:lnTo>
                      <a:pt x="529" y="348"/>
                    </a:lnTo>
                    <a:lnTo>
                      <a:pt x="529" y="362"/>
                    </a:lnTo>
                    <a:lnTo>
                      <a:pt x="527" y="378"/>
                    </a:lnTo>
                    <a:lnTo>
                      <a:pt x="521" y="392"/>
                    </a:lnTo>
                    <a:lnTo>
                      <a:pt x="521" y="394"/>
                    </a:lnTo>
                    <a:lnTo>
                      <a:pt x="517" y="398"/>
                    </a:lnTo>
                    <a:lnTo>
                      <a:pt x="517" y="398"/>
                    </a:lnTo>
                    <a:lnTo>
                      <a:pt x="507" y="408"/>
                    </a:lnTo>
                    <a:lnTo>
                      <a:pt x="497" y="414"/>
                    </a:lnTo>
                    <a:lnTo>
                      <a:pt x="483" y="420"/>
                    </a:lnTo>
                    <a:lnTo>
                      <a:pt x="469" y="420"/>
                    </a:lnTo>
                    <a:lnTo>
                      <a:pt x="469" y="420"/>
                    </a:lnTo>
                    <a:close/>
                    <a:moveTo>
                      <a:pt x="31" y="40"/>
                    </a:moveTo>
                    <a:lnTo>
                      <a:pt x="31" y="42"/>
                    </a:lnTo>
                    <a:lnTo>
                      <a:pt x="31" y="42"/>
                    </a:lnTo>
                    <a:lnTo>
                      <a:pt x="22" y="52"/>
                    </a:lnTo>
                    <a:lnTo>
                      <a:pt x="18" y="66"/>
                    </a:lnTo>
                    <a:lnTo>
                      <a:pt x="16" y="78"/>
                    </a:lnTo>
                    <a:lnTo>
                      <a:pt x="14" y="92"/>
                    </a:lnTo>
                    <a:lnTo>
                      <a:pt x="18" y="106"/>
                    </a:lnTo>
                    <a:lnTo>
                      <a:pt x="24" y="120"/>
                    </a:lnTo>
                    <a:lnTo>
                      <a:pt x="35" y="134"/>
                    </a:lnTo>
                    <a:lnTo>
                      <a:pt x="47" y="148"/>
                    </a:lnTo>
                    <a:lnTo>
                      <a:pt x="411" y="382"/>
                    </a:lnTo>
                    <a:lnTo>
                      <a:pt x="411" y="382"/>
                    </a:lnTo>
                    <a:lnTo>
                      <a:pt x="425" y="392"/>
                    </a:lnTo>
                    <a:lnTo>
                      <a:pt x="441" y="398"/>
                    </a:lnTo>
                    <a:lnTo>
                      <a:pt x="455" y="404"/>
                    </a:lnTo>
                    <a:lnTo>
                      <a:pt x="469" y="404"/>
                    </a:lnTo>
                    <a:lnTo>
                      <a:pt x="469" y="404"/>
                    </a:lnTo>
                    <a:lnTo>
                      <a:pt x="479" y="404"/>
                    </a:lnTo>
                    <a:lnTo>
                      <a:pt x="489" y="400"/>
                    </a:lnTo>
                    <a:lnTo>
                      <a:pt x="497" y="396"/>
                    </a:lnTo>
                    <a:lnTo>
                      <a:pt x="505" y="388"/>
                    </a:lnTo>
                    <a:lnTo>
                      <a:pt x="507" y="384"/>
                    </a:lnTo>
                    <a:lnTo>
                      <a:pt x="507" y="384"/>
                    </a:lnTo>
                    <a:lnTo>
                      <a:pt x="513" y="372"/>
                    </a:lnTo>
                    <a:lnTo>
                      <a:pt x="513" y="360"/>
                    </a:lnTo>
                    <a:lnTo>
                      <a:pt x="513" y="348"/>
                    </a:lnTo>
                    <a:lnTo>
                      <a:pt x="509" y="336"/>
                    </a:lnTo>
                    <a:lnTo>
                      <a:pt x="503" y="324"/>
                    </a:lnTo>
                    <a:lnTo>
                      <a:pt x="495" y="312"/>
                    </a:lnTo>
                    <a:lnTo>
                      <a:pt x="483" y="302"/>
                    </a:lnTo>
                    <a:lnTo>
                      <a:pt x="471" y="290"/>
                    </a:lnTo>
                    <a:lnTo>
                      <a:pt x="137" y="30"/>
                    </a:lnTo>
                    <a:lnTo>
                      <a:pt x="137" y="30"/>
                    </a:lnTo>
                    <a:lnTo>
                      <a:pt x="123" y="22"/>
                    </a:lnTo>
                    <a:lnTo>
                      <a:pt x="111" y="18"/>
                    </a:lnTo>
                    <a:lnTo>
                      <a:pt x="99" y="16"/>
                    </a:lnTo>
                    <a:lnTo>
                      <a:pt x="87" y="16"/>
                    </a:lnTo>
                    <a:lnTo>
                      <a:pt x="87" y="16"/>
                    </a:lnTo>
                    <a:lnTo>
                      <a:pt x="71" y="18"/>
                    </a:lnTo>
                    <a:lnTo>
                      <a:pt x="55" y="22"/>
                    </a:lnTo>
                    <a:lnTo>
                      <a:pt x="41" y="30"/>
                    </a:lnTo>
                    <a:lnTo>
                      <a:pt x="31" y="40"/>
                    </a:lnTo>
                    <a:lnTo>
                      <a:pt x="31" y="40"/>
                    </a:lnTo>
                    <a:close/>
                  </a:path>
                </a:pathLst>
              </a:custGeom>
              <a:solidFill>
                <a:srgbClr val="4B8A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grpSp>
      </p:grpSp>
      <p:sp>
        <p:nvSpPr>
          <p:cNvPr id="255" name="矩形 254"/>
          <p:cNvSpPr/>
          <p:nvPr/>
        </p:nvSpPr>
        <p:spPr>
          <a:xfrm>
            <a:off x="4694924" y="4786056"/>
            <a:ext cx="3188693" cy="461665"/>
          </a:xfrm>
          <a:prstGeom prst="rect">
            <a:avLst/>
          </a:prstGeom>
        </p:spPr>
        <p:txBody>
          <a:bodyPr wrap="none">
            <a:spAutoFit/>
          </a:bodyPr>
          <a:lstStyle/>
          <a:p>
            <a:r>
              <a:rPr lang="en-US" altLang="zh-CN" sz="2400" b="1" dirty="0">
                <a:solidFill>
                  <a:srgbClr val="44A9B0"/>
                </a:solidFill>
                <a:cs typeface="+mn-ea"/>
                <a:sym typeface="+mn-lt"/>
              </a:rPr>
              <a:t>Gestion de </a:t>
            </a:r>
            <a:r>
              <a:rPr lang="en-US" altLang="zh-CN" sz="2400" b="1" dirty="0" err="1">
                <a:solidFill>
                  <a:srgbClr val="44A9B0"/>
                </a:solidFill>
                <a:cs typeface="+mn-ea"/>
                <a:sym typeface="+mn-lt"/>
              </a:rPr>
              <a:t>magasin</a:t>
            </a:r>
            <a:endParaRPr lang="zh-CN" altLang="en-US" sz="2400" b="1" dirty="0">
              <a:solidFill>
                <a:srgbClr val="44A9B0"/>
              </a:solidFill>
              <a:cs typeface="+mn-ea"/>
              <a:sym typeface="+mn-lt"/>
            </a:endParaRPr>
          </a:p>
        </p:txBody>
      </p:sp>
      <p:grpSp>
        <p:nvGrpSpPr>
          <p:cNvPr id="4" name="组合 3"/>
          <p:cNvGrpSpPr/>
          <p:nvPr/>
        </p:nvGrpSpPr>
        <p:grpSpPr>
          <a:xfrm>
            <a:off x="1615932" y="2840034"/>
            <a:ext cx="1472400" cy="1472400"/>
            <a:chOff x="1380376" y="2516081"/>
            <a:chExt cx="1785600" cy="1969200"/>
          </a:xfrm>
        </p:grpSpPr>
        <p:grpSp>
          <p:nvGrpSpPr>
            <p:cNvPr id="7" name="Group 57"/>
            <p:cNvGrpSpPr/>
            <p:nvPr/>
          </p:nvGrpSpPr>
          <p:grpSpPr>
            <a:xfrm>
              <a:off x="1380376" y="2516081"/>
              <a:ext cx="1785600" cy="1969200"/>
              <a:chOff x="2159464" y="2510001"/>
              <a:chExt cx="1523074" cy="1700486"/>
            </a:xfrm>
          </p:grpSpPr>
          <p:sp>
            <p:nvSpPr>
              <p:cNvPr id="37" name="Shape 148"/>
              <p:cNvSpPr/>
              <p:nvPr/>
            </p:nvSpPr>
            <p:spPr>
              <a:xfrm>
                <a:off x="2159464" y="2510001"/>
                <a:ext cx="1523074" cy="1700486"/>
              </a:xfrm>
              <a:custGeom>
                <a:avLst/>
                <a:gdLst/>
                <a:ahLst/>
                <a:cxnLst>
                  <a:cxn ang="0">
                    <a:pos x="wd2" y="hd2"/>
                  </a:cxn>
                  <a:cxn ang="5400000">
                    <a:pos x="wd2" y="hd2"/>
                  </a:cxn>
                  <a:cxn ang="10800000">
                    <a:pos x="wd2" y="hd2"/>
                  </a:cxn>
                  <a:cxn ang="16200000">
                    <a:pos x="wd2" y="hd2"/>
                  </a:cxn>
                </a:cxnLst>
                <a:rect l="0" t="0" r="r" b="b"/>
                <a:pathLst>
                  <a:path w="21596" h="21593" extrusionOk="0">
                    <a:moveTo>
                      <a:pt x="1092" y="4742"/>
                    </a:moveTo>
                    <a:lnTo>
                      <a:pt x="9180" y="528"/>
                    </a:lnTo>
                    <a:cubicBezTo>
                      <a:pt x="9459" y="385"/>
                      <a:pt x="9748" y="262"/>
                      <a:pt x="10042" y="160"/>
                    </a:cubicBezTo>
                    <a:cubicBezTo>
                      <a:pt x="10303" y="70"/>
                      <a:pt x="10577" y="-7"/>
                      <a:pt x="10864" y="0"/>
                    </a:cubicBezTo>
                    <a:cubicBezTo>
                      <a:pt x="11119" y="7"/>
                      <a:pt x="11362" y="80"/>
                      <a:pt x="11594" y="169"/>
                    </a:cubicBezTo>
                    <a:cubicBezTo>
                      <a:pt x="11881" y="278"/>
                      <a:pt x="12157" y="412"/>
                      <a:pt x="12419" y="569"/>
                    </a:cubicBezTo>
                    <a:lnTo>
                      <a:pt x="19879" y="4387"/>
                    </a:lnTo>
                    <a:cubicBezTo>
                      <a:pt x="20200" y="4546"/>
                      <a:pt x="20498" y="4733"/>
                      <a:pt x="20770" y="4942"/>
                    </a:cubicBezTo>
                    <a:cubicBezTo>
                      <a:pt x="20998" y="5118"/>
                      <a:pt x="21215" y="5315"/>
                      <a:pt x="21349" y="5564"/>
                    </a:cubicBezTo>
                    <a:cubicBezTo>
                      <a:pt x="21482" y="5812"/>
                      <a:pt x="21517" y="6088"/>
                      <a:pt x="21544" y="6359"/>
                    </a:cubicBezTo>
                    <a:cubicBezTo>
                      <a:pt x="21566" y="6590"/>
                      <a:pt x="21584" y="6822"/>
                      <a:pt x="21596" y="7055"/>
                    </a:cubicBezTo>
                    <a:lnTo>
                      <a:pt x="21596" y="14541"/>
                    </a:lnTo>
                    <a:cubicBezTo>
                      <a:pt x="21595" y="14806"/>
                      <a:pt x="21576" y="15070"/>
                      <a:pt x="21538" y="15331"/>
                    </a:cubicBezTo>
                    <a:cubicBezTo>
                      <a:pt x="21504" y="15566"/>
                      <a:pt x="21455" y="15801"/>
                      <a:pt x="21346" y="16020"/>
                    </a:cubicBezTo>
                    <a:cubicBezTo>
                      <a:pt x="21220" y="16272"/>
                      <a:pt x="21024" y="16484"/>
                      <a:pt x="20807" y="16671"/>
                    </a:cubicBezTo>
                    <a:cubicBezTo>
                      <a:pt x="20551" y="16891"/>
                      <a:pt x="20260" y="17080"/>
                      <a:pt x="19939" y="17231"/>
                    </a:cubicBezTo>
                    <a:lnTo>
                      <a:pt x="13910" y="20346"/>
                    </a:lnTo>
                    <a:cubicBezTo>
                      <a:pt x="13476" y="20557"/>
                      <a:pt x="13049" y="20773"/>
                      <a:pt x="12630" y="20995"/>
                    </a:cubicBezTo>
                    <a:cubicBezTo>
                      <a:pt x="12087" y="21283"/>
                      <a:pt x="11523" y="21593"/>
                      <a:pt x="10881" y="21593"/>
                    </a:cubicBezTo>
                    <a:cubicBezTo>
                      <a:pt x="10428" y="21593"/>
                      <a:pt x="10008" y="21438"/>
                      <a:pt x="9609" y="21276"/>
                    </a:cubicBezTo>
                    <a:cubicBezTo>
                      <a:pt x="8943" y="21005"/>
                      <a:pt x="8289" y="20696"/>
                      <a:pt x="7650" y="20346"/>
                    </a:cubicBezTo>
                    <a:lnTo>
                      <a:pt x="1772" y="17197"/>
                    </a:lnTo>
                    <a:cubicBezTo>
                      <a:pt x="1505" y="17049"/>
                      <a:pt x="1247" y="16891"/>
                      <a:pt x="999" y="16723"/>
                    </a:cubicBezTo>
                    <a:cubicBezTo>
                      <a:pt x="717" y="16533"/>
                      <a:pt x="440" y="16323"/>
                      <a:pt x="273" y="16039"/>
                    </a:cubicBezTo>
                    <a:cubicBezTo>
                      <a:pt x="125" y="15790"/>
                      <a:pt x="78" y="15510"/>
                      <a:pt x="47" y="15236"/>
                    </a:cubicBezTo>
                    <a:cubicBezTo>
                      <a:pt x="14" y="14947"/>
                      <a:pt x="-2" y="14653"/>
                      <a:pt x="0" y="14357"/>
                    </a:cubicBezTo>
                    <a:lnTo>
                      <a:pt x="0" y="7059"/>
                    </a:lnTo>
                    <a:cubicBezTo>
                      <a:pt x="-4" y="6767"/>
                      <a:pt x="16" y="6477"/>
                      <a:pt x="58" y="6192"/>
                    </a:cubicBezTo>
                    <a:cubicBezTo>
                      <a:pt x="97" y="5928"/>
                      <a:pt x="157" y="5660"/>
                      <a:pt x="311" y="5426"/>
                    </a:cubicBezTo>
                    <a:cubicBezTo>
                      <a:pt x="403" y="5287"/>
                      <a:pt x="525" y="5168"/>
                      <a:pt x="654" y="5058"/>
                    </a:cubicBezTo>
                    <a:cubicBezTo>
                      <a:pt x="790" y="4943"/>
                      <a:pt x="936" y="4837"/>
                      <a:pt x="1092" y="4742"/>
                    </a:cubicBezTo>
                    <a:close/>
                  </a:path>
                </a:pathLst>
              </a:custGeom>
              <a:ln w="76200" cmpd="sng">
                <a:solidFill>
                  <a:srgbClr val="00BBD6"/>
                </a:solidFill>
                <a:prstDash val="solid"/>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defRPr sz="2400"/>
                </a:pPr>
                <a:endParaRPr kumimoji="0" sz="2400" b="0" i="0" u="none" strike="noStrike" kern="1200" cap="none" spc="0" normalizeH="0" baseline="0" noProof="0">
                  <a:ln>
                    <a:noFill/>
                  </a:ln>
                  <a:solidFill>
                    <a:prstClr val="black"/>
                  </a:solidFill>
                  <a:effectLst/>
                  <a:uLnTx/>
                  <a:uFillTx/>
                  <a:cs typeface="+mn-ea"/>
                  <a:sym typeface="+mn-lt"/>
                </a:endParaRPr>
              </a:p>
            </p:txBody>
          </p:sp>
          <p:sp>
            <p:nvSpPr>
              <p:cNvPr id="41" name="Freeform 53"/>
              <p:cNvSpPr/>
              <p:nvPr/>
            </p:nvSpPr>
            <p:spPr bwMode="auto">
              <a:xfrm>
                <a:off x="2765903" y="3323221"/>
                <a:ext cx="148697" cy="146562"/>
              </a:xfrm>
              <a:custGeom>
                <a:avLst/>
                <a:gdLst>
                  <a:gd name="T0" fmla="*/ 209 w 209"/>
                  <a:gd name="T1" fmla="*/ 182 h 206"/>
                  <a:gd name="T2" fmla="*/ 27 w 209"/>
                  <a:gd name="T3" fmla="*/ 0 h 206"/>
                  <a:gd name="T4" fmla="*/ 0 w 209"/>
                  <a:gd name="T5" fmla="*/ 27 h 206"/>
                  <a:gd name="T6" fmla="*/ 182 w 209"/>
                  <a:gd name="T7" fmla="*/ 206 h 206"/>
                  <a:gd name="T8" fmla="*/ 209 w 209"/>
                  <a:gd name="T9" fmla="*/ 182 h 206"/>
                </a:gdLst>
                <a:ahLst/>
                <a:cxnLst>
                  <a:cxn ang="0">
                    <a:pos x="T0" y="T1"/>
                  </a:cxn>
                  <a:cxn ang="0">
                    <a:pos x="T2" y="T3"/>
                  </a:cxn>
                  <a:cxn ang="0">
                    <a:pos x="T4" y="T5"/>
                  </a:cxn>
                  <a:cxn ang="0">
                    <a:pos x="T6" y="T7"/>
                  </a:cxn>
                  <a:cxn ang="0">
                    <a:pos x="T8" y="T9"/>
                  </a:cxn>
                </a:cxnLst>
                <a:rect l="0" t="0" r="r" b="b"/>
                <a:pathLst>
                  <a:path w="209" h="206">
                    <a:moveTo>
                      <a:pt x="209" y="182"/>
                    </a:moveTo>
                    <a:lnTo>
                      <a:pt x="27" y="0"/>
                    </a:lnTo>
                    <a:lnTo>
                      <a:pt x="0" y="27"/>
                    </a:lnTo>
                    <a:lnTo>
                      <a:pt x="182" y="206"/>
                    </a:lnTo>
                    <a:lnTo>
                      <a:pt x="209" y="182"/>
                    </a:lnTo>
                    <a:close/>
                  </a:path>
                </a:pathLst>
              </a:custGeom>
              <a:solidFill>
                <a:schemeClr val="accent6">
                  <a:lumMod val="75000"/>
                </a:schemeClr>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cs typeface="+mn-ea"/>
                  <a:sym typeface="+mn-lt"/>
                </a:endParaRPr>
              </a:p>
            </p:txBody>
          </p:sp>
        </p:grpSp>
        <p:grpSp>
          <p:nvGrpSpPr>
            <p:cNvPr id="278" name="组合 277"/>
            <p:cNvGrpSpPr/>
            <p:nvPr/>
          </p:nvGrpSpPr>
          <p:grpSpPr>
            <a:xfrm>
              <a:off x="1879226" y="3188544"/>
              <a:ext cx="772890" cy="756700"/>
              <a:chOff x="8099425" y="5353050"/>
              <a:chExt cx="871538" cy="812800"/>
            </a:xfrm>
          </p:grpSpPr>
          <p:sp>
            <p:nvSpPr>
              <p:cNvPr id="279" name="Rectangle 157"/>
              <p:cNvSpPr>
                <a:spLocks noChangeArrowheads="1"/>
              </p:cNvSpPr>
              <p:nvPr/>
            </p:nvSpPr>
            <p:spPr bwMode="auto">
              <a:xfrm>
                <a:off x="8129588" y="5413375"/>
                <a:ext cx="811213" cy="571500"/>
              </a:xfrm>
              <a:prstGeom prst="rect">
                <a:avLst/>
              </a:prstGeom>
              <a:solidFill>
                <a:srgbClr val="EB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0" name="Rectangle 158"/>
              <p:cNvSpPr>
                <a:spLocks noChangeArrowheads="1"/>
              </p:cNvSpPr>
              <p:nvPr/>
            </p:nvSpPr>
            <p:spPr bwMode="auto">
              <a:xfrm>
                <a:off x="8129588" y="5353050"/>
                <a:ext cx="811213" cy="60325"/>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1" name="Oval 159"/>
              <p:cNvSpPr>
                <a:spLocks noChangeArrowheads="1"/>
              </p:cNvSpPr>
              <p:nvPr/>
            </p:nvSpPr>
            <p:spPr bwMode="auto">
              <a:xfrm>
                <a:off x="8099425" y="5353050"/>
                <a:ext cx="60325" cy="60325"/>
              </a:xfrm>
              <a:prstGeom prst="ellipse">
                <a:avLst/>
              </a:prstGeom>
              <a:solidFill>
                <a:srgbClr val="647A8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2" name="Oval 160"/>
              <p:cNvSpPr>
                <a:spLocks noChangeArrowheads="1"/>
              </p:cNvSpPr>
              <p:nvPr/>
            </p:nvSpPr>
            <p:spPr bwMode="auto">
              <a:xfrm>
                <a:off x="8912225" y="5353050"/>
                <a:ext cx="58738" cy="60325"/>
              </a:xfrm>
              <a:prstGeom prst="ellipse">
                <a:avLst/>
              </a:prstGeom>
              <a:solidFill>
                <a:srgbClr val="647A8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3" name="Rectangle 161"/>
              <p:cNvSpPr>
                <a:spLocks noChangeArrowheads="1"/>
              </p:cNvSpPr>
              <p:nvPr/>
            </p:nvSpPr>
            <p:spPr bwMode="auto">
              <a:xfrm>
                <a:off x="8189913" y="5473700"/>
                <a:ext cx="90488"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4" name="Rectangle 162"/>
              <p:cNvSpPr>
                <a:spLocks noChangeArrowheads="1"/>
              </p:cNvSpPr>
              <p:nvPr/>
            </p:nvSpPr>
            <p:spPr bwMode="auto">
              <a:xfrm>
                <a:off x="8310563" y="5473700"/>
                <a:ext cx="90488"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5" name="Rectangle 163"/>
              <p:cNvSpPr>
                <a:spLocks noChangeArrowheads="1"/>
              </p:cNvSpPr>
              <p:nvPr/>
            </p:nvSpPr>
            <p:spPr bwMode="auto">
              <a:xfrm>
                <a:off x="8431213" y="5473700"/>
                <a:ext cx="88900"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6" name="Rectangle 164"/>
              <p:cNvSpPr>
                <a:spLocks noChangeArrowheads="1"/>
              </p:cNvSpPr>
              <p:nvPr/>
            </p:nvSpPr>
            <p:spPr bwMode="auto">
              <a:xfrm>
                <a:off x="8550275" y="5473700"/>
                <a:ext cx="90488"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7" name="Rectangle 165"/>
              <p:cNvSpPr>
                <a:spLocks noChangeArrowheads="1"/>
              </p:cNvSpPr>
              <p:nvPr/>
            </p:nvSpPr>
            <p:spPr bwMode="auto">
              <a:xfrm>
                <a:off x="8670925" y="5473700"/>
                <a:ext cx="90488"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8" name="Rectangle 166"/>
              <p:cNvSpPr>
                <a:spLocks noChangeArrowheads="1"/>
              </p:cNvSpPr>
              <p:nvPr/>
            </p:nvSpPr>
            <p:spPr bwMode="auto">
              <a:xfrm>
                <a:off x="8791575" y="5473700"/>
                <a:ext cx="90488" cy="450850"/>
              </a:xfrm>
              <a:prstGeom prst="rect">
                <a:avLst/>
              </a:prstGeom>
              <a:solidFill>
                <a:srgbClr val="D3D7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9" name="Rectangle 167"/>
              <p:cNvSpPr>
                <a:spLocks noChangeArrowheads="1"/>
              </p:cNvSpPr>
              <p:nvPr/>
            </p:nvSpPr>
            <p:spPr bwMode="auto">
              <a:xfrm>
                <a:off x="8189913" y="5654675"/>
                <a:ext cx="90488" cy="269875"/>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0" name="Rectangle 168"/>
              <p:cNvSpPr>
                <a:spLocks noChangeArrowheads="1"/>
              </p:cNvSpPr>
              <p:nvPr/>
            </p:nvSpPr>
            <p:spPr bwMode="auto">
              <a:xfrm>
                <a:off x="8310563" y="5594350"/>
                <a:ext cx="90488" cy="330200"/>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1" name="Rectangle 169"/>
              <p:cNvSpPr>
                <a:spLocks noChangeArrowheads="1"/>
              </p:cNvSpPr>
              <p:nvPr/>
            </p:nvSpPr>
            <p:spPr bwMode="auto">
              <a:xfrm>
                <a:off x="8431213" y="5713413"/>
                <a:ext cx="88900" cy="211138"/>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2" name="Rectangle 170"/>
              <p:cNvSpPr>
                <a:spLocks noChangeArrowheads="1"/>
              </p:cNvSpPr>
              <p:nvPr/>
            </p:nvSpPr>
            <p:spPr bwMode="auto">
              <a:xfrm>
                <a:off x="8550275" y="5624513"/>
                <a:ext cx="90488" cy="300038"/>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3" name="Rectangle 171"/>
              <p:cNvSpPr>
                <a:spLocks noChangeArrowheads="1"/>
              </p:cNvSpPr>
              <p:nvPr/>
            </p:nvSpPr>
            <p:spPr bwMode="auto">
              <a:xfrm>
                <a:off x="8670925" y="5684838"/>
                <a:ext cx="90488" cy="239713"/>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4" name="Rectangle 172"/>
              <p:cNvSpPr>
                <a:spLocks noChangeArrowheads="1"/>
              </p:cNvSpPr>
              <p:nvPr/>
            </p:nvSpPr>
            <p:spPr bwMode="auto">
              <a:xfrm>
                <a:off x="8791575" y="5564188"/>
                <a:ext cx="90488" cy="360363"/>
              </a:xfrm>
              <a:prstGeom prst="rect">
                <a:avLst/>
              </a:prstGeom>
              <a:solidFill>
                <a:srgbClr val="F05F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5" name="Rectangle 173"/>
              <p:cNvSpPr>
                <a:spLocks noChangeArrowheads="1"/>
              </p:cNvSpPr>
              <p:nvPr/>
            </p:nvSpPr>
            <p:spPr bwMode="auto">
              <a:xfrm>
                <a:off x="8505825" y="5984875"/>
                <a:ext cx="60325" cy="120650"/>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6" name="Rectangle 174"/>
              <p:cNvSpPr>
                <a:spLocks noChangeArrowheads="1"/>
              </p:cNvSpPr>
              <p:nvPr/>
            </p:nvSpPr>
            <p:spPr bwMode="auto">
              <a:xfrm>
                <a:off x="8385175" y="6105525"/>
                <a:ext cx="300038" cy="60325"/>
              </a:xfrm>
              <a:prstGeom prst="rect">
                <a:avLst/>
              </a:prstGeom>
              <a:solidFill>
                <a:srgbClr val="647A8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7" name="Oval 175"/>
              <p:cNvSpPr>
                <a:spLocks noChangeArrowheads="1"/>
              </p:cNvSpPr>
              <p:nvPr/>
            </p:nvSpPr>
            <p:spPr bwMode="auto">
              <a:xfrm>
                <a:off x="8656638" y="6105525"/>
                <a:ext cx="58738" cy="60325"/>
              </a:xfrm>
              <a:prstGeom prst="ellipse">
                <a:avLst/>
              </a:prstGeom>
              <a:solidFill>
                <a:srgbClr val="647A8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98" name="Oval 176"/>
              <p:cNvSpPr>
                <a:spLocks noChangeArrowheads="1"/>
              </p:cNvSpPr>
              <p:nvPr/>
            </p:nvSpPr>
            <p:spPr bwMode="auto">
              <a:xfrm>
                <a:off x="8355013" y="6105525"/>
                <a:ext cx="60325" cy="60325"/>
              </a:xfrm>
              <a:prstGeom prst="ellipse">
                <a:avLst/>
              </a:prstGeom>
              <a:solidFill>
                <a:srgbClr val="647A8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grpSp>
      <p:sp>
        <p:nvSpPr>
          <p:cNvPr id="302" name="矩形 301"/>
          <p:cNvSpPr/>
          <p:nvPr/>
        </p:nvSpPr>
        <p:spPr>
          <a:xfrm>
            <a:off x="1493818" y="4747768"/>
            <a:ext cx="1792478" cy="424732"/>
          </a:xfrm>
          <a:prstGeom prst="rect">
            <a:avLst/>
          </a:prstGeom>
        </p:spPr>
        <p:txBody>
          <a:bodyPr wrap="none">
            <a:spAutoFit/>
          </a:bodyPr>
          <a:lstStyle/>
          <a:p>
            <a:pPr>
              <a:lnSpc>
                <a:spcPct val="90000"/>
              </a:lnSpc>
              <a:spcAft>
                <a:spcPts val="600"/>
              </a:spcAft>
            </a:pPr>
            <a:r>
              <a:rPr lang="en-US" altLang="zh-CN" sz="2400" b="1" dirty="0" err="1">
                <a:solidFill>
                  <a:srgbClr val="F05F50"/>
                </a:solidFill>
                <a:cs typeface="+mn-ea"/>
                <a:sym typeface="+mn-lt"/>
              </a:rPr>
              <a:t>Analyse</a:t>
            </a:r>
            <a:r>
              <a:rPr lang="en-US" altLang="zh-CN" sz="2400" b="1" dirty="0">
                <a:solidFill>
                  <a:srgbClr val="F05F50"/>
                </a:solidFill>
                <a:cs typeface="+mn-ea"/>
                <a:sym typeface="+mn-lt"/>
              </a:rPr>
              <a:t> BI</a:t>
            </a:r>
          </a:p>
        </p:txBody>
      </p:sp>
      <p:sp>
        <p:nvSpPr>
          <p:cNvPr id="303" name="矩形 302"/>
          <p:cNvSpPr/>
          <p:nvPr/>
        </p:nvSpPr>
        <p:spPr>
          <a:xfrm>
            <a:off x="8369923" y="5327093"/>
            <a:ext cx="3387457" cy="646331"/>
          </a:xfrm>
          <a:prstGeom prst="rect">
            <a:avLst/>
          </a:prstGeom>
        </p:spPr>
        <p:txBody>
          <a:bodyPr wrap="square">
            <a:spAutoFit/>
          </a:bodyPr>
          <a:lstStyle/>
          <a:p>
            <a:pPr algn="ctr"/>
            <a:r>
              <a:rPr lang="fr-FR" altLang="zh-CN" dirty="0">
                <a:cs typeface="+mn-ea"/>
                <a:sym typeface="+mn-lt"/>
              </a:rPr>
              <a:t>Gérez tous ces appareils par la plateforme DSS PRO</a:t>
            </a:r>
            <a:endParaRPr lang="zh-CN" altLang="en-US" dirty="0">
              <a:cs typeface="+mn-ea"/>
              <a:sym typeface="+mn-lt"/>
            </a:endParaRPr>
          </a:p>
        </p:txBody>
      </p:sp>
      <p:sp>
        <p:nvSpPr>
          <p:cNvPr id="304" name="TextBox 11"/>
          <p:cNvSpPr txBox="1"/>
          <p:nvPr/>
        </p:nvSpPr>
        <p:spPr>
          <a:xfrm>
            <a:off x="4499231" y="5247721"/>
            <a:ext cx="3387457" cy="1043363"/>
          </a:xfrm>
          <a:prstGeom prst="rect">
            <a:avLst/>
          </a:prstGeom>
          <a:noFill/>
        </p:spPr>
        <p:txBody>
          <a:bodyPr wrap="square" lIns="182880" tIns="146304" rIns="182880" bIns="146304" rtlCol="0">
            <a:spAutoFit/>
          </a:bodyPr>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5630" algn="l" defTabSz="932180" rtl="0" eaLnBrk="1" latinLnBrk="0" hangingPunct="1">
              <a:defRPr sz="1800" kern="1200">
                <a:solidFill>
                  <a:schemeClr val="tx1"/>
                </a:solidFill>
                <a:latin typeface="+mn-lt"/>
                <a:ea typeface="+mn-ea"/>
                <a:cs typeface="+mn-cs"/>
              </a:defRPr>
            </a:lvl5pPr>
            <a:lvl6pPr marL="2331720" algn="l" defTabSz="932180" rtl="0" eaLnBrk="1" latinLnBrk="0" hangingPunct="1">
              <a:defRPr sz="1800" kern="1200">
                <a:solidFill>
                  <a:schemeClr val="tx1"/>
                </a:solidFill>
                <a:latin typeface="+mn-lt"/>
                <a:ea typeface="+mn-ea"/>
                <a:cs typeface="+mn-cs"/>
              </a:defRPr>
            </a:lvl6pPr>
            <a:lvl7pPr marL="2798445" algn="l" defTabSz="932180" rtl="0" eaLnBrk="1" latinLnBrk="0" hangingPunct="1">
              <a:defRPr sz="1800" kern="1200">
                <a:solidFill>
                  <a:schemeClr val="tx1"/>
                </a:solidFill>
                <a:latin typeface="+mn-lt"/>
                <a:ea typeface="+mn-ea"/>
                <a:cs typeface="+mn-cs"/>
              </a:defRPr>
            </a:lvl7pPr>
            <a:lvl8pPr marL="3264535" algn="l" defTabSz="932180" rtl="0" eaLnBrk="1" latinLnBrk="0" hangingPunct="1">
              <a:defRPr sz="1800" kern="1200">
                <a:solidFill>
                  <a:schemeClr val="tx1"/>
                </a:solidFill>
                <a:latin typeface="+mn-lt"/>
                <a:ea typeface="+mn-ea"/>
                <a:cs typeface="+mn-cs"/>
              </a:defRPr>
            </a:lvl8pPr>
            <a:lvl9pPr marL="3731260" algn="l" defTabSz="932180" rtl="0" eaLnBrk="1" latinLnBrk="0" hangingPunct="1">
              <a:defRPr sz="1800" kern="1200">
                <a:solidFill>
                  <a:schemeClr val="tx1"/>
                </a:solidFill>
                <a:latin typeface="+mn-lt"/>
                <a:ea typeface="+mn-ea"/>
                <a:cs typeface="+mn-cs"/>
              </a:defRPr>
            </a:lvl9pPr>
          </a:lstStyle>
          <a:p>
            <a:pPr algn="ctr">
              <a:lnSpc>
                <a:spcPct val="90000"/>
              </a:lnSpc>
              <a:spcAft>
                <a:spcPts val="600"/>
              </a:spcAft>
            </a:pPr>
            <a:r>
              <a:rPr lang="fr-FR" altLang="zh-CN" dirty="0">
                <a:gradFill>
                  <a:gsLst>
                    <a:gs pos="2917">
                      <a:schemeClr val="tx1"/>
                    </a:gs>
                    <a:gs pos="30000">
                      <a:schemeClr val="tx1"/>
                    </a:gs>
                  </a:gsLst>
                  <a:lin ang="5400000" scaled="0"/>
                </a:gradFill>
                <a:cs typeface="+mn-ea"/>
                <a:sym typeface="+mn-lt"/>
              </a:rPr>
              <a:t>Gérez depuis n'importe où avec différentes autorisations</a:t>
            </a:r>
            <a:endParaRPr lang="zh-CN" altLang="en-US" dirty="0" err="1">
              <a:gradFill>
                <a:gsLst>
                  <a:gs pos="2917">
                    <a:schemeClr val="tx1"/>
                  </a:gs>
                  <a:gs pos="30000">
                    <a:schemeClr val="tx1"/>
                  </a:gs>
                </a:gsLst>
                <a:lin ang="5400000" scaled="0"/>
              </a:gradFill>
              <a:cs typeface="+mn-ea"/>
              <a:sym typeface="+mn-lt"/>
            </a:endParaRPr>
          </a:p>
        </p:txBody>
      </p:sp>
      <p:sp>
        <p:nvSpPr>
          <p:cNvPr id="305" name="矩形 304"/>
          <p:cNvSpPr/>
          <p:nvPr/>
        </p:nvSpPr>
        <p:spPr>
          <a:xfrm>
            <a:off x="520924" y="5184874"/>
            <a:ext cx="3519856" cy="1200329"/>
          </a:xfrm>
          <a:prstGeom prst="rect">
            <a:avLst/>
          </a:prstGeom>
        </p:spPr>
        <p:txBody>
          <a:bodyPr wrap="square">
            <a:spAutoFit/>
          </a:bodyPr>
          <a:lstStyle/>
          <a:p>
            <a:pPr algn="ctr"/>
            <a:r>
              <a:rPr lang="fr-FR" altLang="zh-CN" dirty="0">
                <a:cs typeface="+mn-ea"/>
                <a:sym typeface="+mn-lt"/>
              </a:rPr>
              <a:t>De riches capacités d'analyse des données vous aident à prendre des décisions commerciales bien informées</a:t>
            </a:r>
            <a:endParaRPr lang="zh-CN" altLang="en-US" dirty="0">
              <a:cs typeface="+mn-ea"/>
              <a:sym typeface="+mn-lt"/>
            </a:endParaRPr>
          </a:p>
        </p:txBody>
      </p:sp>
      <p:sp>
        <p:nvSpPr>
          <p:cNvPr id="310" name="矩形 309"/>
          <p:cNvSpPr/>
          <p:nvPr/>
        </p:nvSpPr>
        <p:spPr>
          <a:xfrm>
            <a:off x="366715" y="1076134"/>
            <a:ext cx="11907174" cy="707886"/>
          </a:xfrm>
          <a:prstGeom prst="rect">
            <a:avLst/>
          </a:prstGeom>
        </p:spPr>
        <p:txBody>
          <a:bodyPr wrap="square">
            <a:spAutoFit/>
          </a:bodyPr>
          <a:lstStyle/>
          <a:p>
            <a:r>
              <a:rPr lang="fr-FR" altLang="zh-CN" sz="2000" dirty="0">
                <a:cs typeface="+mn-ea"/>
                <a:sym typeface="+mn-lt"/>
              </a:rPr>
              <a:t>Solution complète, non seulement pour la surveillance, mais aussi pour des opérations commerciales efficaces</a:t>
            </a:r>
            <a:endParaRPr lang="en-US" altLang="zh-CN" sz="2000" dirty="0">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bwMode="auto">
          <a:xfrm>
            <a:off x="-182493" y="2491433"/>
            <a:ext cx="12618968" cy="1737341"/>
          </a:xfrm>
          <a:prstGeom prst="rect">
            <a:avLst/>
          </a:prstGeom>
          <a:solidFill>
            <a:srgbClr val="DDDDDD">
              <a:alpha val="39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4" name="直接连接符 3"/>
          <p:cNvCxnSpPr/>
          <p:nvPr/>
        </p:nvCxnSpPr>
        <p:spPr>
          <a:xfrm>
            <a:off x="2377798" y="3497262"/>
            <a:ext cx="5394902" cy="18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498057" y="2809159"/>
            <a:ext cx="1043892" cy="907625"/>
          </a:xfrm>
          <a:prstGeom prst="rect">
            <a:avLst/>
          </a:prstGeom>
          <a:noFill/>
          <a:ln w="117475">
            <a:noFill/>
          </a:ln>
        </p:spPr>
        <p:txBody>
          <a:bodyPr wrap="none" rtlCol="0">
            <a:prstTxWarp prst="textPlain">
              <a:avLst/>
            </a:prstTxWarp>
            <a:spAutoFit/>
          </a:bodyPr>
          <a:lstStyle/>
          <a:p>
            <a:r>
              <a:rPr lang="en-US" altLang="zh-CN" sz="1835" spc="102" dirty="0">
                <a:solidFill>
                  <a:schemeClr val="accent1"/>
                </a:solidFill>
                <a:cs typeface="+mn-ea"/>
                <a:sym typeface="+mn-lt"/>
              </a:rPr>
              <a:t>/03</a:t>
            </a:r>
            <a:endParaRPr lang="zh-CN" altLang="en-US" sz="1835" spc="102" dirty="0">
              <a:solidFill>
                <a:schemeClr val="accent1"/>
              </a:solidFill>
              <a:cs typeface="+mn-ea"/>
              <a:sym typeface="+mn-lt"/>
            </a:endParaRPr>
          </a:p>
        </p:txBody>
      </p:sp>
      <p:sp>
        <p:nvSpPr>
          <p:cNvPr id="11" name="矩形 10"/>
          <p:cNvSpPr/>
          <p:nvPr/>
        </p:nvSpPr>
        <p:spPr>
          <a:xfrm>
            <a:off x="2273441" y="2814804"/>
            <a:ext cx="4897495" cy="584775"/>
          </a:xfrm>
          <a:prstGeom prst="rect">
            <a:avLst/>
          </a:prstGeom>
        </p:spPr>
        <p:txBody>
          <a:bodyPr wrap="none">
            <a:spAutoFit/>
          </a:bodyPr>
          <a:lstStyle/>
          <a:p>
            <a:pPr defTabSz="671830">
              <a:defRPr/>
            </a:pPr>
            <a:r>
              <a:rPr lang="en-US" altLang="zh-CN" sz="3200" b="1" kern="0" dirty="0" err="1">
                <a:solidFill>
                  <a:schemeClr val="tx1">
                    <a:lumMod val="75000"/>
                  </a:schemeClr>
                </a:solidFill>
                <a:cs typeface="+mn-ea"/>
                <a:sym typeface="+mn-lt"/>
              </a:rPr>
              <a:t>Exemples</a:t>
            </a:r>
            <a:r>
              <a:rPr lang="en-US" altLang="zh-CN" sz="3200" b="1" kern="0" dirty="0">
                <a:solidFill>
                  <a:schemeClr val="tx1">
                    <a:lumMod val="75000"/>
                  </a:schemeClr>
                </a:solidFill>
                <a:cs typeface="+mn-ea"/>
                <a:sym typeface="+mn-lt"/>
              </a:rPr>
              <a:t> de </a:t>
            </a:r>
            <a:r>
              <a:rPr lang="en-US" altLang="zh-CN" sz="3200" b="1" kern="0" dirty="0" err="1">
                <a:solidFill>
                  <a:schemeClr val="tx1">
                    <a:lumMod val="75000"/>
                  </a:schemeClr>
                </a:solidFill>
                <a:cs typeface="+mn-ea"/>
                <a:sym typeface="+mn-lt"/>
              </a:rPr>
              <a:t>réalisation</a:t>
            </a:r>
            <a:endParaRPr lang="en-US" altLang="zh-CN" sz="3200" b="1" kern="0" dirty="0">
              <a:solidFill>
                <a:schemeClr val="tx1">
                  <a:lumMod val="75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0" y="1824149"/>
            <a:ext cx="12436475" cy="627864"/>
          </a:xfrm>
          <a:prstGeom prst="rect">
            <a:avLst/>
          </a:prstGeom>
          <a:solidFill>
            <a:schemeClr val="tx1">
              <a:lumMod val="40000"/>
              <a:lumOff val="60000"/>
              <a:alpha val="26000"/>
            </a:schemeClr>
          </a:solidFill>
        </p:spPr>
        <p:txBody>
          <a:bodyPr wrap="square" lIns="182880" tIns="146304" rIns="182880" bIns="146304" rtlCol="0">
            <a:spAutoFit/>
          </a:bodyPr>
          <a:lstStyle/>
          <a:p>
            <a:pPr>
              <a:lnSpc>
                <a:spcPct val="90000"/>
              </a:lnSpc>
              <a:spcAft>
                <a:spcPts val="600"/>
              </a:spcAft>
            </a:pPr>
            <a:endParaRPr lang="zh-CN" altLang="en-US" sz="2400" dirty="0" err="1">
              <a:gradFill>
                <a:gsLst>
                  <a:gs pos="2917">
                    <a:schemeClr val="tx1"/>
                  </a:gs>
                  <a:gs pos="30000">
                    <a:schemeClr val="tx1"/>
                  </a:gs>
                </a:gsLst>
                <a:lin ang="5400000" scaled="0"/>
              </a:gradFill>
              <a:cs typeface="+mn-ea"/>
              <a:sym typeface="+mn-lt"/>
            </a:endParaRPr>
          </a:p>
        </p:txBody>
      </p:sp>
      <p:cxnSp>
        <p:nvCxnSpPr>
          <p:cNvPr id="4" name="直接连接符 3"/>
          <p:cNvCxnSpPr/>
          <p:nvPr/>
        </p:nvCxnSpPr>
        <p:spPr>
          <a:xfrm>
            <a:off x="2377798" y="3497262"/>
            <a:ext cx="43521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标题 4"/>
          <p:cNvSpPr txBox="1"/>
          <p:nvPr/>
        </p:nvSpPr>
        <p:spPr>
          <a:xfrm>
            <a:off x="3292189" y="3515799"/>
            <a:ext cx="5527067" cy="913174"/>
          </a:xfrm>
          <a:prstGeom prst="rect">
            <a:avLst/>
          </a:prstGeom>
        </p:spPr>
        <p:txBody>
          <a:bodyPr vert="horz" lIns="93260" tIns="46630" rIns="93260" bIns="46630" rtlCol="0" anchor="b">
            <a:normAutofit fontScale="85000" lnSpcReduction="200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342900" indent="-342900" defTabSz="671830">
              <a:lnSpc>
                <a:spcPct val="150000"/>
              </a:lnSpc>
              <a:buFont typeface="Wingdings" panose="05000000000000000000" pitchFamily="2" charset="2"/>
              <a:buChar char="u"/>
              <a:defRPr/>
            </a:pPr>
            <a:r>
              <a:rPr lang="en-US" altLang="zh-CN" dirty="0"/>
              <a:t>À </a:t>
            </a:r>
            <a:r>
              <a:rPr lang="en-US" altLang="zh-CN" dirty="0" err="1"/>
              <a:t>propos</a:t>
            </a:r>
            <a:r>
              <a:rPr lang="en-US" altLang="zh-CN" dirty="0"/>
              <a:t> de </a:t>
            </a:r>
            <a:r>
              <a:rPr lang="en-US" altLang="zh-CN" dirty="0" err="1"/>
              <a:t>Dahua</a:t>
            </a:r>
            <a:endParaRPr lang="en-US" altLang="zh-CN" dirty="0"/>
          </a:p>
          <a:p>
            <a:pPr marL="342900" indent="-342900" defTabSz="671830">
              <a:lnSpc>
                <a:spcPct val="150000"/>
              </a:lnSpc>
              <a:buFont typeface="Wingdings" panose="05000000000000000000" pitchFamily="2" charset="2"/>
              <a:buChar char="u"/>
              <a:defRPr/>
            </a:pPr>
            <a:r>
              <a:rPr lang="en-US" altLang="zh-CN" dirty="0" err="1"/>
              <a:t>Historique</a:t>
            </a:r>
            <a:r>
              <a:rPr lang="en-US" altLang="zh-CN" dirty="0"/>
              <a:t> </a:t>
            </a:r>
            <a:endParaRPr lang="en-US" altLang="zh-CN" b="0" kern="0" dirty="0">
              <a:solidFill>
                <a:srgbClr val="525252"/>
              </a:solidFill>
              <a:latin typeface="+mn-lt"/>
              <a:ea typeface="+mn-ea"/>
              <a:cs typeface="+mn-ea"/>
              <a:sym typeface="+mn-lt"/>
            </a:endParaRPr>
          </a:p>
        </p:txBody>
      </p:sp>
      <p:sp>
        <p:nvSpPr>
          <p:cNvPr id="18" name="文本框 17"/>
          <p:cNvSpPr txBox="1"/>
          <p:nvPr/>
        </p:nvSpPr>
        <p:spPr>
          <a:xfrm>
            <a:off x="498057" y="2809159"/>
            <a:ext cx="1043892" cy="907625"/>
          </a:xfrm>
          <a:prstGeom prst="rect">
            <a:avLst/>
          </a:prstGeom>
          <a:noFill/>
          <a:ln w="117475">
            <a:noFill/>
          </a:ln>
        </p:spPr>
        <p:txBody>
          <a:bodyPr wrap="none" rtlCol="0">
            <a:prstTxWarp prst="textPlain">
              <a:avLst/>
            </a:prstTxWarp>
            <a:spAutoFit/>
          </a:bodyPr>
          <a:lstStyle/>
          <a:p>
            <a:r>
              <a:rPr lang="en-US" altLang="zh-CN" sz="1835" spc="102" dirty="0">
                <a:solidFill>
                  <a:schemeClr val="accent1"/>
                </a:solidFill>
                <a:cs typeface="+mn-ea"/>
                <a:sym typeface="+mn-lt"/>
              </a:rPr>
              <a:t>/01</a:t>
            </a:r>
            <a:endParaRPr lang="zh-CN" altLang="en-US" sz="1835" spc="102" dirty="0">
              <a:solidFill>
                <a:schemeClr val="accent1"/>
              </a:solidFill>
              <a:cs typeface="+mn-ea"/>
              <a:sym typeface="+mn-lt"/>
            </a:endParaRPr>
          </a:p>
        </p:txBody>
      </p:sp>
      <p:sp>
        <p:nvSpPr>
          <p:cNvPr id="11" name="矩形 10"/>
          <p:cNvSpPr/>
          <p:nvPr/>
        </p:nvSpPr>
        <p:spPr>
          <a:xfrm>
            <a:off x="2273441" y="2814804"/>
            <a:ext cx="5598007" cy="584775"/>
          </a:xfrm>
          <a:prstGeom prst="rect">
            <a:avLst/>
          </a:prstGeom>
        </p:spPr>
        <p:txBody>
          <a:bodyPr wrap="none">
            <a:spAutoFit/>
          </a:bodyPr>
          <a:lstStyle/>
          <a:p>
            <a:pPr defTabSz="671830">
              <a:defRPr/>
            </a:pPr>
            <a:r>
              <a:rPr lang="en-US" altLang="zh-CN" sz="3200" b="1" kern="0" dirty="0" err="1">
                <a:solidFill>
                  <a:schemeClr val="tx1">
                    <a:lumMod val="75000"/>
                  </a:schemeClr>
                </a:solidFill>
                <a:cs typeface="+mn-ea"/>
                <a:sym typeface="+mn-lt"/>
              </a:rPr>
              <a:t>Présentation</a:t>
            </a:r>
            <a:r>
              <a:rPr lang="en-US" altLang="zh-CN" sz="3200" b="1" kern="0" dirty="0">
                <a:solidFill>
                  <a:schemeClr val="tx1">
                    <a:lumMod val="75000"/>
                  </a:schemeClr>
                </a:solidFill>
                <a:cs typeface="+mn-ea"/>
                <a:sym typeface="+mn-lt"/>
              </a:rPr>
              <a:t> De </a:t>
            </a:r>
            <a:r>
              <a:rPr lang="en-US" altLang="zh-CN" sz="3200" b="1" kern="0" dirty="0" err="1">
                <a:solidFill>
                  <a:schemeClr val="tx1">
                    <a:lumMod val="75000"/>
                  </a:schemeClr>
                </a:solidFill>
                <a:cs typeface="+mn-ea"/>
                <a:sym typeface="+mn-lt"/>
              </a:rPr>
              <a:t>L'Entreprise</a:t>
            </a:r>
            <a:endParaRPr lang="en-US" altLang="zh-CN" sz="3200" b="1" kern="0" dirty="0">
              <a:solidFill>
                <a:schemeClr val="tx1">
                  <a:lumMod val="75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bwMode="auto">
          <a:xfrm>
            <a:off x="-27786" y="-40274"/>
            <a:ext cx="12464261" cy="7034799"/>
          </a:xfrm>
          <a:prstGeom prst="rect">
            <a:avLst/>
          </a:prstGeom>
          <a:solidFill>
            <a:srgbClr val="1A283F">
              <a:alpha val="28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5122" name="Picture 2" descr="天空视觉地球夜景商务图片"/>
          <p:cNvPicPr>
            <a:picLocks noChangeAspect="1" noChangeArrowheads="1"/>
          </p:cNvPicPr>
          <p:nvPr/>
        </p:nvPicPr>
        <p:blipFill rotWithShape="1">
          <a:blip r:embed="rId2">
            <a:extLst>
              <a:ext uri="{28A0092B-C50C-407E-A947-70E740481C1C}">
                <a14:useLocalDpi xmlns:a14="http://schemas.microsoft.com/office/drawing/2010/main" val="0"/>
              </a:ext>
            </a:extLst>
          </a:blip>
          <a:srcRect l="-3" t="7738" r="3" b="7468"/>
          <a:stretch>
            <a:fillRect/>
          </a:stretch>
        </p:blipFill>
        <p:spPr bwMode="auto">
          <a:xfrm>
            <a:off x="-15126" y="-40274"/>
            <a:ext cx="12451601" cy="7022379"/>
          </a:xfrm>
          <a:prstGeom prst="rect">
            <a:avLst/>
          </a:prstGeom>
          <a:solidFill>
            <a:srgbClr val="1E3250">
              <a:alpha val="50000"/>
            </a:srgbClr>
          </a:solidFill>
        </p:spPr>
      </p:pic>
      <p:sp>
        <p:nvSpPr>
          <p:cNvPr id="5" name="矩形 4"/>
          <p:cNvSpPr/>
          <p:nvPr/>
        </p:nvSpPr>
        <p:spPr>
          <a:xfrm>
            <a:off x="581352" y="5679921"/>
            <a:ext cx="11245983" cy="1200329"/>
          </a:xfrm>
          <a:prstGeom prst="rect">
            <a:avLst/>
          </a:prstGeom>
        </p:spPr>
        <p:txBody>
          <a:bodyPr wrap="square">
            <a:spAutoFit/>
          </a:bodyPr>
          <a:lstStyle/>
          <a:p>
            <a:r>
              <a:rPr lang="fr-FR" altLang="zh-CN" dirty="0">
                <a:solidFill>
                  <a:schemeClr val="bg1"/>
                </a:solidFill>
                <a:cs typeface="+mn-ea"/>
                <a:sym typeface="+mn-lt"/>
              </a:rPr>
              <a:t>Nous avons coopéré avec plus de 8 000 </a:t>
            </a:r>
            <a:r>
              <a:rPr lang="fr-FR" altLang="zh-CN" dirty="0" err="1">
                <a:solidFill>
                  <a:schemeClr val="bg1"/>
                </a:solidFill>
                <a:cs typeface="+mn-ea"/>
                <a:sym typeface="+mn-lt"/>
              </a:rPr>
              <a:t>mqaues</a:t>
            </a:r>
            <a:r>
              <a:rPr lang="fr-FR" altLang="zh-CN" dirty="0">
                <a:solidFill>
                  <a:schemeClr val="bg1"/>
                </a:solidFill>
                <a:cs typeface="+mn-ea"/>
                <a:sym typeface="+mn-lt"/>
              </a:rPr>
              <a:t> dans le monde. Nous nous engageons à aider nos clients à réaliser la transformation numérique avec la technologie AI et BI. Il améliorera considérablement l'expérience d'achat des clients et permettra au fonctionnement intelligent du magasin de générer plus de revenus.</a:t>
            </a:r>
            <a:endParaRPr lang="zh-CN" altLang="en-US" dirty="0">
              <a:solidFill>
                <a:schemeClr val="bg1"/>
              </a:solidFill>
              <a:cs typeface="+mn-ea"/>
              <a:sym typeface="+mn-lt"/>
            </a:endParaRPr>
          </a:p>
        </p:txBody>
      </p:sp>
      <p:sp>
        <p:nvSpPr>
          <p:cNvPr id="7" name="标题 1"/>
          <p:cNvSpPr txBox="1"/>
          <p:nvPr/>
        </p:nvSpPr>
        <p:spPr>
          <a:xfrm>
            <a:off x="104564" y="73240"/>
            <a:ext cx="11192828" cy="946413"/>
          </a:xfrm>
          <a:prstGeom prst="rect">
            <a:avLst/>
          </a:prstGeom>
        </p:spPr>
        <p:txBody>
          <a:bodyPr/>
          <a:lstStyle>
            <a:lvl1pPr algn="l" defTabSz="932180"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anose="020B0502040204020203" pitchFamily="34" charset="0"/>
              </a:defRPr>
            </a:lvl1pPr>
          </a:lstStyle>
          <a:p>
            <a:r>
              <a:rPr lang="en-US" altLang="zh-CN" dirty="0" err="1">
                <a:solidFill>
                  <a:schemeClr val="bg1"/>
                </a:solidFill>
                <a:latin typeface="+mn-lt"/>
                <a:cs typeface="+mn-ea"/>
                <a:sym typeface="+mn-lt"/>
              </a:rPr>
              <a:t>Partnaire</a:t>
            </a:r>
            <a:endParaRPr lang="en-US" altLang="zh-CN" dirty="0">
              <a:solidFill>
                <a:schemeClr val="bg1"/>
              </a:solidFill>
              <a:latin typeface="+mn-lt"/>
              <a:cs typeface="+mn-ea"/>
              <a:sym typeface="+mn-lt"/>
            </a:endParaRPr>
          </a:p>
        </p:txBody>
      </p:sp>
      <p:grpSp>
        <p:nvGrpSpPr>
          <p:cNvPr id="6" name="组合 5"/>
          <p:cNvGrpSpPr/>
          <p:nvPr/>
        </p:nvGrpSpPr>
        <p:grpSpPr>
          <a:xfrm>
            <a:off x="1041272" y="1420252"/>
            <a:ext cx="10253516" cy="4042263"/>
            <a:chOff x="1150990" y="1543792"/>
            <a:chExt cx="10253516" cy="4042263"/>
          </a:xfrm>
        </p:grpSpPr>
        <p:grpSp>
          <p:nvGrpSpPr>
            <p:cNvPr id="93" name="组合 92"/>
            <p:cNvGrpSpPr/>
            <p:nvPr/>
          </p:nvGrpSpPr>
          <p:grpSpPr>
            <a:xfrm>
              <a:off x="1150990" y="1543792"/>
              <a:ext cx="10253516" cy="4042263"/>
              <a:chOff x="1380812" y="1902834"/>
              <a:chExt cx="10253516" cy="4042263"/>
            </a:xfrm>
          </p:grpSpPr>
          <p:sp>
            <p:nvSpPr>
              <p:cNvPr id="94" name="矩形 93"/>
              <p:cNvSpPr/>
              <p:nvPr/>
            </p:nvSpPr>
            <p:spPr>
              <a:xfrm rot="16200000">
                <a:off x="10477236" y="4791885"/>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95" name="矩形 94"/>
              <p:cNvSpPr/>
              <p:nvPr/>
            </p:nvSpPr>
            <p:spPr>
              <a:xfrm rot="16200000">
                <a:off x="1380812" y="4791886"/>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96" name="矩形 95"/>
              <p:cNvSpPr/>
              <p:nvPr/>
            </p:nvSpPr>
            <p:spPr>
              <a:xfrm rot="16200000">
                <a:off x="3207850" y="4791886"/>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dirty="0">
                  <a:cs typeface="+mn-ea"/>
                  <a:sym typeface="+mn-lt"/>
                </a:endParaRPr>
              </a:p>
            </p:txBody>
          </p:sp>
          <p:sp>
            <p:nvSpPr>
              <p:cNvPr id="97" name="矩形 96"/>
              <p:cNvSpPr/>
              <p:nvPr/>
            </p:nvSpPr>
            <p:spPr>
              <a:xfrm rot="16200000">
                <a:off x="5017817" y="4791886"/>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dirty="0">
                  <a:cs typeface="+mn-ea"/>
                  <a:sym typeface="+mn-lt"/>
                </a:endParaRPr>
              </a:p>
            </p:txBody>
          </p:sp>
          <p:sp>
            <p:nvSpPr>
              <p:cNvPr id="98" name="矩形 97"/>
              <p:cNvSpPr/>
              <p:nvPr/>
            </p:nvSpPr>
            <p:spPr>
              <a:xfrm rot="16200000">
                <a:off x="6844854" y="4791885"/>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dirty="0">
                  <a:cs typeface="+mn-ea"/>
                  <a:sym typeface="+mn-lt"/>
                </a:endParaRPr>
              </a:p>
            </p:txBody>
          </p:sp>
          <p:sp>
            <p:nvSpPr>
              <p:cNvPr id="99" name="矩形 98"/>
              <p:cNvSpPr/>
              <p:nvPr/>
            </p:nvSpPr>
            <p:spPr>
              <a:xfrm rot="16200000">
                <a:off x="8671890" y="4793097"/>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00" name="矩形 99"/>
              <p:cNvSpPr/>
              <p:nvPr/>
            </p:nvSpPr>
            <p:spPr>
              <a:xfrm rot="16200000">
                <a:off x="1380812" y="3347362"/>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dirty="0">
                  <a:cs typeface="+mn-ea"/>
                  <a:sym typeface="+mn-lt"/>
                </a:endParaRPr>
              </a:p>
            </p:txBody>
          </p:sp>
          <p:sp>
            <p:nvSpPr>
              <p:cNvPr id="101" name="矩形 100"/>
              <p:cNvSpPr/>
              <p:nvPr/>
            </p:nvSpPr>
            <p:spPr>
              <a:xfrm rot="16200000">
                <a:off x="3207850" y="3344034"/>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dirty="0">
                  <a:cs typeface="+mn-ea"/>
                  <a:sym typeface="+mn-lt"/>
                </a:endParaRPr>
              </a:p>
            </p:txBody>
          </p:sp>
          <p:sp>
            <p:nvSpPr>
              <p:cNvPr id="102" name="矩形 101"/>
              <p:cNvSpPr/>
              <p:nvPr/>
            </p:nvSpPr>
            <p:spPr>
              <a:xfrm rot="16200000">
                <a:off x="5017817" y="3392867"/>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dirty="0">
                  <a:cs typeface="+mn-ea"/>
                  <a:sym typeface="+mn-lt"/>
                </a:endParaRPr>
              </a:p>
            </p:txBody>
          </p:sp>
          <p:sp>
            <p:nvSpPr>
              <p:cNvPr id="103" name="矩形 102"/>
              <p:cNvSpPr/>
              <p:nvPr/>
            </p:nvSpPr>
            <p:spPr>
              <a:xfrm rot="16200000">
                <a:off x="6844854" y="3382558"/>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a:cs typeface="+mn-ea"/>
                  <a:sym typeface="+mn-lt"/>
                </a:endParaRPr>
              </a:p>
            </p:txBody>
          </p:sp>
          <p:sp>
            <p:nvSpPr>
              <p:cNvPr id="104" name="矩形 103"/>
              <p:cNvSpPr/>
              <p:nvPr/>
            </p:nvSpPr>
            <p:spPr>
              <a:xfrm rot="16200000">
                <a:off x="10482328" y="3392867"/>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dirty="0">
                  <a:cs typeface="+mn-ea"/>
                  <a:sym typeface="+mn-lt"/>
                </a:endParaRPr>
              </a:p>
            </p:txBody>
          </p:sp>
          <p:sp>
            <p:nvSpPr>
              <p:cNvPr id="105" name="矩形 104"/>
              <p:cNvSpPr/>
              <p:nvPr/>
            </p:nvSpPr>
            <p:spPr>
              <a:xfrm rot="16200000">
                <a:off x="8671891" y="3392867"/>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endParaRPr lang="zh-CN" altLang="en-US" sz="1835" dirty="0">
                  <a:cs typeface="+mn-ea"/>
                  <a:sym typeface="+mn-lt"/>
                </a:endParaRPr>
              </a:p>
            </p:txBody>
          </p:sp>
          <p:sp>
            <p:nvSpPr>
              <p:cNvPr id="106" name="矩形 105"/>
              <p:cNvSpPr/>
              <p:nvPr/>
            </p:nvSpPr>
            <p:spPr>
              <a:xfrm rot="16200000">
                <a:off x="1380812" y="1902838"/>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07" name="矩形 106"/>
              <p:cNvSpPr/>
              <p:nvPr/>
            </p:nvSpPr>
            <p:spPr>
              <a:xfrm rot="16200000">
                <a:off x="3207850" y="1902837"/>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08" name="矩形 107"/>
              <p:cNvSpPr/>
              <p:nvPr/>
            </p:nvSpPr>
            <p:spPr>
              <a:xfrm rot="16200000">
                <a:off x="5028663" y="1902836"/>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09" name="矩形 108"/>
              <p:cNvSpPr/>
              <p:nvPr/>
            </p:nvSpPr>
            <p:spPr>
              <a:xfrm rot="16200000">
                <a:off x="6844854" y="1902835"/>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10" name="矩形 109"/>
              <p:cNvSpPr/>
              <p:nvPr/>
            </p:nvSpPr>
            <p:spPr>
              <a:xfrm rot="16200000">
                <a:off x="8661045" y="1902834"/>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sp>
            <p:nvSpPr>
              <p:cNvPr id="111" name="矩形 110"/>
              <p:cNvSpPr/>
              <p:nvPr/>
            </p:nvSpPr>
            <p:spPr>
              <a:xfrm rot="16200000">
                <a:off x="10477236" y="1902834"/>
                <a:ext cx="1152000" cy="115200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zh-CN" altLang="en-US" sz="1835">
                  <a:cs typeface="+mn-ea"/>
                  <a:sym typeface="+mn-lt"/>
                </a:endParaRPr>
              </a:p>
            </p:txBody>
          </p:sp>
        </p:grpSp>
        <p:pic>
          <p:nvPicPr>
            <p:cNvPr id="45" name="图片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4217" y="1551164"/>
              <a:ext cx="1156623" cy="1133163"/>
            </a:xfrm>
            <a:prstGeom prst="rect">
              <a:avLst/>
            </a:prstGeom>
          </p:spPr>
        </p:pic>
      </p:grpSp>
      <p:sp>
        <p:nvSpPr>
          <p:cNvPr id="8" name="矩形 7"/>
          <p:cNvSpPr/>
          <p:nvPr/>
        </p:nvSpPr>
        <p:spPr bwMode="auto">
          <a:xfrm>
            <a:off x="4191463" y="-2956584"/>
            <a:ext cx="10606924" cy="4389072"/>
          </a:xfrm>
          <a:prstGeom prst="rect">
            <a:avLst/>
          </a:prstGeom>
          <a:solidFill>
            <a:srgbClr val="141F31">
              <a:alpha val="19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cs typeface="+mn-ea"/>
              <a:sym typeface="+mn-lt"/>
            </a:endParaRPr>
          </a:p>
        </p:txBody>
      </p:sp>
      <p:pic>
        <p:nvPicPr>
          <p:cNvPr id="4" name="图片 3">
            <a:extLst>
              <a:ext uri="{FF2B5EF4-FFF2-40B4-BE49-F238E27FC236}">
                <a16:creationId xmlns:a16="http://schemas.microsoft.com/office/drawing/2014/main" id="{78DFF8D8-9B94-42D1-B0A0-F1C738F9B3A0}"/>
              </a:ext>
            </a:extLst>
          </p:cNvPr>
          <p:cNvPicPr>
            <a:picLocks noChangeAspect="1"/>
          </p:cNvPicPr>
          <p:nvPr/>
        </p:nvPicPr>
        <p:blipFill>
          <a:blip r:embed="rId4"/>
          <a:stretch>
            <a:fillRect/>
          </a:stretch>
        </p:blipFill>
        <p:spPr>
          <a:xfrm>
            <a:off x="2868309" y="1417729"/>
            <a:ext cx="1126444" cy="1151915"/>
          </a:xfrm>
          <a:prstGeom prst="rect">
            <a:avLst/>
          </a:prstGeom>
        </p:spPr>
      </p:pic>
      <p:pic>
        <p:nvPicPr>
          <p:cNvPr id="19" name="图片 18">
            <a:extLst>
              <a:ext uri="{FF2B5EF4-FFF2-40B4-BE49-F238E27FC236}">
                <a16:creationId xmlns:a16="http://schemas.microsoft.com/office/drawing/2014/main" id="{F98F5D41-CB22-46C7-A2FE-C56E2C83C321}"/>
              </a:ext>
            </a:extLst>
          </p:cNvPr>
          <p:cNvPicPr>
            <a:picLocks noChangeAspect="1"/>
          </p:cNvPicPr>
          <p:nvPr/>
        </p:nvPicPr>
        <p:blipFill>
          <a:blip r:embed="rId5"/>
          <a:stretch>
            <a:fillRect/>
          </a:stretch>
        </p:blipFill>
        <p:spPr>
          <a:xfrm>
            <a:off x="6510475" y="1432459"/>
            <a:ext cx="1143144" cy="1137185"/>
          </a:xfrm>
          <a:prstGeom prst="rect">
            <a:avLst/>
          </a:prstGeom>
        </p:spPr>
      </p:pic>
      <p:pic>
        <p:nvPicPr>
          <p:cNvPr id="34" name="图片 33">
            <a:extLst>
              <a:ext uri="{FF2B5EF4-FFF2-40B4-BE49-F238E27FC236}">
                <a16:creationId xmlns:a16="http://schemas.microsoft.com/office/drawing/2014/main" id="{E5D98478-AC34-4D8C-A490-465E08EA817D}"/>
              </a:ext>
            </a:extLst>
          </p:cNvPr>
          <p:cNvPicPr>
            <a:picLocks noChangeAspect="1"/>
          </p:cNvPicPr>
          <p:nvPr/>
        </p:nvPicPr>
        <p:blipFill>
          <a:blip r:embed="rId6"/>
          <a:stretch>
            <a:fillRect/>
          </a:stretch>
        </p:blipFill>
        <p:spPr>
          <a:xfrm>
            <a:off x="1044083" y="1417729"/>
            <a:ext cx="1159899" cy="1142644"/>
          </a:xfrm>
          <a:prstGeom prst="rect">
            <a:avLst/>
          </a:prstGeom>
        </p:spPr>
      </p:pic>
      <p:pic>
        <p:nvPicPr>
          <p:cNvPr id="40" name="图片 39">
            <a:extLst>
              <a:ext uri="{FF2B5EF4-FFF2-40B4-BE49-F238E27FC236}">
                <a16:creationId xmlns:a16="http://schemas.microsoft.com/office/drawing/2014/main" id="{C3C640F9-D790-4F9B-88E4-DC8BEF0BA23F}"/>
              </a:ext>
            </a:extLst>
          </p:cNvPr>
          <p:cNvPicPr>
            <a:picLocks noChangeAspect="1"/>
          </p:cNvPicPr>
          <p:nvPr/>
        </p:nvPicPr>
        <p:blipFill>
          <a:blip r:embed="rId7"/>
          <a:stretch>
            <a:fillRect/>
          </a:stretch>
        </p:blipFill>
        <p:spPr>
          <a:xfrm>
            <a:off x="8332350" y="1427624"/>
            <a:ext cx="1141155" cy="1148919"/>
          </a:xfrm>
          <a:prstGeom prst="rect">
            <a:avLst/>
          </a:prstGeom>
        </p:spPr>
      </p:pic>
      <p:pic>
        <p:nvPicPr>
          <p:cNvPr id="42" name="图片 41">
            <a:extLst>
              <a:ext uri="{FF2B5EF4-FFF2-40B4-BE49-F238E27FC236}">
                <a16:creationId xmlns:a16="http://schemas.microsoft.com/office/drawing/2014/main" id="{2249DA04-E0D8-47BB-B2DA-4313FE79B86D}"/>
              </a:ext>
            </a:extLst>
          </p:cNvPr>
          <p:cNvPicPr>
            <a:picLocks noChangeAspect="1"/>
          </p:cNvPicPr>
          <p:nvPr/>
        </p:nvPicPr>
        <p:blipFill>
          <a:blip r:embed="rId8"/>
          <a:stretch>
            <a:fillRect/>
          </a:stretch>
        </p:blipFill>
        <p:spPr>
          <a:xfrm>
            <a:off x="10142317" y="1427625"/>
            <a:ext cx="1147379" cy="1148918"/>
          </a:xfrm>
          <a:prstGeom prst="rect">
            <a:avLst/>
          </a:prstGeom>
        </p:spPr>
      </p:pic>
      <p:pic>
        <p:nvPicPr>
          <p:cNvPr id="46" name="图片 45">
            <a:extLst>
              <a:ext uri="{FF2B5EF4-FFF2-40B4-BE49-F238E27FC236}">
                <a16:creationId xmlns:a16="http://schemas.microsoft.com/office/drawing/2014/main" id="{06E089B9-EB91-4494-A6EF-C2F3F7BAA405}"/>
              </a:ext>
            </a:extLst>
          </p:cNvPr>
          <p:cNvPicPr>
            <a:picLocks noChangeAspect="1"/>
          </p:cNvPicPr>
          <p:nvPr/>
        </p:nvPicPr>
        <p:blipFill>
          <a:blip r:embed="rId9"/>
          <a:stretch>
            <a:fillRect/>
          </a:stretch>
        </p:blipFill>
        <p:spPr>
          <a:xfrm>
            <a:off x="1061397" y="2882812"/>
            <a:ext cx="1109292" cy="1130640"/>
          </a:xfrm>
          <a:prstGeom prst="rect">
            <a:avLst/>
          </a:prstGeom>
        </p:spPr>
      </p:pic>
      <p:pic>
        <p:nvPicPr>
          <p:cNvPr id="48" name="图片 47">
            <a:extLst>
              <a:ext uri="{FF2B5EF4-FFF2-40B4-BE49-F238E27FC236}">
                <a16:creationId xmlns:a16="http://schemas.microsoft.com/office/drawing/2014/main" id="{6F4D6965-CCAA-447B-967B-19B14FB6CC8C}"/>
              </a:ext>
            </a:extLst>
          </p:cNvPr>
          <p:cNvPicPr>
            <a:picLocks noChangeAspect="1"/>
          </p:cNvPicPr>
          <p:nvPr/>
        </p:nvPicPr>
        <p:blipFill>
          <a:blip r:embed="rId10"/>
          <a:stretch>
            <a:fillRect/>
          </a:stretch>
        </p:blipFill>
        <p:spPr>
          <a:xfrm>
            <a:off x="4684503" y="4319091"/>
            <a:ext cx="1139548" cy="1130640"/>
          </a:xfrm>
          <a:prstGeom prst="rect">
            <a:avLst/>
          </a:prstGeom>
        </p:spPr>
      </p:pic>
      <p:pic>
        <p:nvPicPr>
          <p:cNvPr id="49" name="图片 48">
            <a:extLst>
              <a:ext uri="{FF2B5EF4-FFF2-40B4-BE49-F238E27FC236}">
                <a16:creationId xmlns:a16="http://schemas.microsoft.com/office/drawing/2014/main" id="{E5FEBF12-3556-4B14-8B1E-1BD36C6E5043}"/>
              </a:ext>
            </a:extLst>
          </p:cNvPr>
          <p:cNvPicPr>
            <a:picLocks noChangeAspect="1"/>
          </p:cNvPicPr>
          <p:nvPr/>
        </p:nvPicPr>
        <p:blipFill>
          <a:blip r:embed="rId11"/>
          <a:stretch>
            <a:fillRect/>
          </a:stretch>
        </p:blipFill>
        <p:spPr>
          <a:xfrm>
            <a:off x="6518219" y="4329735"/>
            <a:ext cx="1135400" cy="1134904"/>
          </a:xfrm>
          <a:prstGeom prst="rect">
            <a:avLst/>
          </a:prstGeom>
        </p:spPr>
      </p:pic>
      <p:pic>
        <p:nvPicPr>
          <p:cNvPr id="51" name="图片 50">
            <a:extLst>
              <a:ext uri="{FF2B5EF4-FFF2-40B4-BE49-F238E27FC236}">
                <a16:creationId xmlns:a16="http://schemas.microsoft.com/office/drawing/2014/main" id="{C3202702-4899-4B2A-B537-1508639319E5}"/>
              </a:ext>
            </a:extLst>
          </p:cNvPr>
          <p:cNvPicPr>
            <a:picLocks noChangeAspect="1"/>
          </p:cNvPicPr>
          <p:nvPr/>
        </p:nvPicPr>
        <p:blipFill>
          <a:blip r:embed="rId12"/>
          <a:stretch>
            <a:fillRect/>
          </a:stretch>
        </p:blipFill>
        <p:spPr>
          <a:xfrm>
            <a:off x="6507047" y="2902826"/>
            <a:ext cx="1166659" cy="1146660"/>
          </a:xfrm>
          <a:prstGeom prst="rect">
            <a:avLst/>
          </a:prstGeom>
        </p:spPr>
      </p:pic>
      <p:pic>
        <p:nvPicPr>
          <p:cNvPr id="52" name="图片 51">
            <a:extLst>
              <a:ext uri="{FF2B5EF4-FFF2-40B4-BE49-F238E27FC236}">
                <a16:creationId xmlns:a16="http://schemas.microsoft.com/office/drawing/2014/main" id="{15D3B523-A438-4399-A989-4FAE5A1F31AF}"/>
              </a:ext>
            </a:extLst>
          </p:cNvPr>
          <p:cNvPicPr>
            <a:picLocks noChangeAspect="1"/>
          </p:cNvPicPr>
          <p:nvPr/>
        </p:nvPicPr>
        <p:blipFill>
          <a:blip r:embed="rId13"/>
          <a:stretch>
            <a:fillRect/>
          </a:stretch>
        </p:blipFill>
        <p:spPr>
          <a:xfrm>
            <a:off x="8348743" y="2928531"/>
            <a:ext cx="1124762" cy="1120956"/>
          </a:xfrm>
          <a:prstGeom prst="rect">
            <a:avLst/>
          </a:prstGeom>
        </p:spPr>
      </p:pic>
      <p:pic>
        <p:nvPicPr>
          <p:cNvPr id="53" name="图片 52">
            <a:extLst>
              <a:ext uri="{FF2B5EF4-FFF2-40B4-BE49-F238E27FC236}">
                <a16:creationId xmlns:a16="http://schemas.microsoft.com/office/drawing/2014/main" id="{649F5086-4E8D-49DB-B678-11BC0BC807A4}"/>
              </a:ext>
            </a:extLst>
          </p:cNvPr>
          <p:cNvPicPr>
            <a:picLocks noChangeAspect="1"/>
          </p:cNvPicPr>
          <p:nvPr/>
        </p:nvPicPr>
        <p:blipFill>
          <a:blip r:embed="rId14"/>
          <a:stretch>
            <a:fillRect/>
          </a:stretch>
        </p:blipFill>
        <p:spPr>
          <a:xfrm>
            <a:off x="10135976" y="2914577"/>
            <a:ext cx="1161417" cy="1134910"/>
          </a:xfrm>
          <a:prstGeom prst="rect">
            <a:avLst/>
          </a:prstGeom>
        </p:spPr>
      </p:pic>
      <p:pic>
        <p:nvPicPr>
          <p:cNvPr id="54" name="图片 53">
            <a:extLst>
              <a:ext uri="{FF2B5EF4-FFF2-40B4-BE49-F238E27FC236}">
                <a16:creationId xmlns:a16="http://schemas.microsoft.com/office/drawing/2014/main" id="{DE27293D-891D-4BCE-964B-8F0E3A070A83}"/>
              </a:ext>
            </a:extLst>
          </p:cNvPr>
          <p:cNvPicPr>
            <a:picLocks noChangeAspect="1"/>
          </p:cNvPicPr>
          <p:nvPr/>
        </p:nvPicPr>
        <p:blipFill>
          <a:blip r:embed="rId15"/>
          <a:stretch>
            <a:fillRect/>
          </a:stretch>
        </p:blipFill>
        <p:spPr>
          <a:xfrm>
            <a:off x="1057248" y="4321188"/>
            <a:ext cx="1146199" cy="1151999"/>
          </a:xfrm>
          <a:prstGeom prst="rect">
            <a:avLst/>
          </a:prstGeom>
        </p:spPr>
      </p:pic>
      <p:pic>
        <p:nvPicPr>
          <p:cNvPr id="2" name="图片 1">
            <a:extLst>
              <a:ext uri="{FF2B5EF4-FFF2-40B4-BE49-F238E27FC236}">
                <a16:creationId xmlns:a16="http://schemas.microsoft.com/office/drawing/2014/main" id="{876E59B9-3371-4FB2-BF8E-DF7E20F81C98}"/>
              </a:ext>
            </a:extLst>
          </p:cNvPr>
          <p:cNvPicPr>
            <a:picLocks noChangeAspect="1"/>
          </p:cNvPicPr>
          <p:nvPr/>
        </p:nvPicPr>
        <p:blipFill>
          <a:blip r:embed="rId16"/>
          <a:stretch>
            <a:fillRect/>
          </a:stretch>
        </p:blipFill>
        <p:spPr>
          <a:xfrm>
            <a:off x="2868309" y="4305259"/>
            <a:ext cx="1158460" cy="1151915"/>
          </a:xfrm>
          <a:prstGeom prst="rect">
            <a:avLst/>
          </a:prstGeom>
        </p:spPr>
      </p:pic>
      <p:pic>
        <p:nvPicPr>
          <p:cNvPr id="9" name="图片 8">
            <a:extLst>
              <a:ext uri="{FF2B5EF4-FFF2-40B4-BE49-F238E27FC236}">
                <a16:creationId xmlns:a16="http://schemas.microsoft.com/office/drawing/2014/main" id="{6D5405C4-A58B-47D1-A7B7-19CFFA6FF62A}"/>
              </a:ext>
            </a:extLst>
          </p:cNvPr>
          <p:cNvPicPr>
            <a:picLocks noChangeAspect="1"/>
          </p:cNvPicPr>
          <p:nvPr/>
        </p:nvPicPr>
        <p:blipFill>
          <a:blip r:embed="rId17"/>
          <a:stretch>
            <a:fillRect/>
          </a:stretch>
        </p:blipFill>
        <p:spPr>
          <a:xfrm>
            <a:off x="2872658" y="2864062"/>
            <a:ext cx="1138645" cy="1129377"/>
          </a:xfrm>
          <a:prstGeom prst="rect">
            <a:avLst/>
          </a:prstGeom>
        </p:spPr>
      </p:pic>
      <p:pic>
        <p:nvPicPr>
          <p:cNvPr id="10" name="图片 9">
            <a:extLst>
              <a:ext uri="{FF2B5EF4-FFF2-40B4-BE49-F238E27FC236}">
                <a16:creationId xmlns:a16="http://schemas.microsoft.com/office/drawing/2014/main" id="{E497B4FE-4469-46D5-93FD-D26C3D0A579A}"/>
              </a:ext>
            </a:extLst>
          </p:cNvPr>
          <p:cNvPicPr>
            <a:picLocks noChangeAspect="1"/>
          </p:cNvPicPr>
          <p:nvPr/>
        </p:nvPicPr>
        <p:blipFill>
          <a:blip r:embed="rId18"/>
          <a:stretch>
            <a:fillRect/>
          </a:stretch>
        </p:blipFill>
        <p:spPr>
          <a:xfrm>
            <a:off x="4686340" y="2934917"/>
            <a:ext cx="1137711" cy="1127368"/>
          </a:xfrm>
          <a:prstGeom prst="rect">
            <a:avLst/>
          </a:prstGeom>
        </p:spPr>
      </p:pic>
    </p:spTree>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sp>
        <p:nvSpPr>
          <p:cNvPr id="2" name="矩形 1"/>
          <p:cNvSpPr/>
          <p:nvPr/>
        </p:nvSpPr>
        <p:spPr>
          <a:xfrm>
            <a:off x="882" y="2034446"/>
            <a:ext cx="12431583" cy="2651355"/>
          </a:xfrm>
          <a:prstGeom prst="rect">
            <a:avLst/>
          </a:prstGeom>
          <a:solidFill>
            <a:srgbClr val="595959">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180"/>
            <a:endParaRPr lang="zh-CN" altLang="en-US">
              <a:solidFill>
                <a:prstClr val="white"/>
              </a:solidFill>
              <a:cs typeface="+mn-ea"/>
              <a:sym typeface="+mn-lt"/>
            </a:endParaRPr>
          </a:p>
        </p:txBody>
      </p:sp>
      <p:sp>
        <p:nvSpPr>
          <p:cNvPr id="10" name="标题 4"/>
          <p:cNvSpPr>
            <a:spLocks noGrp="1"/>
          </p:cNvSpPr>
          <p:nvPr>
            <p:ph type="title"/>
          </p:nvPr>
        </p:nvSpPr>
        <p:spPr>
          <a:xfrm>
            <a:off x="4013" y="1921809"/>
            <a:ext cx="12428452" cy="1826809"/>
          </a:xfrm>
        </p:spPr>
        <p:txBody>
          <a:bodyPr>
            <a:normAutofit/>
          </a:bodyPr>
          <a:lstStyle/>
          <a:p>
            <a:r>
              <a:rPr lang="fr-FR" altLang="zh-CN" sz="4800" dirty="0">
                <a:solidFill>
                  <a:schemeClr val="bg1"/>
                </a:solidFill>
                <a:latin typeface="+mn-lt"/>
                <a:ea typeface="+mn-ea"/>
                <a:cs typeface="+mn-ea"/>
                <a:sym typeface="+mn-lt"/>
              </a:rPr>
              <a:t>CONSTRUIRE UN MONDE PLUS SÛR ET PLUS INTELLIGENT</a:t>
            </a:r>
            <a:endParaRPr lang="zh-CN" altLang="en-US" sz="4800" dirty="0">
              <a:solidFill>
                <a:schemeClr val="bg1"/>
              </a:solidFill>
              <a:latin typeface="+mn-lt"/>
              <a:ea typeface="+mn-ea"/>
              <a:cs typeface="+mn-ea"/>
              <a:sym typeface="+mn-lt"/>
            </a:endParaRPr>
          </a:p>
        </p:txBody>
      </p:sp>
      <p:grpSp>
        <p:nvGrpSpPr>
          <p:cNvPr id="20" name="组合 19"/>
          <p:cNvGrpSpPr/>
          <p:nvPr/>
        </p:nvGrpSpPr>
        <p:grpSpPr>
          <a:xfrm>
            <a:off x="2545968" y="3732147"/>
            <a:ext cx="7341409" cy="577825"/>
            <a:chOff x="2494806" y="3661200"/>
            <a:chExt cx="7200800" cy="566758"/>
          </a:xfrm>
        </p:grpSpPr>
        <p:sp>
          <p:nvSpPr>
            <p:cNvPr id="15" name="文本框 4"/>
            <p:cNvSpPr txBox="1"/>
            <p:nvPr/>
          </p:nvSpPr>
          <p:spPr>
            <a:xfrm>
              <a:off x="2494806" y="3725116"/>
              <a:ext cx="7200800" cy="433598"/>
            </a:xfrm>
            <a:prstGeom prst="rect">
              <a:avLst/>
            </a:prstGeom>
            <a:solidFill>
              <a:sysClr val="window" lastClr="FFFFFF"/>
            </a:solidFill>
            <a:effectLst>
              <a:outerShdw blurRad="76200" dist="63500" dir="8100000" sx="101000" sy="101000" algn="tr" rotWithShape="0">
                <a:prstClr val="black">
                  <a:alpha val="65000"/>
                </a:prstClr>
              </a:outerShdw>
            </a:effectLst>
          </p:spPr>
          <p:txBody>
            <a:bodyPr wrap="square" lIns="139838" tIns="111872" rIns="139838" bIns="111872"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80">
                <a:lnSpc>
                  <a:spcPct val="90000"/>
                </a:lnSpc>
                <a:spcAft>
                  <a:spcPts val="460"/>
                </a:spcAft>
                <a:defRPr/>
              </a:pPr>
              <a:r>
                <a:rPr lang="en-US" altLang="zh-CN" sz="1530" b="1" dirty="0">
                  <a:gradFill>
                    <a:gsLst>
                      <a:gs pos="2917">
                        <a:sysClr val="windowText" lastClr="000000"/>
                      </a:gs>
                      <a:gs pos="30000">
                        <a:sysClr val="windowText" lastClr="000000"/>
                      </a:gs>
                    </a:gsLst>
                    <a:lin ang="5400000" scaled="0"/>
                  </a:gradFill>
                  <a:cs typeface="+mn-ea"/>
                  <a:sym typeface="+mn-lt"/>
                </a:rPr>
                <a:t> </a:t>
              </a:r>
              <a:endParaRPr lang="zh-CN" altLang="en-US" sz="1530" b="1" dirty="0" err="1">
                <a:gradFill>
                  <a:gsLst>
                    <a:gs pos="2917">
                      <a:sysClr val="windowText" lastClr="000000"/>
                    </a:gs>
                    <a:gs pos="30000">
                      <a:sysClr val="windowText" lastClr="000000"/>
                    </a:gs>
                  </a:gsLst>
                  <a:lin ang="5400000" scaled="0"/>
                </a:gradFill>
                <a:cs typeface="+mn-ea"/>
                <a:sym typeface="+mn-lt"/>
              </a:endParaRPr>
            </a:p>
          </p:txBody>
        </p:sp>
        <p:sp>
          <p:nvSpPr>
            <p:cNvPr id="14" name="文本框 13">
              <a:hlinkClick r:id="rId4"/>
            </p:cNvPr>
            <p:cNvSpPr txBox="1"/>
            <p:nvPr/>
          </p:nvSpPr>
          <p:spPr>
            <a:xfrm>
              <a:off x="2494806" y="3661200"/>
              <a:ext cx="2520842" cy="566758"/>
            </a:xfrm>
            <a:prstGeom prst="rect">
              <a:avLst/>
            </a:prstGeom>
            <a:noFill/>
          </p:spPr>
          <p:txBody>
            <a:bodyPr wrap="none" lIns="182786" tIns="146228" rIns="182786" bIns="146228" rtlCol="0">
              <a:spAutoFit/>
            </a:bodyPr>
            <a:lstStyle/>
            <a:p>
              <a:pPr defTabSz="932180">
                <a:lnSpc>
                  <a:spcPct val="90000"/>
                </a:lnSpc>
                <a:spcAft>
                  <a:spcPts val="600"/>
                </a:spcAft>
                <a:defRPr/>
              </a:pPr>
              <a:r>
                <a:rPr lang="en-US" altLang="zh-CN" sz="2040" kern="0" dirty="0" err="1">
                  <a:solidFill>
                    <a:prstClr val="white">
                      <a:lumMod val="50000"/>
                    </a:prstClr>
                  </a:solidFill>
                  <a:cs typeface="+mn-ea"/>
                  <a:sym typeface="+mn-lt"/>
                </a:rPr>
                <a:t>Dahua</a:t>
              </a:r>
              <a:r>
                <a:rPr lang="en-US" altLang="zh-CN" sz="2040" kern="0" dirty="0">
                  <a:solidFill>
                    <a:prstClr val="white">
                      <a:lumMod val="50000"/>
                    </a:prstClr>
                  </a:solidFill>
                  <a:cs typeface="+mn-ea"/>
                  <a:sym typeface="+mn-lt"/>
                </a:rPr>
                <a:t> Technology</a:t>
              </a:r>
              <a:endParaRPr lang="zh-CN" altLang="en-US" sz="2040" kern="0" dirty="0" err="1">
                <a:solidFill>
                  <a:prstClr val="white">
                    <a:lumMod val="50000"/>
                  </a:prstClr>
                </a:solidFill>
                <a:cs typeface="+mn-ea"/>
                <a:sym typeface="+mn-lt"/>
              </a:endParaRPr>
            </a:p>
          </p:txBody>
        </p:sp>
        <p:grpSp>
          <p:nvGrpSpPr>
            <p:cNvPr id="19" name="组合 18"/>
            <p:cNvGrpSpPr/>
            <p:nvPr/>
          </p:nvGrpSpPr>
          <p:grpSpPr>
            <a:xfrm>
              <a:off x="9183166" y="3718059"/>
              <a:ext cx="512440" cy="447710"/>
              <a:chOff x="9206201" y="3718059"/>
              <a:chExt cx="512440" cy="447710"/>
            </a:xfrm>
          </p:grpSpPr>
          <p:sp>
            <p:nvSpPr>
              <p:cNvPr id="17" name="文本框 4"/>
              <p:cNvSpPr txBox="1"/>
              <p:nvPr/>
            </p:nvSpPr>
            <p:spPr>
              <a:xfrm>
                <a:off x="9206201" y="3718059"/>
                <a:ext cx="512440" cy="447710"/>
              </a:xfrm>
              <a:prstGeom prst="rect">
                <a:avLst/>
              </a:prstGeom>
              <a:solidFill>
                <a:srgbClr val="00B0F0"/>
              </a:solidFill>
              <a:effectLst/>
            </p:spPr>
            <p:style>
              <a:lnRef idx="1">
                <a:schemeClr val="accent5"/>
              </a:lnRef>
              <a:fillRef idx="3">
                <a:schemeClr val="accent5"/>
              </a:fillRef>
              <a:effectRef idx="2">
                <a:schemeClr val="accent5"/>
              </a:effectRef>
              <a:fontRef idx="minor">
                <a:schemeClr val="lt1"/>
              </a:fontRef>
            </p:style>
            <p:txBody>
              <a:bodyPr wrap="square" lIns="139838" tIns="111872" rIns="139838" bIns="111872"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180">
                  <a:lnSpc>
                    <a:spcPct val="90000"/>
                  </a:lnSpc>
                  <a:spcAft>
                    <a:spcPts val="460"/>
                  </a:spcAft>
                  <a:defRPr/>
                </a:pPr>
                <a:r>
                  <a:rPr lang="en-US" altLang="zh-CN" sz="1630" b="1" dirty="0">
                    <a:gradFill>
                      <a:gsLst>
                        <a:gs pos="2917">
                          <a:sysClr val="windowText" lastClr="000000"/>
                        </a:gs>
                        <a:gs pos="30000">
                          <a:sysClr val="windowText" lastClr="000000"/>
                        </a:gs>
                      </a:gsLst>
                      <a:lin ang="5400000" scaled="0"/>
                    </a:gradFill>
                    <a:cs typeface="+mn-ea"/>
                    <a:sym typeface="+mn-lt"/>
                  </a:rPr>
                  <a:t> </a:t>
                </a:r>
                <a:endParaRPr lang="zh-CN" altLang="en-US" sz="1630" b="1" dirty="0" err="1">
                  <a:gradFill>
                    <a:gsLst>
                      <a:gs pos="2917">
                        <a:sysClr val="windowText" lastClr="000000"/>
                      </a:gs>
                      <a:gs pos="30000">
                        <a:sysClr val="windowText" lastClr="000000"/>
                      </a:gs>
                    </a:gsLst>
                    <a:lin ang="5400000" scaled="0"/>
                  </a:gradFill>
                  <a:cs typeface="+mn-ea"/>
                  <a:sym typeface="+mn-lt"/>
                </a:endParaRPr>
              </a:p>
            </p:txBody>
          </p:sp>
          <p:sp>
            <p:nvSpPr>
              <p:cNvPr id="16" name="KSO_Shape"/>
              <p:cNvSpPr>
                <a:spLocks noChangeAspect="1"/>
              </p:cNvSpPr>
              <p:nvPr/>
            </p:nvSpPr>
            <p:spPr>
              <a:xfrm>
                <a:off x="9268599" y="3801600"/>
                <a:ext cx="282720" cy="288000"/>
              </a:xfrm>
              <a:custGeom>
                <a:avLst/>
                <a:gdLst>
                  <a:gd name="connsiteX0" fmla="*/ 150612 w 405200"/>
                  <a:gd name="connsiteY0" fmla="*/ 52389 h 413075"/>
                  <a:gd name="connsiteX1" fmla="*/ 52389 w 405200"/>
                  <a:gd name="connsiteY1" fmla="*/ 150612 h 413075"/>
                  <a:gd name="connsiteX2" fmla="*/ 150612 w 405200"/>
                  <a:gd name="connsiteY2" fmla="*/ 248836 h 413075"/>
                  <a:gd name="connsiteX3" fmla="*/ 248836 w 405200"/>
                  <a:gd name="connsiteY3" fmla="*/ 150612 h 413075"/>
                  <a:gd name="connsiteX4" fmla="*/ 150612 w 405200"/>
                  <a:gd name="connsiteY4" fmla="*/ 52389 h 413075"/>
                  <a:gd name="connsiteX5" fmla="*/ 150612 w 405200"/>
                  <a:gd name="connsiteY5" fmla="*/ 0 h 413075"/>
                  <a:gd name="connsiteX6" fmla="*/ 301225 w 405200"/>
                  <a:gd name="connsiteY6" fmla="*/ 150612 h 413075"/>
                  <a:gd name="connsiteX7" fmla="*/ 276789 w 405200"/>
                  <a:gd name="connsiteY7" fmla="*/ 232452 h 413075"/>
                  <a:gd name="connsiteX8" fmla="*/ 279486 w 405200"/>
                  <a:gd name="connsiteY8" fmla="*/ 234307 h 413075"/>
                  <a:gd name="connsiteX9" fmla="*/ 395404 w 405200"/>
                  <a:gd name="connsiteY9" fmla="*/ 354065 h 413075"/>
                  <a:gd name="connsiteX10" fmla="*/ 394603 w 405200"/>
                  <a:gd name="connsiteY10" fmla="*/ 403280 h 413075"/>
                  <a:gd name="connsiteX11" fmla="*/ 345389 w 405200"/>
                  <a:gd name="connsiteY11" fmla="*/ 402478 h 413075"/>
                  <a:gd name="connsiteX12" fmla="*/ 229470 w 405200"/>
                  <a:gd name="connsiteY12" fmla="*/ 282720 h 413075"/>
                  <a:gd name="connsiteX13" fmla="*/ 227420 w 405200"/>
                  <a:gd name="connsiteY13" fmla="*/ 279520 h 413075"/>
                  <a:gd name="connsiteX14" fmla="*/ 150612 w 405200"/>
                  <a:gd name="connsiteY14" fmla="*/ 301225 h 413075"/>
                  <a:gd name="connsiteX15" fmla="*/ 0 w 405200"/>
                  <a:gd name="connsiteY15" fmla="*/ 150612 h 413075"/>
                  <a:gd name="connsiteX16" fmla="*/ 150612 w 405200"/>
                  <a:gd name="connsiteY16" fmla="*/ 0 h 41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5200" h="413075">
                    <a:moveTo>
                      <a:pt x="150612" y="52389"/>
                    </a:moveTo>
                    <a:cubicBezTo>
                      <a:pt x="96365" y="52389"/>
                      <a:pt x="52389" y="96365"/>
                      <a:pt x="52389" y="150612"/>
                    </a:cubicBezTo>
                    <a:cubicBezTo>
                      <a:pt x="52389" y="204860"/>
                      <a:pt x="96365" y="248836"/>
                      <a:pt x="150612" y="248836"/>
                    </a:cubicBezTo>
                    <a:cubicBezTo>
                      <a:pt x="204860" y="248836"/>
                      <a:pt x="248836" y="204860"/>
                      <a:pt x="248836" y="150612"/>
                    </a:cubicBezTo>
                    <a:cubicBezTo>
                      <a:pt x="248836" y="96365"/>
                      <a:pt x="204860" y="52389"/>
                      <a:pt x="150612" y="52389"/>
                    </a:cubicBezTo>
                    <a:close/>
                    <a:moveTo>
                      <a:pt x="150612" y="0"/>
                    </a:moveTo>
                    <a:cubicBezTo>
                      <a:pt x="233793" y="0"/>
                      <a:pt x="301225" y="67431"/>
                      <a:pt x="301225" y="150612"/>
                    </a:cubicBezTo>
                    <a:cubicBezTo>
                      <a:pt x="301225" y="180842"/>
                      <a:pt x="292319" y="208992"/>
                      <a:pt x="276789" y="232452"/>
                    </a:cubicBezTo>
                    <a:cubicBezTo>
                      <a:pt x="277931" y="232774"/>
                      <a:pt x="278722" y="233519"/>
                      <a:pt x="279486" y="234307"/>
                    </a:cubicBezTo>
                    <a:lnTo>
                      <a:pt x="395404" y="354065"/>
                    </a:lnTo>
                    <a:cubicBezTo>
                      <a:pt x="408773" y="367877"/>
                      <a:pt x="408414" y="389911"/>
                      <a:pt x="394603" y="403280"/>
                    </a:cubicBezTo>
                    <a:cubicBezTo>
                      <a:pt x="380791" y="416648"/>
                      <a:pt x="358757" y="416289"/>
                      <a:pt x="345389" y="402478"/>
                    </a:cubicBezTo>
                    <a:lnTo>
                      <a:pt x="229470" y="282720"/>
                    </a:lnTo>
                    <a:lnTo>
                      <a:pt x="227420" y="279520"/>
                    </a:lnTo>
                    <a:cubicBezTo>
                      <a:pt x="205163" y="293486"/>
                      <a:pt x="178791" y="301225"/>
                      <a:pt x="150612" y="301225"/>
                    </a:cubicBezTo>
                    <a:cubicBezTo>
                      <a:pt x="67431" y="301225"/>
                      <a:pt x="0" y="233793"/>
                      <a:pt x="0" y="150612"/>
                    </a:cubicBezTo>
                    <a:cubicBezTo>
                      <a:pt x="0" y="67431"/>
                      <a:pt x="67431" y="0"/>
                      <a:pt x="150612" y="0"/>
                    </a:cubicBezTo>
                    <a:close/>
                  </a:path>
                </a:pathLst>
              </a:custGeom>
              <a:solidFill>
                <a:schemeClr val="bg1"/>
              </a:solidFill>
              <a:ln w="12700" cap="flat" cmpd="sng" algn="ctr">
                <a:noFill/>
                <a:prstDash val="solid"/>
                <a:miter lim="800000"/>
              </a:ln>
              <a:effectLst/>
            </p:spPr>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80">
                  <a:defRPr/>
                </a:pPr>
                <a:endParaRPr lang="zh-CN" altLang="en-US" sz="1035" dirty="0">
                  <a:solidFill>
                    <a:srgbClr val="FFFFFF"/>
                  </a:solidFill>
                  <a:cs typeface="+mn-ea"/>
                  <a:sym typeface="+mn-lt"/>
                </a:endParaRPr>
              </a:p>
            </p:txBody>
          </p:sp>
        </p:grpSp>
      </p:grpSp>
    </p:spTree>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22"/>
          <p:cNvSpPr/>
          <p:nvPr/>
        </p:nvSpPr>
        <p:spPr>
          <a:xfrm>
            <a:off x="7770536" y="4238541"/>
            <a:ext cx="460541" cy="460540"/>
          </a:xfrm>
          <a:custGeom>
            <a:avLst/>
            <a:gdLst/>
            <a:ahLst/>
            <a:cxnLst/>
            <a:rect l="l" t="t" r="r" b="b"/>
            <a:pathLst>
              <a:path w="571500" h="571500">
                <a:moveTo>
                  <a:pt x="571411" y="285711"/>
                </a:moveTo>
                <a:lnTo>
                  <a:pt x="567671" y="332056"/>
                </a:lnTo>
                <a:lnTo>
                  <a:pt x="556845" y="376020"/>
                </a:lnTo>
                <a:lnTo>
                  <a:pt x="539521" y="417014"/>
                </a:lnTo>
                <a:lnTo>
                  <a:pt x="516286" y="454451"/>
                </a:lnTo>
                <a:lnTo>
                  <a:pt x="487729" y="487741"/>
                </a:lnTo>
                <a:lnTo>
                  <a:pt x="454438" y="516298"/>
                </a:lnTo>
                <a:lnTo>
                  <a:pt x="417001" y="539533"/>
                </a:lnTo>
                <a:lnTo>
                  <a:pt x="376007" y="556858"/>
                </a:lnTo>
                <a:lnTo>
                  <a:pt x="332043" y="567684"/>
                </a:lnTo>
                <a:lnTo>
                  <a:pt x="285699" y="571423"/>
                </a:lnTo>
                <a:lnTo>
                  <a:pt x="262267" y="570476"/>
                </a:lnTo>
                <a:lnTo>
                  <a:pt x="217043" y="563120"/>
                </a:lnTo>
                <a:lnTo>
                  <a:pt x="174493" y="548971"/>
                </a:lnTo>
                <a:lnTo>
                  <a:pt x="135206" y="528618"/>
                </a:lnTo>
                <a:lnTo>
                  <a:pt x="99770" y="502648"/>
                </a:lnTo>
                <a:lnTo>
                  <a:pt x="68773" y="471651"/>
                </a:lnTo>
                <a:lnTo>
                  <a:pt x="42804" y="436214"/>
                </a:lnTo>
                <a:lnTo>
                  <a:pt x="22452" y="396925"/>
                </a:lnTo>
                <a:lnTo>
                  <a:pt x="8303" y="354372"/>
                </a:lnTo>
                <a:lnTo>
                  <a:pt x="947" y="309145"/>
                </a:lnTo>
                <a:lnTo>
                  <a:pt x="0" y="285711"/>
                </a:lnTo>
                <a:lnTo>
                  <a:pt x="947" y="262280"/>
                </a:lnTo>
                <a:lnTo>
                  <a:pt x="8303" y="217055"/>
                </a:lnTo>
                <a:lnTo>
                  <a:pt x="22452" y="174503"/>
                </a:lnTo>
                <a:lnTo>
                  <a:pt x="42804" y="135215"/>
                </a:lnTo>
                <a:lnTo>
                  <a:pt x="68773" y="99777"/>
                </a:lnTo>
                <a:lnTo>
                  <a:pt x="99770" y="68779"/>
                </a:lnTo>
                <a:lnTo>
                  <a:pt x="135206" y="42808"/>
                </a:lnTo>
                <a:lnTo>
                  <a:pt x="174493" y="22453"/>
                </a:lnTo>
                <a:lnTo>
                  <a:pt x="217043" y="8304"/>
                </a:lnTo>
                <a:lnTo>
                  <a:pt x="262267" y="947"/>
                </a:lnTo>
                <a:lnTo>
                  <a:pt x="285699" y="0"/>
                </a:lnTo>
                <a:lnTo>
                  <a:pt x="309132" y="947"/>
                </a:lnTo>
                <a:lnTo>
                  <a:pt x="354360" y="8304"/>
                </a:lnTo>
                <a:lnTo>
                  <a:pt x="396912" y="22453"/>
                </a:lnTo>
                <a:lnTo>
                  <a:pt x="436201" y="42808"/>
                </a:lnTo>
                <a:lnTo>
                  <a:pt x="471638" y="68779"/>
                </a:lnTo>
                <a:lnTo>
                  <a:pt x="502636" y="99777"/>
                </a:lnTo>
                <a:lnTo>
                  <a:pt x="528605" y="135215"/>
                </a:lnTo>
                <a:lnTo>
                  <a:pt x="548958" y="174503"/>
                </a:lnTo>
                <a:lnTo>
                  <a:pt x="563107" y="217055"/>
                </a:lnTo>
                <a:lnTo>
                  <a:pt x="570463" y="262280"/>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25" name="object 25"/>
          <p:cNvSpPr/>
          <p:nvPr/>
        </p:nvSpPr>
        <p:spPr>
          <a:xfrm>
            <a:off x="5599499" y="5166274"/>
            <a:ext cx="460541" cy="460540"/>
          </a:xfrm>
          <a:custGeom>
            <a:avLst/>
            <a:gdLst/>
            <a:ahLst/>
            <a:cxnLst/>
            <a:rect l="l" t="t" r="r" b="b"/>
            <a:pathLst>
              <a:path w="571500" h="571500">
                <a:moveTo>
                  <a:pt x="571411" y="285711"/>
                </a:moveTo>
                <a:lnTo>
                  <a:pt x="567671" y="332056"/>
                </a:lnTo>
                <a:lnTo>
                  <a:pt x="556845" y="376020"/>
                </a:lnTo>
                <a:lnTo>
                  <a:pt x="539521" y="417014"/>
                </a:lnTo>
                <a:lnTo>
                  <a:pt x="516286" y="454451"/>
                </a:lnTo>
                <a:lnTo>
                  <a:pt x="487729" y="487741"/>
                </a:lnTo>
                <a:lnTo>
                  <a:pt x="454438" y="516298"/>
                </a:lnTo>
                <a:lnTo>
                  <a:pt x="417001" y="539533"/>
                </a:lnTo>
                <a:lnTo>
                  <a:pt x="376007" y="556858"/>
                </a:lnTo>
                <a:lnTo>
                  <a:pt x="332043" y="567684"/>
                </a:lnTo>
                <a:lnTo>
                  <a:pt x="285699" y="571423"/>
                </a:lnTo>
                <a:lnTo>
                  <a:pt x="262267" y="570476"/>
                </a:lnTo>
                <a:lnTo>
                  <a:pt x="217043" y="563120"/>
                </a:lnTo>
                <a:lnTo>
                  <a:pt x="174493" y="548971"/>
                </a:lnTo>
                <a:lnTo>
                  <a:pt x="135206" y="528618"/>
                </a:lnTo>
                <a:lnTo>
                  <a:pt x="99770" y="502648"/>
                </a:lnTo>
                <a:lnTo>
                  <a:pt x="68773" y="471651"/>
                </a:lnTo>
                <a:lnTo>
                  <a:pt x="42804" y="436214"/>
                </a:lnTo>
                <a:lnTo>
                  <a:pt x="22452" y="396925"/>
                </a:lnTo>
                <a:lnTo>
                  <a:pt x="8303" y="354372"/>
                </a:lnTo>
                <a:lnTo>
                  <a:pt x="947" y="309145"/>
                </a:lnTo>
                <a:lnTo>
                  <a:pt x="0" y="285711"/>
                </a:lnTo>
                <a:lnTo>
                  <a:pt x="947" y="262278"/>
                </a:lnTo>
                <a:lnTo>
                  <a:pt x="8303" y="217050"/>
                </a:lnTo>
                <a:lnTo>
                  <a:pt x="22452" y="174498"/>
                </a:lnTo>
                <a:lnTo>
                  <a:pt x="42804" y="135209"/>
                </a:lnTo>
                <a:lnTo>
                  <a:pt x="68773" y="99772"/>
                </a:lnTo>
                <a:lnTo>
                  <a:pt x="99770" y="68774"/>
                </a:lnTo>
                <a:lnTo>
                  <a:pt x="135206" y="42805"/>
                </a:lnTo>
                <a:lnTo>
                  <a:pt x="174493" y="22452"/>
                </a:lnTo>
                <a:lnTo>
                  <a:pt x="217043" y="8303"/>
                </a:lnTo>
                <a:lnTo>
                  <a:pt x="262267" y="947"/>
                </a:lnTo>
                <a:lnTo>
                  <a:pt x="285699" y="0"/>
                </a:lnTo>
                <a:lnTo>
                  <a:pt x="309132" y="947"/>
                </a:lnTo>
                <a:lnTo>
                  <a:pt x="354360" y="8303"/>
                </a:lnTo>
                <a:lnTo>
                  <a:pt x="396912" y="22452"/>
                </a:lnTo>
                <a:lnTo>
                  <a:pt x="436201" y="42805"/>
                </a:lnTo>
                <a:lnTo>
                  <a:pt x="471638" y="68774"/>
                </a:lnTo>
                <a:lnTo>
                  <a:pt x="502636" y="99772"/>
                </a:lnTo>
                <a:lnTo>
                  <a:pt x="528605" y="135209"/>
                </a:lnTo>
                <a:lnTo>
                  <a:pt x="548958" y="174498"/>
                </a:lnTo>
                <a:lnTo>
                  <a:pt x="563107" y="217050"/>
                </a:lnTo>
                <a:lnTo>
                  <a:pt x="570463" y="262278"/>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29" name="object 29"/>
          <p:cNvSpPr/>
          <p:nvPr/>
        </p:nvSpPr>
        <p:spPr>
          <a:xfrm>
            <a:off x="9887402" y="4238541"/>
            <a:ext cx="460541" cy="460540"/>
          </a:xfrm>
          <a:custGeom>
            <a:avLst/>
            <a:gdLst/>
            <a:ahLst/>
            <a:cxnLst/>
            <a:rect l="l" t="t" r="r" b="b"/>
            <a:pathLst>
              <a:path w="571500" h="571500">
                <a:moveTo>
                  <a:pt x="571411" y="285711"/>
                </a:moveTo>
                <a:lnTo>
                  <a:pt x="567671" y="332056"/>
                </a:lnTo>
                <a:lnTo>
                  <a:pt x="556845" y="376020"/>
                </a:lnTo>
                <a:lnTo>
                  <a:pt x="539521" y="417014"/>
                </a:lnTo>
                <a:lnTo>
                  <a:pt x="516286" y="454451"/>
                </a:lnTo>
                <a:lnTo>
                  <a:pt x="487729" y="487741"/>
                </a:lnTo>
                <a:lnTo>
                  <a:pt x="454438" y="516298"/>
                </a:lnTo>
                <a:lnTo>
                  <a:pt x="417001" y="539533"/>
                </a:lnTo>
                <a:lnTo>
                  <a:pt x="376007" y="556858"/>
                </a:lnTo>
                <a:lnTo>
                  <a:pt x="332043" y="567684"/>
                </a:lnTo>
                <a:lnTo>
                  <a:pt x="285699" y="571423"/>
                </a:lnTo>
                <a:lnTo>
                  <a:pt x="262267" y="570476"/>
                </a:lnTo>
                <a:lnTo>
                  <a:pt x="217043" y="563120"/>
                </a:lnTo>
                <a:lnTo>
                  <a:pt x="174493" y="548971"/>
                </a:lnTo>
                <a:lnTo>
                  <a:pt x="135206" y="528618"/>
                </a:lnTo>
                <a:lnTo>
                  <a:pt x="99770" y="502648"/>
                </a:lnTo>
                <a:lnTo>
                  <a:pt x="68773" y="471651"/>
                </a:lnTo>
                <a:lnTo>
                  <a:pt x="42804" y="436214"/>
                </a:lnTo>
                <a:lnTo>
                  <a:pt x="22452" y="396925"/>
                </a:lnTo>
                <a:lnTo>
                  <a:pt x="8303" y="354372"/>
                </a:lnTo>
                <a:lnTo>
                  <a:pt x="947" y="309145"/>
                </a:lnTo>
                <a:lnTo>
                  <a:pt x="0" y="285711"/>
                </a:lnTo>
                <a:lnTo>
                  <a:pt x="947" y="262280"/>
                </a:lnTo>
                <a:lnTo>
                  <a:pt x="8303" y="217055"/>
                </a:lnTo>
                <a:lnTo>
                  <a:pt x="22452" y="174503"/>
                </a:lnTo>
                <a:lnTo>
                  <a:pt x="42804" y="135215"/>
                </a:lnTo>
                <a:lnTo>
                  <a:pt x="68773" y="99777"/>
                </a:lnTo>
                <a:lnTo>
                  <a:pt x="99770" y="68779"/>
                </a:lnTo>
                <a:lnTo>
                  <a:pt x="135206" y="42808"/>
                </a:lnTo>
                <a:lnTo>
                  <a:pt x="174493" y="22453"/>
                </a:lnTo>
                <a:lnTo>
                  <a:pt x="217043" y="8304"/>
                </a:lnTo>
                <a:lnTo>
                  <a:pt x="262267" y="947"/>
                </a:lnTo>
                <a:lnTo>
                  <a:pt x="285699" y="0"/>
                </a:lnTo>
                <a:lnTo>
                  <a:pt x="309132" y="947"/>
                </a:lnTo>
                <a:lnTo>
                  <a:pt x="354360" y="8304"/>
                </a:lnTo>
                <a:lnTo>
                  <a:pt x="396912" y="22453"/>
                </a:lnTo>
                <a:lnTo>
                  <a:pt x="436201" y="42808"/>
                </a:lnTo>
                <a:lnTo>
                  <a:pt x="471638" y="68779"/>
                </a:lnTo>
                <a:lnTo>
                  <a:pt x="502636" y="99777"/>
                </a:lnTo>
                <a:lnTo>
                  <a:pt x="528605" y="135215"/>
                </a:lnTo>
                <a:lnTo>
                  <a:pt x="548958" y="174503"/>
                </a:lnTo>
                <a:lnTo>
                  <a:pt x="563107" y="217055"/>
                </a:lnTo>
                <a:lnTo>
                  <a:pt x="570463" y="262280"/>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27" name="object 27"/>
          <p:cNvSpPr/>
          <p:nvPr/>
        </p:nvSpPr>
        <p:spPr>
          <a:xfrm>
            <a:off x="9887402" y="5166274"/>
            <a:ext cx="460541" cy="460540"/>
          </a:xfrm>
          <a:custGeom>
            <a:avLst/>
            <a:gdLst/>
            <a:ahLst/>
            <a:cxnLst/>
            <a:rect l="l" t="t" r="r" b="b"/>
            <a:pathLst>
              <a:path w="571500" h="571500">
                <a:moveTo>
                  <a:pt x="571411" y="285711"/>
                </a:moveTo>
                <a:lnTo>
                  <a:pt x="567671" y="332056"/>
                </a:lnTo>
                <a:lnTo>
                  <a:pt x="556845" y="376020"/>
                </a:lnTo>
                <a:lnTo>
                  <a:pt x="539521" y="417014"/>
                </a:lnTo>
                <a:lnTo>
                  <a:pt x="516286" y="454451"/>
                </a:lnTo>
                <a:lnTo>
                  <a:pt x="487729" y="487741"/>
                </a:lnTo>
                <a:lnTo>
                  <a:pt x="454438" y="516298"/>
                </a:lnTo>
                <a:lnTo>
                  <a:pt x="417001" y="539533"/>
                </a:lnTo>
                <a:lnTo>
                  <a:pt x="376007" y="556858"/>
                </a:lnTo>
                <a:lnTo>
                  <a:pt x="332043" y="567684"/>
                </a:lnTo>
                <a:lnTo>
                  <a:pt x="285699" y="571423"/>
                </a:lnTo>
                <a:lnTo>
                  <a:pt x="262267" y="570476"/>
                </a:lnTo>
                <a:lnTo>
                  <a:pt x="217043" y="563120"/>
                </a:lnTo>
                <a:lnTo>
                  <a:pt x="174493" y="548971"/>
                </a:lnTo>
                <a:lnTo>
                  <a:pt x="135206" y="528618"/>
                </a:lnTo>
                <a:lnTo>
                  <a:pt x="99770" y="502648"/>
                </a:lnTo>
                <a:lnTo>
                  <a:pt x="68773" y="471651"/>
                </a:lnTo>
                <a:lnTo>
                  <a:pt x="42804" y="436214"/>
                </a:lnTo>
                <a:lnTo>
                  <a:pt x="22452" y="396925"/>
                </a:lnTo>
                <a:lnTo>
                  <a:pt x="8303" y="354372"/>
                </a:lnTo>
                <a:lnTo>
                  <a:pt x="947" y="309145"/>
                </a:lnTo>
                <a:lnTo>
                  <a:pt x="0" y="285711"/>
                </a:lnTo>
                <a:lnTo>
                  <a:pt x="947" y="262278"/>
                </a:lnTo>
                <a:lnTo>
                  <a:pt x="8303" y="217050"/>
                </a:lnTo>
                <a:lnTo>
                  <a:pt x="22452" y="174498"/>
                </a:lnTo>
                <a:lnTo>
                  <a:pt x="42804" y="135209"/>
                </a:lnTo>
                <a:lnTo>
                  <a:pt x="68773" y="99772"/>
                </a:lnTo>
                <a:lnTo>
                  <a:pt x="99770" y="68774"/>
                </a:lnTo>
                <a:lnTo>
                  <a:pt x="135206" y="42805"/>
                </a:lnTo>
                <a:lnTo>
                  <a:pt x="174493" y="22452"/>
                </a:lnTo>
                <a:lnTo>
                  <a:pt x="217043" y="8303"/>
                </a:lnTo>
                <a:lnTo>
                  <a:pt x="262267" y="947"/>
                </a:lnTo>
                <a:lnTo>
                  <a:pt x="285699" y="0"/>
                </a:lnTo>
                <a:lnTo>
                  <a:pt x="309132" y="947"/>
                </a:lnTo>
                <a:lnTo>
                  <a:pt x="354360" y="8303"/>
                </a:lnTo>
                <a:lnTo>
                  <a:pt x="396912" y="22452"/>
                </a:lnTo>
                <a:lnTo>
                  <a:pt x="436201" y="42805"/>
                </a:lnTo>
                <a:lnTo>
                  <a:pt x="471638" y="68774"/>
                </a:lnTo>
                <a:lnTo>
                  <a:pt x="502636" y="99772"/>
                </a:lnTo>
                <a:lnTo>
                  <a:pt x="528605" y="135209"/>
                </a:lnTo>
                <a:lnTo>
                  <a:pt x="548958" y="174498"/>
                </a:lnTo>
                <a:lnTo>
                  <a:pt x="563107" y="217050"/>
                </a:lnTo>
                <a:lnTo>
                  <a:pt x="570463" y="262278"/>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31" name="object 31"/>
          <p:cNvSpPr/>
          <p:nvPr/>
        </p:nvSpPr>
        <p:spPr>
          <a:xfrm>
            <a:off x="7770536" y="5166274"/>
            <a:ext cx="460541" cy="460540"/>
          </a:xfrm>
          <a:custGeom>
            <a:avLst/>
            <a:gdLst/>
            <a:ahLst/>
            <a:cxnLst/>
            <a:rect l="l" t="t" r="r" b="b"/>
            <a:pathLst>
              <a:path w="571500" h="571500">
                <a:moveTo>
                  <a:pt x="571411" y="285711"/>
                </a:moveTo>
                <a:lnTo>
                  <a:pt x="567671" y="332053"/>
                </a:lnTo>
                <a:lnTo>
                  <a:pt x="556845" y="376015"/>
                </a:lnTo>
                <a:lnTo>
                  <a:pt x="539521" y="417008"/>
                </a:lnTo>
                <a:lnTo>
                  <a:pt x="516286" y="454445"/>
                </a:lnTo>
                <a:lnTo>
                  <a:pt x="487729" y="487737"/>
                </a:lnTo>
                <a:lnTo>
                  <a:pt x="454438" y="516295"/>
                </a:lnTo>
                <a:lnTo>
                  <a:pt x="417001" y="539531"/>
                </a:lnTo>
                <a:lnTo>
                  <a:pt x="376007" y="556857"/>
                </a:lnTo>
                <a:lnTo>
                  <a:pt x="332043" y="567684"/>
                </a:lnTo>
                <a:lnTo>
                  <a:pt x="285699" y="571423"/>
                </a:lnTo>
                <a:lnTo>
                  <a:pt x="262267" y="570476"/>
                </a:lnTo>
                <a:lnTo>
                  <a:pt x="217043" y="563119"/>
                </a:lnTo>
                <a:lnTo>
                  <a:pt x="174493" y="548969"/>
                </a:lnTo>
                <a:lnTo>
                  <a:pt x="135206" y="528615"/>
                </a:lnTo>
                <a:lnTo>
                  <a:pt x="99770" y="502644"/>
                </a:lnTo>
                <a:lnTo>
                  <a:pt x="68773" y="471646"/>
                </a:lnTo>
                <a:lnTo>
                  <a:pt x="42804" y="436208"/>
                </a:lnTo>
                <a:lnTo>
                  <a:pt x="22452" y="396919"/>
                </a:lnTo>
                <a:lnTo>
                  <a:pt x="8303" y="354368"/>
                </a:lnTo>
                <a:lnTo>
                  <a:pt x="947" y="309143"/>
                </a:lnTo>
                <a:lnTo>
                  <a:pt x="0" y="285711"/>
                </a:lnTo>
                <a:lnTo>
                  <a:pt x="947" y="262278"/>
                </a:lnTo>
                <a:lnTo>
                  <a:pt x="8303" y="217050"/>
                </a:lnTo>
                <a:lnTo>
                  <a:pt x="22452" y="174498"/>
                </a:lnTo>
                <a:lnTo>
                  <a:pt x="42804" y="135209"/>
                </a:lnTo>
                <a:lnTo>
                  <a:pt x="68773" y="99772"/>
                </a:lnTo>
                <a:lnTo>
                  <a:pt x="99770" y="68774"/>
                </a:lnTo>
                <a:lnTo>
                  <a:pt x="135206" y="42805"/>
                </a:lnTo>
                <a:lnTo>
                  <a:pt x="174493" y="22452"/>
                </a:lnTo>
                <a:lnTo>
                  <a:pt x="217043" y="8303"/>
                </a:lnTo>
                <a:lnTo>
                  <a:pt x="262267" y="947"/>
                </a:lnTo>
                <a:lnTo>
                  <a:pt x="285699" y="0"/>
                </a:lnTo>
                <a:lnTo>
                  <a:pt x="309132" y="947"/>
                </a:lnTo>
                <a:lnTo>
                  <a:pt x="354360" y="8303"/>
                </a:lnTo>
                <a:lnTo>
                  <a:pt x="396912" y="22452"/>
                </a:lnTo>
                <a:lnTo>
                  <a:pt x="436201" y="42805"/>
                </a:lnTo>
                <a:lnTo>
                  <a:pt x="471638" y="68774"/>
                </a:lnTo>
                <a:lnTo>
                  <a:pt x="502636" y="99772"/>
                </a:lnTo>
                <a:lnTo>
                  <a:pt x="528605" y="135209"/>
                </a:lnTo>
                <a:lnTo>
                  <a:pt x="548958" y="174498"/>
                </a:lnTo>
                <a:lnTo>
                  <a:pt x="563107" y="217050"/>
                </a:lnTo>
                <a:lnTo>
                  <a:pt x="570463" y="262278"/>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20" name="object 20"/>
          <p:cNvSpPr/>
          <p:nvPr/>
        </p:nvSpPr>
        <p:spPr>
          <a:xfrm>
            <a:off x="5599500" y="4238541"/>
            <a:ext cx="460541" cy="460540"/>
          </a:xfrm>
          <a:custGeom>
            <a:avLst/>
            <a:gdLst/>
            <a:ahLst/>
            <a:cxnLst/>
            <a:rect l="l" t="t" r="r" b="b"/>
            <a:pathLst>
              <a:path w="571500" h="571500">
                <a:moveTo>
                  <a:pt x="571411" y="285711"/>
                </a:moveTo>
                <a:lnTo>
                  <a:pt x="567671" y="332053"/>
                </a:lnTo>
                <a:lnTo>
                  <a:pt x="556845" y="376015"/>
                </a:lnTo>
                <a:lnTo>
                  <a:pt x="539521" y="417008"/>
                </a:lnTo>
                <a:lnTo>
                  <a:pt x="516286" y="454445"/>
                </a:lnTo>
                <a:lnTo>
                  <a:pt x="487729" y="487737"/>
                </a:lnTo>
                <a:lnTo>
                  <a:pt x="454438" y="516295"/>
                </a:lnTo>
                <a:lnTo>
                  <a:pt x="417001" y="539531"/>
                </a:lnTo>
                <a:lnTo>
                  <a:pt x="376007" y="556857"/>
                </a:lnTo>
                <a:lnTo>
                  <a:pt x="332043" y="567684"/>
                </a:lnTo>
                <a:lnTo>
                  <a:pt x="285699" y="571423"/>
                </a:lnTo>
                <a:lnTo>
                  <a:pt x="262267" y="570476"/>
                </a:lnTo>
                <a:lnTo>
                  <a:pt x="217043" y="563119"/>
                </a:lnTo>
                <a:lnTo>
                  <a:pt x="174493" y="548969"/>
                </a:lnTo>
                <a:lnTo>
                  <a:pt x="135206" y="528615"/>
                </a:lnTo>
                <a:lnTo>
                  <a:pt x="99770" y="502644"/>
                </a:lnTo>
                <a:lnTo>
                  <a:pt x="68773" y="471646"/>
                </a:lnTo>
                <a:lnTo>
                  <a:pt x="42804" y="436208"/>
                </a:lnTo>
                <a:lnTo>
                  <a:pt x="22452" y="396919"/>
                </a:lnTo>
                <a:lnTo>
                  <a:pt x="8303" y="354368"/>
                </a:lnTo>
                <a:lnTo>
                  <a:pt x="947" y="309143"/>
                </a:lnTo>
                <a:lnTo>
                  <a:pt x="0" y="285711"/>
                </a:lnTo>
                <a:lnTo>
                  <a:pt x="947" y="262278"/>
                </a:lnTo>
                <a:lnTo>
                  <a:pt x="8303" y="217050"/>
                </a:lnTo>
                <a:lnTo>
                  <a:pt x="22452" y="174498"/>
                </a:lnTo>
                <a:lnTo>
                  <a:pt x="42804" y="135209"/>
                </a:lnTo>
                <a:lnTo>
                  <a:pt x="68773" y="99772"/>
                </a:lnTo>
                <a:lnTo>
                  <a:pt x="99770" y="68774"/>
                </a:lnTo>
                <a:lnTo>
                  <a:pt x="135206" y="42805"/>
                </a:lnTo>
                <a:lnTo>
                  <a:pt x="174493" y="22452"/>
                </a:lnTo>
                <a:lnTo>
                  <a:pt x="217043" y="8303"/>
                </a:lnTo>
                <a:lnTo>
                  <a:pt x="262267" y="947"/>
                </a:lnTo>
                <a:lnTo>
                  <a:pt x="285699" y="0"/>
                </a:lnTo>
                <a:lnTo>
                  <a:pt x="309132" y="947"/>
                </a:lnTo>
                <a:lnTo>
                  <a:pt x="354360" y="8303"/>
                </a:lnTo>
                <a:lnTo>
                  <a:pt x="396912" y="22452"/>
                </a:lnTo>
                <a:lnTo>
                  <a:pt x="436201" y="42805"/>
                </a:lnTo>
                <a:lnTo>
                  <a:pt x="471638" y="68774"/>
                </a:lnTo>
                <a:lnTo>
                  <a:pt x="502636" y="99772"/>
                </a:lnTo>
                <a:lnTo>
                  <a:pt x="528605" y="135209"/>
                </a:lnTo>
                <a:lnTo>
                  <a:pt x="548958" y="174498"/>
                </a:lnTo>
                <a:lnTo>
                  <a:pt x="563107" y="217050"/>
                </a:lnTo>
                <a:lnTo>
                  <a:pt x="570463" y="262278"/>
                </a:lnTo>
                <a:lnTo>
                  <a:pt x="571411" y="285711"/>
                </a:lnTo>
                <a:close/>
              </a:path>
            </a:pathLst>
          </a:custGeom>
          <a:solidFill>
            <a:srgbClr val="C00000"/>
          </a:solidFill>
          <a:ln w="12700">
            <a:solidFill>
              <a:srgbClr val="FFFFFF"/>
            </a:solidFill>
          </a:ln>
        </p:spPr>
        <p:txBody>
          <a:bodyPr wrap="square" lIns="0" tIns="0" rIns="0" bIns="0" rtlCol="0"/>
          <a:lstStyle/>
          <a:p>
            <a:endParaRPr sz="690">
              <a:solidFill>
                <a:schemeClr val="tx1">
                  <a:lumMod val="75000"/>
                  <a:lumOff val="25000"/>
                </a:schemeClr>
              </a:solidFill>
              <a:cs typeface="+mn-ea"/>
              <a:sym typeface="+mn-lt"/>
            </a:endParaRPr>
          </a:p>
        </p:txBody>
      </p:sp>
      <p:sp>
        <p:nvSpPr>
          <p:cNvPr id="50" name="object 4"/>
          <p:cNvSpPr/>
          <p:nvPr/>
        </p:nvSpPr>
        <p:spPr>
          <a:xfrm>
            <a:off x="730707" y="0"/>
            <a:ext cx="2692556" cy="122923"/>
          </a:xfrm>
          <a:custGeom>
            <a:avLst/>
            <a:gdLst/>
            <a:ahLst/>
            <a:cxnLst/>
            <a:rect l="l" t="t" r="r" b="b"/>
            <a:pathLst>
              <a:path w="3078479" h="180340">
                <a:moveTo>
                  <a:pt x="0" y="179997"/>
                </a:moveTo>
                <a:lnTo>
                  <a:pt x="3077997" y="179997"/>
                </a:lnTo>
                <a:lnTo>
                  <a:pt x="3077997" y="0"/>
                </a:lnTo>
                <a:lnTo>
                  <a:pt x="0" y="0"/>
                </a:lnTo>
                <a:lnTo>
                  <a:pt x="0" y="179997"/>
                </a:lnTo>
                <a:close/>
              </a:path>
            </a:pathLst>
          </a:custGeom>
          <a:solidFill>
            <a:srgbClr val="C00000"/>
          </a:solidFill>
        </p:spPr>
        <p:txBody>
          <a:bodyPr wrap="square" lIns="0" tIns="0" rIns="0" bIns="0" rtlCol="0"/>
          <a:lstStyle/>
          <a:p>
            <a:endParaRPr sz="690">
              <a:cs typeface="+mn-ea"/>
              <a:sym typeface="+mn-lt"/>
            </a:endParaRPr>
          </a:p>
        </p:txBody>
      </p:sp>
      <p:sp>
        <p:nvSpPr>
          <p:cNvPr id="53" name="object 13"/>
          <p:cNvSpPr txBox="1"/>
          <p:nvPr/>
        </p:nvSpPr>
        <p:spPr>
          <a:xfrm>
            <a:off x="730707" y="681704"/>
            <a:ext cx="3292993" cy="430887"/>
          </a:xfrm>
          <a:prstGeom prst="rect">
            <a:avLst/>
          </a:prstGeom>
        </p:spPr>
        <p:txBody>
          <a:bodyPr vert="horz" wrap="square" lIns="0" tIns="0" rIns="0" bIns="0" rtlCol="0">
            <a:spAutoFit/>
          </a:bodyPr>
          <a:lstStyle>
            <a:lvl1pPr>
              <a:defRPr sz="1805" b="1" i="0">
                <a:solidFill>
                  <a:srgbClr val="C1191E"/>
                </a:solidFill>
                <a:latin typeface="思源黑体 CN Bold"/>
                <a:ea typeface="+mj-ea"/>
                <a:cs typeface="思源黑体 CN Bold"/>
              </a:defRPr>
            </a:lvl1pPr>
          </a:lstStyle>
          <a:p>
            <a:pPr defTabSz="1243330"/>
            <a:r>
              <a:rPr lang="en-US" altLang="zh-CN" sz="2800" dirty="0"/>
              <a:t>À PROPOS DE DAHUA</a:t>
            </a:r>
            <a:endParaRPr lang="en-US" altLang="zh-CN" sz="2455" kern="0" dirty="0">
              <a:latin typeface="+mn-lt"/>
              <a:ea typeface="+mn-ea"/>
              <a:cs typeface="+mn-ea"/>
              <a:sym typeface="+mn-lt"/>
            </a:endParaRPr>
          </a:p>
        </p:txBody>
      </p:sp>
      <p:pic>
        <p:nvPicPr>
          <p:cNvPr id="3" name="图片 2"/>
          <p:cNvPicPr>
            <a:picLocks noChangeAspect="1"/>
          </p:cNvPicPr>
          <p:nvPr/>
        </p:nvPicPr>
        <p:blipFill>
          <a:blip r:embed="rId3"/>
          <a:stretch>
            <a:fillRect/>
          </a:stretch>
        </p:blipFill>
        <p:spPr>
          <a:xfrm>
            <a:off x="5695143" y="4329003"/>
            <a:ext cx="269256" cy="279612"/>
          </a:xfrm>
          <a:prstGeom prst="rect">
            <a:avLst/>
          </a:prstGeom>
        </p:spPr>
      </p:pic>
      <p:sp>
        <p:nvSpPr>
          <p:cNvPr id="10" name="object 10"/>
          <p:cNvSpPr txBox="1"/>
          <p:nvPr/>
        </p:nvSpPr>
        <p:spPr>
          <a:xfrm>
            <a:off x="6169194" y="5171692"/>
            <a:ext cx="1527846" cy="611962"/>
          </a:xfrm>
          <a:prstGeom prst="rect">
            <a:avLst/>
          </a:prstGeom>
        </p:spPr>
        <p:txBody>
          <a:bodyPr vert="horz" wrap="square" lIns="0" tIns="0" rIns="0" bIns="0" rtlCol="0">
            <a:spAutoFit/>
          </a:bodyPr>
          <a:lstStyle/>
          <a:p>
            <a:pPr marR="3175"/>
            <a:r>
              <a:rPr lang="en-US" altLang="zh-CN" sz="1500" b="1" dirty="0">
                <a:solidFill>
                  <a:schemeClr val="tx1">
                    <a:lumMod val="75000"/>
                    <a:lumOff val="25000"/>
                  </a:schemeClr>
                </a:solidFill>
                <a:cs typeface="+mn-ea"/>
                <a:sym typeface="+mn-lt"/>
              </a:rPr>
              <a:t>54</a:t>
            </a:r>
            <a:endParaRPr sz="1500" b="1" spc="-54" dirty="0">
              <a:solidFill>
                <a:schemeClr val="tx1">
                  <a:lumMod val="75000"/>
                  <a:lumOff val="25000"/>
                </a:schemeClr>
              </a:solidFill>
              <a:cs typeface="+mn-ea"/>
              <a:sym typeface="+mn-lt"/>
            </a:endParaRPr>
          </a:p>
          <a:p>
            <a:pPr marR="3175">
              <a:spcBef>
                <a:spcPts val="65"/>
              </a:spcBef>
            </a:pPr>
            <a:r>
              <a:rPr lang="fr-FR" sz="1155" dirty="0">
                <a:solidFill>
                  <a:schemeClr val="tx1">
                    <a:lumMod val="75000"/>
                    <a:lumOff val="25000"/>
                  </a:schemeClr>
                </a:solidFill>
                <a:cs typeface="+mn-ea"/>
                <a:sym typeface="+mn-lt"/>
              </a:rPr>
              <a:t>Filiales à l’étranger &amp;</a:t>
            </a:r>
          </a:p>
          <a:p>
            <a:pPr marR="3175">
              <a:spcBef>
                <a:spcPts val="65"/>
              </a:spcBef>
            </a:pPr>
            <a:r>
              <a:rPr lang="fr-FR" sz="1155" dirty="0">
                <a:solidFill>
                  <a:schemeClr val="tx1">
                    <a:lumMod val="75000"/>
                    <a:lumOff val="25000"/>
                  </a:schemeClr>
                </a:solidFill>
                <a:cs typeface="+mn-ea"/>
                <a:sym typeface="+mn-lt"/>
              </a:rPr>
              <a:t>bureaux de liaison</a:t>
            </a:r>
          </a:p>
        </p:txBody>
      </p:sp>
      <p:sp>
        <p:nvSpPr>
          <p:cNvPr id="8" name="object 8"/>
          <p:cNvSpPr txBox="1"/>
          <p:nvPr/>
        </p:nvSpPr>
        <p:spPr>
          <a:xfrm>
            <a:off x="6175162" y="4251936"/>
            <a:ext cx="931588" cy="444161"/>
          </a:xfrm>
          <a:prstGeom prst="rect">
            <a:avLst/>
          </a:prstGeom>
        </p:spPr>
        <p:txBody>
          <a:bodyPr vert="horz" wrap="square" lIns="0" tIns="0" rIns="0" bIns="0" rtlCol="0">
            <a:spAutoFit/>
          </a:bodyPr>
          <a:lstStyle/>
          <a:p>
            <a:r>
              <a:rPr sz="1500" b="1" dirty="0">
                <a:solidFill>
                  <a:schemeClr val="tx1">
                    <a:lumMod val="75000"/>
                    <a:lumOff val="25000"/>
                  </a:schemeClr>
                </a:solidFill>
                <a:cs typeface="+mn-ea"/>
                <a:sym typeface="+mn-lt"/>
              </a:rPr>
              <a:t>16000</a:t>
            </a:r>
            <a:r>
              <a:rPr lang="en-US" altLang="zh-CN" sz="1500" b="1" baseline="30000" dirty="0">
                <a:solidFill>
                  <a:schemeClr val="tx1">
                    <a:lumMod val="75000"/>
                    <a:lumOff val="25000"/>
                  </a:schemeClr>
                </a:solidFill>
                <a:cs typeface="+mn-ea"/>
                <a:sym typeface="+mn-lt"/>
              </a:rPr>
              <a:t>+</a:t>
            </a:r>
            <a:endParaRPr sz="1090" b="1" dirty="0">
              <a:solidFill>
                <a:schemeClr val="tx1">
                  <a:lumMod val="75000"/>
                  <a:lumOff val="25000"/>
                </a:schemeClr>
              </a:solidFill>
              <a:cs typeface="+mn-ea"/>
              <a:sym typeface="+mn-lt"/>
            </a:endParaRPr>
          </a:p>
          <a:p>
            <a:pPr>
              <a:lnSpc>
                <a:spcPct val="125000"/>
              </a:lnSpc>
              <a:spcBef>
                <a:spcPts val="65"/>
              </a:spcBef>
            </a:pPr>
            <a:r>
              <a:rPr lang="en-US" altLang="zh-CN" sz="1155" dirty="0" err="1">
                <a:solidFill>
                  <a:schemeClr val="tx1">
                    <a:lumMod val="75000"/>
                    <a:lumOff val="25000"/>
                  </a:schemeClr>
                </a:solidFill>
                <a:cs typeface="+mn-ea"/>
                <a:sym typeface="+mn-lt"/>
              </a:rPr>
              <a:t>Employés</a:t>
            </a:r>
            <a:endParaRPr sz="1155" dirty="0">
              <a:solidFill>
                <a:schemeClr val="tx1">
                  <a:lumMod val="75000"/>
                  <a:lumOff val="25000"/>
                </a:schemeClr>
              </a:solidFill>
              <a:cs typeface="+mn-ea"/>
              <a:sym typeface="+mn-lt"/>
            </a:endParaRPr>
          </a:p>
        </p:txBody>
      </p:sp>
      <p:sp>
        <p:nvSpPr>
          <p:cNvPr id="15" name="object 15"/>
          <p:cNvSpPr txBox="1"/>
          <p:nvPr/>
        </p:nvSpPr>
        <p:spPr>
          <a:xfrm>
            <a:off x="8353804" y="4251936"/>
            <a:ext cx="1480088" cy="444161"/>
          </a:xfrm>
          <a:prstGeom prst="rect">
            <a:avLst/>
          </a:prstGeom>
        </p:spPr>
        <p:txBody>
          <a:bodyPr vert="horz" wrap="square" lIns="0" tIns="0" rIns="0" bIns="0" rtlCol="0">
            <a:spAutoFit/>
          </a:bodyPr>
          <a:lstStyle/>
          <a:p>
            <a:r>
              <a:rPr lang="en-US" sz="1500" b="1" dirty="0">
                <a:solidFill>
                  <a:schemeClr val="tx1">
                    <a:lumMod val="75000"/>
                    <a:lumOff val="25000"/>
                  </a:schemeClr>
                </a:solidFill>
                <a:cs typeface="+mn-ea"/>
                <a:sym typeface="+mn-lt"/>
              </a:rPr>
              <a:t>21</a:t>
            </a:r>
            <a:r>
              <a:rPr sz="1500" b="1" dirty="0">
                <a:solidFill>
                  <a:schemeClr val="tx1">
                    <a:lumMod val="75000"/>
                    <a:lumOff val="25000"/>
                  </a:schemeClr>
                </a:solidFill>
                <a:cs typeface="+mn-ea"/>
                <a:sym typeface="+mn-lt"/>
              </a:rPr>
              <a:t>00</a:t>
            </a:r>
            <a:r>
              <a:rPr lang="en-US" altLang="zh-CN" sz="1500" b="1" baseline="30000" dirty="0">
                <a:solidFill>
                  <a:schemeClr val="tx1">
                    <a:lumMod val="75000"/>
                    <a:lumOff val="25000"/>
                  </a:schemeClr>
                </a:solidFill>
                <a:cs typeface="+mn-ea"/>
                <a:sym typeface="+mn-lt"/>
              </a:rPr>
              <a:t>+</a:t>
            </a:r>
            <a:endParaRPr sz="1500" baseline="30000" dirty="0">
              <a:solidFill>
                <a:schemeClr val="tx1">
                  <a:lumMod val="75000"/>
                  <a:lumOff val="25000"/>
                </a:schemeClr>
              </a:solidFill>
              <a:cs typeface="+mn-ea"/>
              <a:sym typeface="+mn-lt"/>
            </a:endParaRPr>
          </a:p>
          <a:p>
            <a:pPr>
              <a:lnSpc>
                <a:spcPct val="125000"/>
              </a:lnSpc>
              <a:spcBef>
                <a:spcPts val="65"/>
              </a:spcBef>
            </a:pPr>
            <a:r>
              <a:rPr lang="en-US" altLang="zh-CN" sz="1155" dirty="0">
                <a:solidFill>
                  <a:schemeClr val="tx1">
                    <a:lumMod val="75000"/>
                    <a:lumOff val="25000"/>
                  </a:schemeClr>
                </a:solidFill>
                <a:cs typeface="+mn-ea"/>
                <a:sym typeface="+mn-lt"/>
              </a:rPr>
              <a:t>Brevets </a:t>
            </a:r>
            <a:r>
              <a:rPr lang="en-US" altLang="zh-CN" sz="1155" dirty="0" err="1">
                <a:solidFill>
                  <a:schemeClr val="tx1">
                    <a:lumMod val="75000"/>
                    <a:lumOff val="25000"/>
                  </a:schemeClr>
                </a:solidFill>
                <a:cs typeface="+mn-ea"/>
                <a:sym typeface="+mn-lt"/>
              </a:rPr>
              <a:t>déposés</a:t>
            </a:r>
            <a:endParaRPr sz="1155" dirty="0">
              <a:solidFill>
                <a:schemeClr val="tx1">
                  <a:lumMod val="75000"/>
                  <a:lumOff val="25000"/>
                </a:schemeClr>
              </a:solidFill>
              <a:cs typeface="+mn-ea"/>
              <a:sym typeface="+mn-lt"/>
            </a:endParaRPr>
          </a:p>
        </p:txBody>
      </p:sp>
      <p:sp>
        <p:nvSpPr>
          <p:cNvPr id="19" name="object 19"/>
          <p:cNvSpPr txBox="1"/>
          <p:nvPr/>
        </p:nvSpPr>
        <p:spPr>
          <a:xfrm>
            <a:off x="10473897" y="4251936"/>
            <a:ext cx="1539153" cy="802527"/>
          </a:xfrm>
          <a:prstGeom prst="rect">
            <a:avLst/>
          </a:prstGeom>
        </p:spPr>
        <p:txBody>
          <a:bodyPr vert="horz" wrap="square" lIns="0" tIns="0" rIns="0" bIns="0" rtlCol="0">
            <a:spAutoFit/>
          </a:bodyPr>
          <a:lstStyle/>
          <a:p>
            <a:pPr lvl="0"/>
            <a:r>
              <a:rPr sz="1500" b="1" dirty="0">
                <a:solidFill>
                  <a:schemeClr val="tx1">
                    <a:lumMod val="75000"/>
                    <a:lumOff val="25000"/>
                  </a:schemeClr>
                </a:solidFill>
                <a:cs typeface="+mn-ea"/>
                <a:sym typeface="+mn-lt"/>
              </a:rPr>
              <a:t>180</a:t>
            </a:r>
            <a:r>
              <a:rPr lang="zh-CN" altLang="en-US" sz="1500" b="1" baseline="30000" dirty="0">
                <a:solidFill>
                  <a:schemeClr val="tx1">
                    <a:lumMod val="75000"/>
                    <a:lumOff val="25000"/>
                  </a:schemeClr>
                </a:solidFill>
                <a:cs typeface="+mn-ea"/>
                <a:sym typeface="+mn-lt"/>
              </a:rPr>
              <a:t> </a:t>
            </a:r>
            <a:endParaRPr sz="1500" dirty="0">
              <a:solidFill>
                <a:schemeClr val="tx1">
                  <a:lumMod val="75000"/>
                  <a:lumOff val="25000"/>
                </a:schemeClr>
              </a:solidFill>
              <a:cs typeface="+mn-ea"/>
              <a:sym typeface="+mn-lt"/>
            </a:endParaRPr>
          </a:p>
          <a:p>
            <a:pPr>
              <a:spcBef>
                <a:spcPts val="65"/>
              </a:spcBef>
            </a:pPr>
            <a:r>
              <a:rPr lang="fr-FR" altLang="zh-CN" sz="1155" dirty="0">
                <a:solidFill>
                  <a:schemeClr val="tx1">
                    <a:lumMod val="75000"/>
                    <a:lumOff val="25000"/>
                  </a:schemeClr>
                </a:solidFill>
                <a:cs typeface="+mn-ea"/>
                <a:sym typeface="+mn-lt"/>
              </a:rPr>
              <a:t>Présent dans</a:t>
            </a:r>
          </a:p>
          <a:p>
            <a:pPr>
              <a:spcBef>
                <a:spcPts val="65"/>
              </a:spcBef>
            </a:pPr>
            <a:r>
              <a:rPr lang="fr-FR" altLang="zh-CN" sz="1155" dirty="0">
                <a:solidFill>
                  <a:schemeClr val="tx1">
                    <a:lumMod val="75000"/>
                    <a:lumOff val="25000"/>
                  </a:schemeClr>
                </a:solidFill>
                <a:cs typeface="+mn-ea"/>
                <a:sym typeface="+mn-lt"/>
              </a:rPr>
              <a:t>180</a:t>
            </a:r>
          </a:p>
          <a:p>
            <a:pPr>
              <a:spcBef>
                <a:spcPts val="65"/>
              </a:spcBef>
            </a:pPr>
            <a:r>
              <a:rPr lang="fr-FR" altLang="zh-CN" sz="1155" dirty="0">
                <a:solidFill>
                  <a:schemeClr val="tx1">
                    <a:lumMod val="75000"/>
                    <a:lumOff val="25000"/>
                  </a:schemeClr>
                </a:solidFill>
                <a:cs typeface="+mn-ea"/>
                <a:sym typeface="+mn-lt"/>
              </a:rPr>
              <a:t>pays et régions</a:t>
            </a:r>
            <a:endParaRPr sz="1155" dirty="0">
              <a:solidFill>
                <a:schemeClr val="tx1">
                  <a:lumMod val="75000"/>
                  <a:lumOff val="25000"/>
                </a:schemeClr>
              </a:solidFill>
              <a:cs typeface="+mn-ea"/>
              <a:sym typeface="+mn-lt"/>
            </a:endParaRPr>
          </a:p>
        </p:txBody>
      </p:sp>
      <p:pic>
        <p:nvPicPr>
          <p:cNvPr id="13" name="图片 12"/>
          <p:cNvPicPr>
            <a:picLocks noChangeAspect="1"/>
          </p:cNvPicPr>
          <p:nvPr/>
        </p:nvPicPr>
        <p:blipFill>
          <a:blip r:embed="rId4"/>
          <a:stretch>
            <a:fillRect/>
          </a:stretch>
        </p:blipFill>
        <p:spPr>
          <a:xfrm>
            <a:off x="7861283" y="4310041"/>
            <a:ext cx="279047" cy="317537"/>
          </a:xfrm>
          <a:prstGeom prst="rect">
            <a:avLst/>
          </a:prstGeom>
        </p:spPr>
      </p:pic>
      <p:pic>
        <p:nvPicPr>
          <p:cNvPr id="14" name="图片 13"/>
          <p:cNvPicPr>
            <a:picLocks noChangeAspect="1"/>
          </p:cNvPicPr>
          <p:nvPr/>
        </p:nvPicPr>
        <p:blipFill>
          <a:blip r:embed="rId5"/>
          <a:stretch>
            <a:fillRect/>
          </a:stretch>
        </p:blipFill>
        <p:spPr>
          <a:xfrm>
            <a:off x="9970806" y="4321943"/>
            <a:ext cx="293733" cy="293733"/>
          </a:xfrm>
          <a:prstGeom prst="rect">
            <a:avLst/>
          </a:prstGeom>
        </p:spPr>
      </p:pic>
      <p:pic>
        <p:nvPicPr>
          <p:cNvPr id="16" name="图片 15"/>
          <p:cNvPicPr>
            <a:picLocks noChangeAspect="1"/>
          </p:cNvPicPr>
          <p:nvPr/>
        </p:nvPicPr>
        <p:blipFill>
          <a:blip r:embed="rId6"/>
          <a:stretch>
            <a:fillRect/>
          </a:stretch>
        </p:blipFill>
        <p:spPr>
          <a:xfrm>
            <a:off x="5694748" y="5257020"/>
            <a:ext cx="270046" cy="279047"/>
          </a:xfrm>
          <a:prstGeom prst="rect">
            <a:avLst/>
          </a:prstGeom>
        </p:spPr>
      </p:pic>
      <p:sp>
        <p:nvSpPr>
          <p:cNvPr id="18" name="object 18"/>
          <p:cNvSpPr txBox="1"/>
          <p:nvPr/>
        </p:nvSpPr>
        <p:spPr>
          <a:xfrm>
            <a:off x="10512988" y="5171692"/>
            <a:ext cx="1500061" cy="665375"/>
          </a:xfrm>
          <a:prstGeom prst="rect">
            <a:avLst/>
          </a:prstGeom>
        </p:spPr>
        <p:txBody>
          <a:bodyPr vert="horz" wrap="square" lIns="0" tIns="0" rIns="0" bIns="0" rtlCol="0">
            <a:spAutoFit/>
          </a:bodyPr>
          <a:lstStyle/>
          <a:p>
            <a:r>
              <a:rPr sz="1500" b="1" dirty="0">
                <a:solidFill>
                  <a:schemeClr val="tx1">
                    <a:lumMod val="75000"/>
                    <a:lumOff val="25000"/>
                  </a:schemeClr>
                </a:solidFill>
                <a:cs typeface="+mn-ea"/>
                <a:sym typeface="+mn-lt"/>
              </a:rPr>
              <a:t>No.2</a:t>
            </a:r>
          </a:p>
          <a:p>
            <a:pPr>
              <a:lnSpc>
                <a:spcPct val="125000"/>
              </a:lnSpc>
              <a:spcBef>
                <a:spcPts val="65"/>
              </a:spcBef>
            </a:pPr>
            <a:r>
              <a:rPr lang="en-US" altLang="zh-CN" sz="1155" dirty="0">
                <a:solidFill>
                  <a:schemeClr val="tx1">
                    <a:lumMod val="75000"/>
                    <a:lumOff val="25000"/>
                  </a:schemeClr>
                </a:solidFill>
                <a:cs typeface="+mn-ea"/>
                <a:sym typeface="+mn-lt"/>
              </a:rPr>
              <a:t>Sur le </a:t>
            </a:r>
            <a:r>
              <a:rPr lang="en-US" altLang="zh-CN" sz="1155" dirty="0" err="1">
                <a:solidFill>
                  <a:schemeClr val="tx1">
                    <a:lumMod val="75000"/>
                    <a:lumOff val="25000"/>
                  </a:schemeClr>
                </a:solidFill>
                <a:cs typeface="+mn-ea"/>
                <a:sym typeface="+mn-lt"/>
              </a:rPr>
              <a:t>marché</a:t>
            </a:r>
            <a:r>
              <a:rPr lang="en-US" altLang="zh-CN" sz="1155" dirty="0">
                <a:solidFill>
                  <a:schemeClr val="tx1">
                    <a:lumMod val="75000"/>
                    <a:lumOff val="25000"/>
                  </a:schemeClr>
                </a:solidFill>
                <a:cs typeface="+mn-ea"/>
                <a:sym typeface="+mn-lt"/>
              </a:rPr>
              <a:t> </a:t>
            </a:r>
            <a:r>
              <a:rPr lang="en-US" altLang="zh-CN" sz="1155" dirty="0" err="1">
                <a:solidFill>
                  <a:schemeClr val="tx1">
                    <a:lumMod val="75000"/>
                    <a:lumOff val="25000"/>
                  </a:schemeClr>
                </a:solidFill>
                <a:cs typeface="+mn-ea"/>
                <a:sym typeface="+mn-lt"/>
              </a:rPr>
              <a:t>mondial</a:t>
            </a:r>
            <a:endParaRPr sz="1155" dirty="0">
              <a:solidFill>
                <a:schemeClr val="tx1">
                  <a:lumMod val="75000"/>
                  <a:lumOff val="25000"/>
                </a:schemeClr>
              </a:solidFill>
              <a:cs typeface="+mn-ea"/>
              <a:sym typeface="+mn-lt"/>
            </a:endParaRPr>
          </a:p>
        </p:txBody>
      </p:sp>
      <p:pic>
        <p:nvPicPr>
          <p:cNvPr id="17" name="图片 16"/>
          <p:cNvPicPr>
            <a:picLocks noChangeAspect="1"/>
          </p:cNvPicPr>
          <p:nvPr/>
        </p:nvPicPr>
        <p:blipFill>
          <a:blip r:embed="rId7"/>
          <a:stretch>
            <a:fillRect/>
          </a:stretch>
        </p:blipFill>
        <p:spPr>
          <a:xfrm>
            <a:off x="9978058" y="5261915"/>
            <a:ext cx="279229" cy="269256"/>
          </a:xfrm>
          <a:prstGeom prst="rect">
            <a:avLst/>
          </a:prstGeom>
        </p:spPr>
      </p:pic>
      <p:sp>
        <p:nvSpPr>
          <p:cNvPr id="36" name="object 36"/>
          <p:cNvSpPr txBox="1"/>
          <p:nvPr/>
        </p:nvSpPr>
        <p:spPr>
          <a:xfrm>
            <a:off x="8358391" y="5171692"/>
            <a:ext cx="986630" cy="678199"/>
          </a:xfrm>
          <a:prstGeom prst="rect">
            <a:avLst/>
          </a:prstGeom>
        </p:spPr>
        <p:txBody>
          <a:bodyPr vert="horz" wrap="square" lIns="0" tIns="0" rIns="0" bIns="0" rtlCol="0">
            <a:spAutoFit/>
          </a:bodyPr>
          <a:lstStyle/>
          <a:p>
            <a:pPr lvl="0"/>
            <a:r>
              <a:rPr sz="1500" b="1" dirty="0">
                <a:solidFill>
                  <a:schemeClr val="tx1">
                    <a:lumMod val="75000"/>
                    <a:lumOff val="25000"/>
                  </a:schemeClr>
                </a:solidFill>
                <a:cs typeface="+mn-ea"/>
                <a:sym typeface="+mn-lt"/>
              </a:rPr>
              <a:t>200</a:t>
            </a:r>
            <a:r>
              <a:rPr lang="en-US" altLang="zh-CN" sz="1500" b="1" baseline="30000" dirty="0">
                <a:solidFill>
                  <a:schemeClr val="tx1">
                    <a:lumMod val="75000"/>
                    <a:lumOff val="25000"/>
                  </a:schemeClr>
                </a:solidFill>
                <a:cs typeface="+mn-ea"/>
                <a:sym typeface="+mn-lt"/>
              </a:rPr>
              <a:t>+</a:t>
            </a:r>
            <a:r>
              <a:rPr lang="zh-CN" altLang="en-US" sz="1500" b="1" baseline="30000" dirty="0">
                <a:solidFill>
                  <a:schemeClr val="tx1">
                    <a:lumMod val="75000"/>
                    <a:lumOff val="25000"/>
                  </a:schemeClr>
                </a:solidFill>
                <a:cs typeface="+mn-ea"/>
                <a:sym typeface="+mn-lt"/>
              </a:rPr>
              <a:t> </a:t>
            </a:r>
            <a:endParaRPr lang="en-US" altLang="zh-CN" sz="1090" b="1" dirty="0">
              <a:solidFill>
                <a:schemeClr val="tx1">
                  <a:lumMod val="75000"/>
                  <a:lumOff val="25000"/>
                </a:schemeClr>
              </a:solidFill>
              <a:cs typeface="+mn-ea"/>
              <a:sym typeface="+mn-lt"/>
            </a:endParaRPr>
          </a:p>
          <a:p>
            <a:pPr>
              <a:lnSpc>
                <a:spcPct val="125000"/>
              </a:lnSpc>
              <a:spcBef>
                <a:spcPts val="65"/>
              </a:spcBef>
            </a:pPr>
            <a:r>
              <a:rPr lang="en-US" altLang="zh-CN" sz="1155" dirty="0" err="1">
                <a:solidFill>
                  <a:schemeClr val="tx1">
                    <a:lumMod val="75000"/>
                    <a:lumOff val="25000"/>
                  </a:schemeClr>
                </a:solidFill>
                <a:cs typeface="+mn-ea"/>
                <a:sym typeface="+mn-lt"/>
              </a:rPr>
              <a:t>Bureaux</a:t>
            </a:r>
            <a:r>
              <a:rPr lang="en-US" altLang="zh-CN" sz="1155" dirty="0">
                <a:solidFill>
                  <a:schemeClr val="tx1">
                    <a:lumMod val="75000"/>
                    <a:lumOff val="25000"/>
                  </a:schemeClr>
                </a:solidFill>
                <a:cs typeface="+mn-ea"/>
                <a:sym typeface="+mn-lt"/>
              </a:rPr>
              <a:t> </a:t>
            </a:r>
            <a:r>
              <a:rPr lang="en-US" altLang="zh-CN" sz="1155" dirty="0" err="1">
                <a:solidFill>
                  <a:schemeClr val="tx1">
                    <a:lumMod val="75000"/>
                    <a:lumOff val="25000"/>
                  </a:schemeClr>
                </a:solidFill>
                <a:cs typeface="+mn-ea"/>
                <a:sym typeface="+mn-lt"/>
              </a:rPr>
              <a:t>en</a:t>
            </a:r>
            <a:endParaRPr lang="en-US" altLang="zh-CN" sz="1155" dirty="0">
              <a:solidFill>
                <a:schemeClr val="tx1">
                  <a:lumMod val="75000"/>
                  <a:lumOff val="25000"/>
                </a:schemeClr>
              </a:solidFill>
              <a:cs typeface="+mn-ea"/>
              <a:sym typeface="+mn-lt"/>
            </a:endParaRPr>
          </a:p>
          <a:p>
            <a:pPr>
              <a:lnSpc>
                <a:spcPct val="125000"/>
              </a:lnSpc>
              <a:spcBef>
                <a:spcPts val="65"/>
              </a:spcBef>
            </a:pPr>
            <a:r>
              <a:rPr lang="en-US" altLang="zh-CN" sz="1155" dirty="0">
                <a:solidFill>
                  <a:schemeClr val="tx1">
                    <a:lumMod val="75000"/>
                    <a:lumOff val="25000"/>
                  </a:schemeClr>
                </a:solidFill>
                <a:cs typeface="+mn-ea"/>
                <a:sym typeface="+mn-lt"/>
              </a:rPr>
              <a:t>Chine</a:t>
            </a:r>
          </a:p>
        </p:txBody>
      </p:sp>
      <p:pic>
        <p:nvPicPr>
          <p:cNvPr id="38" name="图片 37"/>
          <p:cNvPicPr>
            <a:picLocks noChangeAspect="1"/>
          </p:cNvPicPr>
          <p:nvPr/>
        </p:nvPicPr>
        <p:blipFill>
          <a:blip r:embed="rId8"/>
          <a:stretch>
            <a:fillRect/>
          </a:stretch>
        </p:blipFill>
        <p:spPr>
          <a:xfrm>
            <a:off x="7863202" y="5233952"/>
            <a:ext cx="274151" cy="293733"/>
          </a:xfrm>
          <a:prstGeom prst="rect">
            <a:avLst/>
          </a:prstGeom>
        </p:spPr>
      </p:pic>
      <p:pic>
        <p:nvPicPr>
          <p:cNvPr id="11" name="图片 10"/>
          <p:cNvPicPr>
            <a:picLocks noChangeAspect="1"/>
          </p:cNvPicPr>
          <p:nvPr/>
        </p:nvPicPr>
        <p:blipFill rotWithShape="1">
          <a:blip r:embed="rId9" cstate="print">
            <a:extLst>
              <a:ext uri="{BEBA8EAE-BF5A-486C-A8C5-ECC9F3942E4B}">
                <a14:imgProps xmlns:a14="http://schemas.microsoft.com/office/drawing/2010/main">
                  <a14:imgLayer r:embed="rId10">
                    <a14:imgEffect>
                      <a14:saturation sat="200000"/>
                    </a14:imgEffect>
                  </a14:imgLayer>
                </a14:imgProps>
              </a:ext>
              <a:ext uri="{28A0092B-C50C-407E-A947-70E740481C1C}">
                <a14:useLocalDpi xmlns:a14="http://schemas.microsoft.com/office/drawing/2010/main" val="0"/>
              </a:ext>
            </a:extLst>
          </a:blip>
          <a:srcRect t="41734" b="2"/>
          <a:stretch>
            <a:fillRect/>
          </a:stretch>
        </p:blipFill>
        <p:spPr>
          <a:xfrm>
            <a:off x="5608615" y="1558626"/>
            <a:ext cx="6271634" cy="2057463"/>
          </a:xfrm>
          <a:prstGeom prst="rect">
            <a:avLst/>
          </a:prstGeom>
        </p:spPr>
      </p:pic>
      <p:sp>
        <p:nvSpPr>
          <p:cNvPr id="2" name="矩形 1"/>
          <p:cNvSpPr/>
          <p:nvPr/>
        </p:nvSpPr>
        <p:spPr>
          <a:xfrm>
            <a:off x="8008595" y="6137797"/>
            <a:ext cx="4173476" cy="427168"/>
          </a:xfrm>
          <a:prstGeom prst="rect">
            <a:avLst/>
          </a:prstGeom>
        </p:spPr>
        <p:txBody>
          <a:bodyPr wrap="square">
            <a:spAutoFit/>
          </a:bodyPr>
          <a:lstStyle/>
          <a:p>
            <a:r>
              <a:rPr lang="en-US" altLang="zh-CN" sz="1090" dirty="0">
                <a:solidFill>
                  <a:schemeClr val="bg1">
                    <a:lumMod val="65000"/>
                  </a:schemeClr>
                </a:solidFill>
                <a:cs typeface="+mn-ea"/>
                <a:sym typeface="+mn-lt"/>
              </a:rPr>
              <a:t>Data Source: 2018 IHS World Wide CCTV &amp; Video Surveillance Market Share Ranking</a:t>
            </a:r>
            <a:endParaRPr lang="zh-CN" altLang="zh-CN" sz="1090" dirty="0">
              <a:solidFill>
                <a:schemeClr val="bg1">
                  <a:lumMod val="65000"/>
                </a:schemeClr>
              </a:solidFill>
              <a:cs typeface="+mn-ea"/>
              <a:sym typeface="+mn-lt"/>
            </a:endParaRPr>
          </a:p>
        </p:txBody>
      </p:sp>
      <p:sp>
        <p:nvSpPr>
          <p:cNvPr id="26" name="object 2"/>
          <p:cNvSpPr txBox="1"/>
          <p:nvPr/>
        </p:nvSpPr>
        <p:spPr>
          <a:xfrm>
            <a:off x="501399" y="1516281"/>
            <a:ext cx="5210733" cy="4498989"/>
          </a:xfrm>
          <a:prstGeom prst="rect">
            <a:avLst/>
          </a:prstGeom>
        </p:spPr>
        <p:txBody>
          <a:bodyPr vert="horz" wrap="square" lIns="0" tIns="0" rIns="0" bIns="0" numCol="1" spcCol="360000" rtlCol="0">
            <a:spAutoFit/>
          </a:bodyPr>
          <a:lstStyle/>
          <a:p>
            <a:pPr marR="400685" algn="just">
              <a:lnSpc>
                <a:spcPts val="1770"/>
              </a:lnSpc>
              <a:spcBef>
                <a:spcPts val="1090"/>
              </a:spcBef>
              <a:buClr>
                <a:srgbClr val="C00000"/>
              </a:buClr>
              <a:buSzPct val="70000"/>
            </a:pPr>
            <a:r>
              <a:rPr lang="fr-FR" altLang="zh-CN" sz="1050" dirty="0"/>
              <a:t>Dahua </a:t>
            </a:r>
            <a:r>
              <a:rPr lang="fr-FR" altLang="zh-CN" sz="1050" dirty="0" err="1"/>
              <a:t>Technology</a:t>
            </a:r>
            <a:r>
              <a:rPr lang="fr-FR" altLang="zh-CN" sz="1050" dirty="0"/>
              <a:t> est l’un des principaux fournisseurs au monde de solutions Internet des objets (</a:t>
            </a:r>
            <a:r>
              <a:rPr lang="fr-FR" altLang="zh-CN" sz="1050" dirty="0" err="1"/>
              <a:t>IdO</a:t>
            </a:r>
            <a:r>
              <a:rPr lang="fr-FR" altLang="zh-CN" sz="1050" dirty="0"/>
              <a:t>) intelligentes dans le secteur de la vidéosurveillance. Avec plus de 16000 employés dans le monde entier, Dahua propose ses solutions, produits et prestations dans plus de 180 pays et régions. Investissant de près de 10 % de son chiffre d’affaires annuel en R&amp;D, la société poursuit sa recherche dans le domaine des technologies vidéo de </a:t>
            </a:r>
            <a:r>
              <a:rPr lang="fr-FR" altLang="zh-CN" sz="1050" dirty="0" err="1"/>
              <a:t>l’IdO</a:t>
            </a:r>
            <a:r>
              <a:rPr lang="fr-FR" altLang="zh-CN" sz="1050" dirty="0"/>
              <a:t> et possède d’ores et déjà des applications dans les domaines de la vidéoprotection numérique, des systèmes de vidéoconférence, des </a:t>
            </a:r>
            <a:r>
              <a:rPr lang="fr-FR" altLang="zh-CN" sz="1050" dirty="0" err="1"/>
              <a:t>drônes</a:t>
            </a:r>
            <a:r>
              <a:rPr lang="fr-FR" altLang="zh-CN" sz="1050" dirty="0"/>
              <a:t> industriels, de lecture de plaques minéralogiques, de la RFID, de la robotique, etc.</a:t>
            </a:r>
          </a:p>
          <a:p>
            <a:pPr marR="400685" algn="just">
              <a:lnSpc>
                <a:spcPts val="1770"/>
              </a:lnSpc>
              <a:spcBef>
                <a:spcPts val="1090"/>
              </a:spcBef>
              <a:buClr>
                <a:srgbClr val="C00000"/>
              </a:buClr>
              <a:buSzPct val="70000"/>
            </a:pPr>
            <a:r>
              <a:rPr lang="fr-FR" altLang="zh-CN" sz="1050" dirty="0"/>
              <a:t> D’après un rapport de l’IHS, Dahua </a:t>
            </a:r>
            <a:r>
              <a:rPr lang="fr-FR" altLang="zh-CN" sz="1050" dirty="0" err="1"/>
              <a:t>Technology</a:t>
            </a:r>
            <a:r>
              <a:rPr lang="fr-FR" altLang="zh-CN" sz="1050" dirty="0"/>
              <a:t> se positionne à la seconde place mondiale depuis 2014 sur le marché des équipements de vidéosurveillance. En 2018, Dahua </a:t>
            </a:r>
            <a:r>
              <a:rPr lang="fr-FR" altLang="zh-CN" sz="1050" dirty="0" err="1"/>
              <a:t>Technology</a:t>
            </a:r>
            <a:r>
              <a:rPr lang="fr-FR" altLang="zh-CN" sz="1050" dirty="0"/>
              <a:t> figurait également à la seconde place du classement “Security 50” du magazine international A&amp;S. Dahua </a:t>
            </a:r>
            <a:r>
              <a:rPr lang="fr-FR" altLang="zh-CN" sz="1050" dirty="0" err="1"/>
              <a:t>Technology</a:t>
            </a:r>
            <a:r>
              <a:rPr lang="fr-FR" altLang="zh-CN" sz="1050" dirty="0"/>
              <a:t> s’est engagé à “développer une société plus sûre et une façon de vivre plus intelligente” et propose ainsi des solutions, des systèmes et des prestations de sécurité de bout en bout permettant d’apporter une réelle valeur ajoutée au fonctionnement des villes, à la gestion des entreprises ainsi qu’aux consommateurs</a:t>
            </a:r>
            <a:endParaRPr lang="en-US" altLang="zh-CN" sz="1050" dirty="0">
              <a:solidFill>
                <a:schemeClr val="tx1">
                  <a:lumMod val="75000"/>
                  <a:lumOff val="25000"/>
                </a:schemeClr>
              </a:solidFill>
              <a:cs typeface="+mn-ea"/>
              <a:sym typeface="+mn-lt"/>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4"/>
          <p:cNvSpPr/>
          <p:nvPr/>
        </p:nvSpPr>
        <p:spPr>
          <a:xfrm>
            <a:off x="730707" y="0"/>
            <a:ext cx="2692556" cy="122923"/>
          </a:xfrm>
          <a:custGeom>
            <a:avLst/>
            <a:gdLst/>
            <a:ahLst/>
            <a:cxnLst/>
            <a:rect l="l" t="t" r="r" b="b"/>
            <a:pathLst>
              <a:path w="3078479" h="180340">
                <a:moveTo>
                  <a:pt x="0" y="179997"/>
                </a:moveTo>
                <a:lnTo>
                  <a:pt x="3077997" y="179997"/>
                </a:lnTo>
                <a:lnTo>
                  <a:pt x="3077997" y="0"/>
                </a:lnTo>
                <a:lnTo>
                  <a:pt x="0" y="0"/>
                </a:lnTo>
                <a:lnTo>
                  <a:pt x="0" y="179997"/>
                </a:lnTo>
                <a:close/>
              </a:path>
            </a:pathLst>
          </a:custGeom>
          <a:solidFill>
            <a:srgbClr val="C00000"/>
          </a:solidFill>
        </p:spPr>
        <p:txBody>
          <a:bodyPr wrap="square" lIns="0" tIns="0" rIns="0" bIns="0" rtlCol="0"/>
          <a:lstStyle/>
          <a:p>
            <a:endParaRPr sz="690">
              <a:cs typeface="+mn-ea"/>
              <a:sym typeface="+mn-lt"/>
            </a:endParaRPr>
          </a:p>
        </p:txBody>
      </p:sp>
      <p:sp>
        <p:nvSpPr>
          <p:cNvPr id="17" name="object 13"/>
          <p:cNvSpPr txBox="1"/>
          <p:nvPr/>
        </p:nvSpPr>
        <p:spPr>
          <a:xfrm>
            <a:off x="730708" y="681704"/>
            <a:ext cx="3981210" cy="377476"/>
          </a:xfrm>
          <a:prstGeom prst="rect">
            <a:avLst/>
          </a:prstGeom>
        </p:spPr>
        <p:txBody>
          <a:bodyPr vert="horz" wrap="square" lIns="0" tIns="0" rIns="0" bIns="0" rtlCol="0">
            <a:spAutoFit/>
          </a:bodyPr>
          <a:lstStyle>
            <a:lvl1pPr>
              <a:defRPr sz="1805" b="1" i="0">
                <a:solidFill>
                  <a:srgbClr val="C1191E"/>
                </a:solidFill>
                <a:latin typeface="思源黑体 CN Bold"/>
                <a:ea typeface="+mj-ea"/>
                <a:cs typeface="思源黑体 CN Bold"/>
              </a:defRPr>
            </a:lvl1pPr>
          </a:lstStyle>
          <a:p>
            <a:pPr defTabSz="1243330"/>
            <a:r>
              <a:rPr lang="en-US" altLang="zh-CN" sz="2455" kern="0" dirty="0">
                <a:latin typeface="+mn-lt"/>
                <a:ea typeface="+mn-ea"/>
                <a:cs typeface="+mn-ea"/>
                <a:sym typeface="+mn-lt"/>
              </a:rPr>
              <a:t>À PROPOS DE DAHUA</a:t>
            </a:r>
          </a:p>
        </p:txBody>
      </p:sp>
      <p:sp>
        <p:nvSpPr>
          <p:cNvPr id="58" name="object 2"/>
          <p:cNvSpPr txBox="1"/>
          <p:nvPr/>
        </p:nvSpPr>
        <p:spPr>
          <a:xfrm>
            <a:off x="747723" y="1727633"/>
            <a:ext cx="3840724" cy="3075970"/>
          </a:xfrm>
          <a:prstGeom prst="rect">
            <a:avLst/>
          </a:prstGeom>
        </p:spPr>
        <p:txBody>
          <a:bodyPr vert="horz" wrap="square" lIns="0" tIns="0" rIns="0" bIns="0" numCol="1" spcCol="360000" rtlCol="0">
            <a:spAutoFit/>
          </a:bodyPr>
          <a:lstStyle/>
          <a:p>
            <a:pPr marL="233045" marR="400685" indent="-233045" algn="just">
              <a:lnSpc>
                <a:spcPts val="2040"/>
              </a:lnSpc>
              <a:spcBef>
                <a:spcPts val="1090"/>
              </a:spcBef>
              <a:buClr>
                <a:srgbClr val="C00000"/>
              </a:buClr>
              <a:buSzPct val="70000"/>
              <a:buFont typeface="Wingdings" panose="05000000000000000000" pitchFamily="2" charset="2"/>
              <a:buChar char="l"/>
            </a:pPr>
            <a:r>
              <a:rPr lang="en-US" altLang="zh-CN" sz="1290" dirty="0">
                <a:solidFill>
                  <a:schemeClr val="tx1">
                    <a:lumMod val="75000"/>
                    <a:lumOff val="25000"/>
                  </a:schemeClr>
                </a:solidFill>
                <a:cs typeface="+mn-ea"/>
                <a:sym typeface="+mn-lt"/>
              </a:rPr>
              <a:t>2018: </a:t>
            </a:r>
            <a:r>
              <a:rPr lang="en-US" altLang="zh-CN" sz="1290" dirty="0" err="1">
                <a:solidFill>
                  <a:schemeClr val="tx1">
                    <a:lumMod val="75000"/>
                    <a:lumOff val="25000"/>
                  </a:schemeClr>
                </a:solidFill>
                <a:cs typeface="+mn-ea"/>
                <a:sym typeface="+mn-lt"/>
              </a:rPr>
              <a:t>Chiffre</a:t>
            </a:r>
            <a:r>
              <a:rPr lang="en-US" altLang="zh-CN" sz="1290" dirty="0">
                <a:solidFill>
                  <a:schemeClr val="tx1">
                    <a:lumMod val="75000"/>
                    <a:lumOff val="25000"/>
                  </a:schemeClr>
                </a:solidFill>
                <a:cs typeface="+mn-ea"/>
                <a:sym typeface="+mn-lt"/>
              </a:rPr>
              <a:t> </a:t>
            </a:r>
            <a:r>
              <a:rPr lang="en-US" altLang="zh-CN" sz="1290" dirty="0" err="1">
                <a:solidFill>
                  <a:schemeClr val="tx1">
                    <a:lumMod val="75000"/>
                    <a:lumOff val="25000"/>
                  </a:schemeClr>
                </a:solidFill>
                <a:cs typeface="+mn-ea"/>
                <a:sym typeface="+mn-lt"/>
              </a:rPr>
              <a:t>d’affaires</a:t>
            </a:r>
            <a:r>
              <a:rPr lang="en-US" altLang="zh-CN" sz="1290" dirty="0">
                <a:solidFill>
                  <a:schemeClr val="tx1">
                    <a:lumMod val="75000"/>
                    <a:lumOff val="25000"/>
                  </a:schemeClr>
                </a:solidFill>
                <a:cs typeface="+mn-ea"/>
                <a:sym typeface="+mn-lt"/>
              </a:rPr>
              <a:t> de </a:t>
            </a:r>
            <a:r>
              <a:rPr lang="en-US" altLang="zh-CN" sz="1430" b="1" dirty="0">
                <a:solidFill>
                  <a:srgbClr val="C1181D"/>
                </a:solidFill>
                <a:cs typeface="+mn-ea"/>
                <a:sym typeface="+mn-lt"/>
              </a:rPr>
              <a:t>CNY 23.66 billion (USD 3.45 billion)</a:t>
            </a:r>
            <a:r>
              <a:rPr lang="en-US" altLang="zh-CN" sz="1225" dirty="0">
                <a:solidFill>
                  <a:schemeClr val="tx1">
                    <a:lumMod val="75000"/>
                    <a:lumOff val="25000"/>
                  </a:schemeClr>
                </a:solidFill>
                <a:cs typeface="+mn-ea"/>
                <a:sym typeface="+mn-lt"/>
              </a:rPr>
              <a:t> </a:t>
            </a:r>
            <a:r>
              <a:rPr lang="en-US" altLang="zh-CN" sz="1290" dirty="0">
                <a:solidFill>
                  <a:schemeClr val="tx1">
                    <a:lumMod val="75000"/>
                    <a:lumOff val="25000"/>
                  </a:schemeClr>
                </a:solidFill>
                <a:cs typeface="+mn-ea"/>
                <a:sym typeface="+mn-lt"/>
              </a:rPr>
              <a:t/>
            </a:r>
            <a:br>
              <a:rPr lang="en-US" altLang="zh-CN" sz="1290" dirty="0">
                <a:solidFill>
                  <a:schemeClr val="tx1">
                    <a:lumMod val="75000"/>
                    <a:lumOff val="25000"/>
                  </a:schemeClr>
                </a:solidFill>
                <a:cs typeface="+mn-ea"/>
                <a:sym typeface="+mn-lt"/>
              </a:rPr>
            </a:br>
            <a:r>
              <a:rPr lang="en-US" altLang="zh-CN" sz="1290" dirty="0">
                <a:solidFill>
                  <a:schemeClr val="tx1">
                    <a:lumMod val="75000"/>
                    <a:lumOff val="25000"/>
                  </a:schemeClr>
                </a:solidFill>
                <a:cs typeface="+mn-ea"/>
                <a:sym typeface="+mn-lt"/>
              </a:rPr>
              <a:t> </a:t>
            </a:r>
            <a:r>
              <a:rPr lang="en-US" altLang="zh-CN" sz="1290" dirty="0" err="1">
                <a:solidFill>
                  <a:schemeClr val="tx1">
                    <a:lumMod val="75000"/>
                    <a:lumOff val="25000"/>
                  </a:schemeClr>
                </a:solidFill>
                <a:cs typeface="+mn-ea"/>
                <a:sym typeface="+mn-lt"/>
              </a:rPr>
              <a:t>Croissance</a:t>
            </a:r>
            <a:r>
              <a:rPr lang="en-US" altLang="zh-CN" sz="1290" dirty="0">
                <a:solidFill>
                  <a:schemeClr val="tx1">
                    <a:lumMod val="75000"/>
                    <a:lumOff val="25000"/>
                  </a:schemeClr>
                </a:solidFill>
                <a:cs typeface="+mn-ea"/>
                <a:sym typeface="+mn-lt"/>
              </a:rPr>
              <a:t> </a:t>
            </a:r>
            <a:r>
              <a:rPr lang="en-US" altLang="zh-CN" sz="1290" dirty="0" err="1">
                <a:solidFill>
                  <a:schemeClr val="tx1">
                    <a:lumMod val="75000"/>
                    <a:lumOff val="25000"/>
                  </a:schemeClr>
                </a:solidFill>
                <a:cs typeface="+mn-ea"/>
                <a:sym typeface="+mn-lt"/>
              </a:rPr>
              <a:t>annuelle</a:t>
            </a:r>
            <a:r>
              <a:rPr lang="en-US" altLang="zh-CN" sz="1290" dirty="0">
                <a:solidFill>
                  <a:schemeClr val="tx1">
                    <a:lumMod val="75000"/>
                    <a:lumOff val="25000"/>
                  </a:schemeClr>
                </a:solidFill>
                <a:cs typeface="+mn-ea"/>
                <a:sym typeface="+mn-lt"/>
              </a:rPr>
              <a:t> : </a:t>
            </a:r>
            <a:r>
              <a:rPr lang="en-US" altLang="zh-CN" sz="1430" b="1" dirty="0">
                <a:solidFill>
                  <a:srgbClr val="C1181D"/>
                </a:solidFill>
                <a:cs typeface="+mn-ea"/>
                <a:sym typeface="+mn-lt"/>
              </a:rPr>
              <a:t>25.58% </a:t>
            </a:r>
          </a:p>
          <a:p>
            <a:pPr marL="233045" marR="400685" indent="-233045" algn="just">
              <a:lnSpc>
                <a:spcPts val="2040"/>
              </a:lnSpc>
              <a:spcBef>
                <a:spcPts val="1090"/>
              </a:spcBef>
              <a:buClr>
                <a:srgbClr val="C00000"/>
              </a:buClr>
              <a:buSzPct val="70000"/>
              <a:buFont typeface="Wingdings" panose="05000000000000000000" pitchFamily="2" charset="2"/>
              <a:buChar char="l"/>
            </a:pPr>
            <a:r>
              <a:rPr lang="fr-FR" altLang="zh-CN" sz="1290" dirty="0">
                <a:solidFill>
                  <a:schemeClr val="tx1">
                    <a:lumMod val="75000"/>
                    <a:lumOff val="25000"/>
                  </a:schemeClr>
                </a:solidFill>
                <a:cs typeface="+mn-ea"/>
                <a:sym typeface="+mn-lt"/>
              </a:rPr>
              <a:t>Avec l’objectif de renforcer les compétences de base. Investissement élevé en R&amp;D avec </a:t>
            </a:r>
            <a:r>
              <a:rPr lang="en-US" altLang="zh-CN" sz="1430" b="1" dirty="0">
                <a:solidFill>
                  <a:srgbClr val="C1181D"/>
                </a:solidFill>
                <a:cs typeface="+mn-ea"/>
                <a:sym typeface="+mn-lt"/>
              </a:rPr>
              <a:t>CNY 2.28 billion (USD 0.33 billion) </a:t>
            </a:r>
            <a:r>
              <a:rPr lang="en-US" altLang="zh-CN" sz="1290" b="1" dirty="0" err="1">
                <a:solidFill>
                  <a:schemeClr val="tx1">
                    <a:lumMod val="75000"/>
                    <a:lumOff val="25000"/>
                  </a:schemeClr>
                </a:solidFill>
                <a:cs typeface="+mn-ea"/>
                <a:sym typeface="+mn-lt"/>
              </a:rPr>
              <a:t>en</a:t>
            </a:r>
            <a:r>
              <a:rPr lang="en-US" altLang="zh-CN" sz="1290" b="1" dirty="0">
                <a:solidFill>
                  <a:schemeClr val="tx1">
                    <a:lumMod val="75000"/>
                    <a:lumOff val="25000"/>
                  </a:schemeClr>
                </a:solidFill>
                <a:cs typeface="+mn-ea"/>
                <a:sym typeface="+mn-lt"/>
              </a:rPr>
              <a:t> </a:t>
            </a:r>
            <a:r>
              <a:rPr lang="en-US" altLang="zh-CN" sz="1290" dirty="0">
                <a:solidFill>
                  <a:schemeClr val="tx1">
                    <a:lumMod val="75000"/>
                    <a:lumOff val="25000"/>
                  </a:schemeClr>
                </a:solidFill>
                <a:cs typeface="+mn-ea"/>
                <a:sym typeface="+mn-lt"/>
              </a:rPr>
              <a:t>2018.</a:t>
            </a:r>
          </a:p>
          <a:p>
            <a:pPr marL="233045" marR="400685" indent="-233045" algn="just">
              <a:lnSpc>
                <a:spcPts val="2040"/>
              </a:lnSpc>
              <a:spcBef>
                <a:spcPts val="1090"/>
              </a:spcBef>
              <a:buClr>
                <a:srgbClr val="C00000"/>
              </a:buClr>
              <a:buSzPct val="70000"/>
              <a:buFont typeface="Wingdings" panose="05000000000000000000" pitchFamily="2" charset="2"/>
              <a:buChar char="l"/>
            </a:pPr>
            <a:r>
              <a:rPr lang="fr-FR" altLang="zh-CN" sz="1290" dirty="0">
                <a:solidFill>
                  <a:schemeClr val="tx1">
                    <a:lumMod val="75000"/>
                    <a:lumOff val="25000"/>
                  </a:schemeClr>
                </a:solidFill>
                <a:cs typeface="+mn-ea"/>
                <a:sym typeface="+mn-lt"/>
              </a:rPr>
              <a:t>Progression des bénéfices </a:t>
            </a:r>
            <a:r>
              <a:rPr lang="fr-FR" altLang="zh-CN" sz="1430" b="1" dirty="0">
                <a:solidFill>
                  <a:srgbClr val="C1181D"/>
                </a:solidFill>
                <a:cs typeface="+mn-ea"/>
                <a:sym typeface="+mn-lt"/>
              </a:rPr>
              <a:t>41,57 % </a:t>
            </a:r>
            <a:r>
              <a:rPr lang="fr-FR" altLang="zh-CN" sz="1290" dirty="0">
                <a:solidFill>
                  <a:schemeClr val="tx1">
                    <a:lumMod val="75000"/>
                    <a:lumOff val="25000"/>
                  </a:schemeClr>
                </a:solidFill>
                <a:cs typeface="+mn-ea"/>
                <a:sym typeface="+mn-lt"/>
              </a:rPr>
              <a:t>TCAC et progression du chiffre d’affaires </a:t>
            </a:r>
            <a:r>
              <a:rPr lang="fr-FR" altLang="zh-CN" sz="1430" b="1" dirty="0">
                <a:solidFill>
                  <a:srgbClr val="C1181D"/>
                </a:solidFill>
                <a:cs typeface="+mn-ea"/>
                <a:sym typeface="+mn-lt"/>
              </a:rPr>
              <a:t>45,82 %</a:t>
            </a:r>
            <a:r>
              <a:rPr lang="fr-FR" altLang="zh-CN" sz="1290" dirty="0">
                <a:solidFill>
                  <a:schemeClr val="tx1">
                    <a:lumMod val="75000"/>
                    <a:lumOff val="25000"/>
                  </a:schemeClr>
                </a:solidFill>
                <a:cs typeface="+mn-ea"/>
                <a:sym typeface="+mn-lt"/>
              </a:rPr>
              <a:t> TCAC depuis son IPO en 2008.</a:t>
            </a:r>
            <a:endParaRPr lang="zh-CN" altLang="zh-CN" sz="1290" dirty="0">
              <a:solidFill>
                <a:schemeClr val="tx1">
                  <a:lumMod val="75000"/>
                  <a:lumOff val="25000"/>
                </a:schemeClr>
              </a:solidFill>
              <a:cs typeface="+mn-ea"/>
              <a:sym typeface="+mn-lt"/>
            </a:endParaRPr>
          </a:p>
        </p:txBody>
      </p:sp>
      <p:sp>
        <p:nvSpPr>
          <p:cNvPr id="2" name="矩形 1"/>
          <p:cNvSpPr/>
          <p:nvPr/>
        </p:nvSpPr>
        <p:spPr>
          <a:xfrm>
            <a:off x="364150" y="5472056"/>
            <a:ext cx="4714325" cy="1039515"/>
          </a:xfrm>
          <a:prstGeom prst="rect">
            <a:avLst/>
          </a:prstGeom>
        </p:spPr>
        <p:txBody>
          <a:bodyPr wrap="square">
            <a:spAutoFit/>
          </a:bodyPr>
          <a:lstStyle/>
          <a:p>
            <a:pPr marL="362585" algn="just">
              <a:lnSpc>
                <a:spcPct val="115000"/>
              </a:lnSpc>
            </a:pPr>
            <a:r>
              <a:rPr lang="fr-FR" altLang="zh-CN" sz="1090" dirty="0">
                <a:solidFill>
                  <a:schemeClr val="bg1">
                    <a:lumMod val="65000"/>
                  </a:schemeClr>
                </a:solidFill>
                <a:cs typeface="+mn-ea"/>
                <a:sym typeface="+mn-lt"/>
              </a:rPr>
              <a:t>*Les montants en USD des chiffres d’affaires et des</a:t>
            </a:r>
          </a:p>
          <a:p>
            <a:pPr marL="362585" algn="just">
              <a:lnSpc>
                <a:spcPct val="115000"/>
              </a:lnSpc>
            </a:pPr>
            <a:r>
              <a:rPr lang="fr-FR" altLang="zh-CN" sz="1090" dirty="0">
                <a:solidFill>
                  <a:schemeClr val="bg1">
                    <a:lumMod val="65000"/>
                  </a:schemeClr>
                </a:solidFill>
                <a:cs typeface="+mn-ea"/>
                <a:sym typeface="+mn-lt"/>
              </a:rPr>
              <a:t>investissements en R&amp;D ont été calculés en fonction du taux de</a:t>
            </a:r>
          </a:p>
          <a:p>
            <a:pPr marL="362585" algn="just">
              <a:lnSpc>
                <a:spcPct val="115000"/>
              </a:lnSpc>
            </a:pPr>
            <a:r>
              <a:rPr lang="fr-FR" altLang="zh-CN" sz="1090" dirty="0">
                <a:solidFill>
                  <a:schemeClr val="bg1">
                    <a:lumMod val="65000"/>
                  </a:schemeClr>
                </a:solidFill>
                <a:cs typeface="+mn-ea"/>
                <a:sym typeface="+mn-lt"/>
              </a:rPr>
              <a:t>change au 31 juillet 2018 (6,8165) et sont indiqués à titre de</a:t>
            </a:r>
          </a:p>
          <a:p>
            <a:pPr marL="362585" algn="just">
              <a:lnSpc>
                <a:spcPct val="115000"/>
              </a:lnSpc>
            </a:pPr>
            <a:r>
              <a:rPr lang="fr-FR" altLang="zh-CN" sz="1090" dirty="0">
                <a:solidFill>
                  <a:schemeClr val="bg1">
                    <a:lumMod val="65000"/>
                  </a:schemeClr>
                </a:solidFill>
                <a:cs typeface="+mn-ea"/>
                <a:sym typeface="+mn-lt"/>
              </a:rPr>
              <a:t>référence uniquement</a:t>
            </a:r>
            <a:r>
              <a:rPr lang="en-AU" altLang="zh-CN" sz="1090" dirty="0">
                <a:solidFill>
                  <a:schemeClr val="bg1">
                    <a:lumMod val="65000"/>
                  </a:schemeClr>
                </a:solidFill>
                <a:cs typeface="+mn-ea"/>
                <a:sym typeface="+mn-lt"/>
              </a:rPr>
              <a:t>.</a:t>
            </a:r>
            <a:endParaRPr lang="zh-CN" altLang="zh-CN" sz="680" dirty="0">
              <a:solidFill>
                <a:schemeClr val="bg1">
                  <a:lumMod val="65000"/>
                </a:schemeClr>
              </a:solidFill>
              <a:cs typeface="+mn-ea"/>
              <a:sym typeface="+mn-lt"/>
            </a:endParaRPr>
          </a:p>
        </p:txBody>
      </p:sp>
      <p:pic>
        <p:nvPicPr>
          <p:cNvPr id="8" name="图片 7"/>
          <p:cNvPicPr>
            <a:picLocks noChangeAspect="1"/>
          </p:cNvPicPr>
          <p:nvPr/>
        </p:nvPicPr>
        <p:blipFill>
          <a:blip r:embed="rId2">
            <a:clrChange>
              <a:clrFrom>
                <a:srgbClr val="FFFFFF">
                  <a:alpha val="100000"/>
                </a:srgbClr>
              </a:clrFrom>
              <a:clrTo>
                <a:srgbClr val="FFFFFF">
                  <a:alpha val="100000"/>
                  <a:alpha val="0"/>
                </a:srgbClr>
              </a:clrTo>
            </a:clrChange>
            <a:extLst>
              <a:ext uri="{28A0092B-C50C-407E-A947-70E740481C1C}">
                <a14:useLocalDpi xmlns:a14="http://schemas.microsoft.com/office/drawing/2010/main" val="0"/>
              </a:ext>
            </a:extLst>
          </a:blip>
          <a:stretch>
            <a:fillRect/>
          </a:stretch>
        </p:blipFill>
        <p:spPr>
          <a:xfrm>
            <a:off x="2377799" y="707733"/>
            <a:ext cx="12138951" cy="6038832"/>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object 4"/>
          <p:cNvSpPr/>
          <p:nvPr/>
        </p:nvSpPr>
        <p:spPr>
          <a:xfrm>
            <a:off x="730707" y="0"/>
            <a:ext cx="2692556" cy="122923"/>
          </a:xfrm>
          <a:custGeom>
            <a:avLst/>
            <a:gdLst/>
            <a:ahLst/>
            <a:cxnLst/>
            <a:rect l="l" t="t" r="r" b="b"/>
            <a:pathLst>
              <a:path w="3078479" h="180340">
                <a:moveTo>
                  <a:pt x="0" y="179997"/>
                </a:moveTo>
                <a:lnTo>
                  <a:pt x="3077997" y="179997"/>
                </a:lnTo>
                <a:lnTo>
                  <a:pt x="3077997" y="0"/>
                </a:lnTo>
                <a:lnTo>
                  <a:pt x="0" y="0"/>
                </a:lnTo>
                <a:lnTo>
                  <a:pt x="0" y="179997"/>
                </a:lnTo>
                <a:close/>
              </a:path>
            </a:pathLst>
          </a:custGeom>
          <a:solidFill>
            <a:srgbClr val="C00000"/>
          </a:solidFill>
        </p:spPr>
        <p:txBody>
          <a:bodyPr wrap="square" lIns="0" tIns="0" rIns="0" bIns="0" rtlCol="0"/>
          <a:lstStyle/>
          <a:p>
            <a:endParaRPr sz="690">
              <a:cs typeface="+mn-ea"/>
              <a:sym typeface="+mn-lt"/>
            </a:endParaRPr>
          </a:p>
        </p:txBody>
      </p:sp>
      <p:grpSp>
        <p:nvGrpSpPr>
          <p:cNvPr id="67" name="组 59">
            <a:extLst>
              <a:ext uri="{FF2B5EF4-FFF2-40B4-BE49-F238E27FC236}">
                <a16:creationId xmlns:a16="http://schemas.microsoft.com/office/drawing/2014/main" id="{0BF9ADF6-9F9A-41A7-8D96-48EFE9C19388}"/>
              </a:ext>
            </a:extLst>
          </p:cNvPr>
          <p:cNvGrpSpPr/>
          <p:nvPr/>
        </p:nvGrpSpPr>
        <p:grpSpPr>
          <a:xfrm>
            <a:off x="715581" y="3636553"/>
            <a:ext cx="10835705" cy="102375"/>
            <a:chOff x="561799" y="3581592"/>
            <a:chExt cx="8126779" cy="76781"/>
          </a:xfrm>
        </p:grpSpPr>
        <p:sp>
          <p:nvSpPr>
            <p:cNvPr id="69" name="object 3">
              <a:extLst>
                <a:ext uri="{FF2B5EF4-FFF2-40B4-BE49-F238E27FC236}">
                  <a16:creationId xmlns:a16="http://schemas.microsoft.com/office/drawing/2014/main" id="{9B06814A-785B-4B98-A962-990F3973D79D}"/>
                </a:ext>
              </a:extLst>
            </p:cNvPr>
            <p:cNvSpPr/>
            <p:nvPr/>
          </p:nvSpPr>
          <p:spPr>
            <a:xfrm>
              <a:off x="561799" y="3581592"/>
              <a:ext cx="63333" cy="62236"/>
            </a:xfrm>
            <a:custGeom>
              <a:avLst/>
              <a:gdLst/>
              <a:ahLst/>
              <a:cxnLst/>
              <a:rect l="l" t="t" r="r" b="b"/>
              <a:pathLst>
                <a:path w="109855" h="107950">
                  <a:moveTo>
                    <a:pt x="53385" y="0"/>
                  </a:moveTo>
                  <a:lnTo>
                    <a:pt x="15588" y="16322"/>
                  </a:lnTo>
                  <a:lnTo>
                    <a:pt x="0" y="54642"/>
                  </a:lnTo>
                  <a:lnTo>
                    <a:pt x="2118" y="68792"/>
                  </a:lnTo>
                  <a:lnTo>
                    <a:pt x="27341" y="100541"/>
                  </a:lnTo>
                  <a:lnTo>
                    <a:pt x="54782" y="107780"/>
                  </a:lnTo>
                  <a:lnTo>
                    <a:pt x="57123" y="107732"/>
                  </a:lnTo>
                  <a:lnTo>
                    <a:pt x="94279" y="90970"/>
                  </a:lnTo>
                  <a:lnTo>
                    <a:pt x="109536" y="51975"/>
                  </a:lnTo>
                  <a:lnTo>
                    <a:pt x="107173" y="38094"/>
                  </a:lnTo>
                  <a:lnTo>
                    <a:pt x="81480" y="7048"/>
                  </a:lnTo>
                  <a:lnTo>
                    <a:pt x="53385" y="0"/>
                  </a:lnTo>
                  <a:close/>
                </a:path>
              </a:pathLst>
            </a:custGeom>
            <a:solidFill>
              <a:srgbClr val="E20011"/>
            </a:solid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0" name="object 8">
              <a:extLst>
                <a:ext uri="{FF2B5EF4-FFF2-40B4-BE49-F238E27FC236}">
                  <a16:creationId xmlns:a16="http://schemas.microsoft.com/office/drawing/2014/main" id="{F8C3CAE9-3225-43A5-AC62-AD82AE4E5818}"/>
                </a:ext>
              </a:extLst>
            </p:cNvPr>
            <p:cNvSpPr/>
            <p:nvPr/>
          </p:nvSpPr>
          <p:spPr>
            <a:xfrm>
              <a:off x="603305" y="3612654"/>
              <a:ext cx="8046284" cy="45719"/>
            </a:xfrm>
            <a:custGeom>
              <a:avLst/>
              <a:gdLst/>
              <a:ahLst/>
              <a:cxnLst/>
              <a:rect l="l" t="t" r="r" b="b"/>
              <a:pathLst>
                <a:path w="13513435">
                  <a:moveTo>
                    <a:pt x="0" y="0"/>
                  </a:moveTo>
                  <a:lnTo>
                    <a:pt x="13512838" y="0"/>
                  </a:lnTo>
                </a:path>
              </a:pathLst>
            </a:custGeom>
            <a:ln w="25400">
              <a:solidFill>
                <a:srgbClr val="E20011"/>
              </a:solidFill>
            </a:ln>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1" name="object 37">
              <a:extLst>
                <a:ext uri="{FF2B5EF4-FFF2-40B4-BE49-F238E27FC236}">
                  <a16:creationId xmlns:a16="http://schemas.microsoft.com/office/drawing/2014/main" id="{B3BC11FA-113E-4529-9CDD-B9BAD44DA737}"/>
                </a:ext>
              </a:extLst>
            </p:cNvPr>
            <p:cNvSpPr/>
            <p:nvPr/>
          </p:nvSpPr>
          <p:spPr>
            <a:xfrm>
              <a:off x="8610600" y="3583175"/>
              <a:ext cx="77978" cy="59308"/>
            </a:xfrm>
            <a:custGeom>
              <a:avLst/>
              <a:gdLst/>
              <a:ahLst/>
              <a:cxnLst/>
              <a:rect l="l" t="t" r="r" b="b"/>
              <a:pathLst>
                <a:path w="135255" h="102870">
                  <a:moveTo>
                    <a:pt x="0" y="0"/>
                  </a:moveTo>
                  <a:lnTo>
                    <a:pt x="32029" y="51130"/>
                  </a:lnTo>
                  <a:lnTo>
                    <a:pt x="0" y="102273"/>
                  </a:lnTo>
                  <a:lnTo>
                    <a:pt x="135001" y="51130"/>
                  </a:lnTo>
                  <a:lnTo>
                    <a:pt x="0" y="0"/>
                  </a:lnTo>
                  <a:close/>
                </a:path>
              </a:pathLst>
            </a:custGeom>
            <a:solidFill>
              <a:srgbClr val="E20011"/>
            </a:solid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grpSp>
      <p:sp>
        <p:nvSpPr>
          <p:cNvPr id="72" name="object 5">
            <a:extLst>
              <a:ext uri="{FF2B5EF4-FFF2-40B4-BE49-F238E27FC236}">
                <a16:creationId xmlns:a16="http://schemas.microsoft.com/office/drawing/2014/main" id="{834BAF15-6228-449B-A440-F81782D19B9E}"/>
              </a:ext>
            </a:extLst>
          </p:cNvPr>
          <p:cNvSpPr txBox="1"/>
          <p:nvPr/>
        </p:nvSpPr>
        <p:spPr>
          <a:xfrm>
            <a:off x="4822474" y="3439389"/>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0</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3" name="object 7">
            <a:extLst>
              <a:ext uri="{FF2B5EF4-FFF2-40B4-BE49-F238E27FC236}">
                <a16:creationId xmlns:a16="http://schemas.microsoft.com/office/drawing/2014/main" id="{72FE7C8C-76E8-4860-8DF7-D51EFC3F85DE}"/>
              </a:ext>
            </a:extLst>
          </p:cNvPr>
          <p:cNvSpPr txBox="1"/>
          <p:nvPr/>
        </p:nvSpPr>
        <p:spPr>
          <a:xfrm>
            <a:off x="5635274" y="3773473"/>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2</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4" name="object 9">
            <a:extLst>
              <a:ext uri="{FF2B5EF4-FFF2-40B4-BE49-F238E27FC236}">
                <a16:creationId xmlns:a16="http://schemas.microsoft.com/office/drawing/2014/main" id="{FF38A1DA-1865-47C3-ACE8-2125716E3263}"/>
              </a:ext>
            </a:extLst>
          </p:cNvPr>
          <p:cNvSpPr/>
          <p:nvPr/>
        </p:nvSpPr>
        <p:spPr>
          <a:xfrm>
            <a:off x="5645765" y="2902512"/>
            <a:ext cx="455143" cy="82348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5" name="object 10">
            <a:extLst>
              <a:ext uri="{FF2B5EF4-FFF2-40B4-BE49-F238E27FC236}">
                <a16:creationId xmlns:a16="http://schemas.microsoft.com/office/drawing/2014/main" id="{EE760C69-CF67-4EF8-AC5A-732833640150}"/>
              </a:ext>
            </a:extLst>
          </p:cNvPr>
          <p:cNvSpPr/>
          <p:nvPr/>
        </p:nvSpPr>
        <p:spPr>
          <a:xfrm>
            <a:off x="4788908" y="3629232"/>
            <a:ext cx="534717" cy="91982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6" name="object 12">
            <a:extLst>
              <a:ext uri="{FF2B5EF4-FFF2-40B4-BE49-F238E27FC236}">
                <a16:creationId xmlns:a16="http://schemas.microsoft.com/office/drawing/2014/main" id="{7E339B5A-7263-4928-8ABA-B01CEAB21D4B}"/>
              </a:ext>
            </a:extLst>
          </p:cNvPr>
          <p:cNvSpPr txBox="1"/>
          <p:nvPr/>
        </p:nvSpPr>
        <p:spPr>
          <a:xfrm>
            <a:off x="997755" y="3773473"/>
            <a:ext cx="533464"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01</a:t>
            </a:r>
          </a:p>
        </p:txBody>
      </p:sp>
      <p:sp>
        <p:nvSpPr>
          <p:cNvPr id="77" name="object 13">
            <a:extLst>
              <a:ext uri="{FF2B5EF4-FFF2-40B4-BE49-F238E27FC236}">
                <a16:creationId xmlns:a16="http://schemas.microsoft.com/office/drawing/2014/main" id="{E5659A21-44BA-47CF-8F46-F374A20F8F2C}"/>
              </a:ext>
            </a:extLst>
          </p:cNvPr>
          <p:cNvSpPr/>
          <p:nvPr/>
        </p:nvSpPr>
        <p:spPr>
          <a:xfrm>
            <a:off x="942836" y="2800125"/>
            <a:ext cx="540760" cy="92587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78" name="object 15">
            <a:extLst>
              <a:ext uri="{FF2B5EF4-FFF2-40B4-BE49-F238E27FC236}">
                <a16:creationId xmlns:a16="http://schemas.microsoft.com/office/drawing/2014/main" id="{092A1D0F-1AB7-4774-81C3-7BCC5243FD8F}"/>
              </a:ext>
            </a:extLst>
          </p:cNvPr>
          <p:cNvSpPr txBox="1"/>
          <p:nvPr/>
        </p:nvSpPr>
        <p:spPr>
          <a:xfrm>
            <a:off x="1691901" y="3439389"/>
            <a:ext cx="533464" cy="143565"/>
          </a:xfrm>
          <a:prstGeom prst="rect">
            <a:avLst/>
          </a:prstGeom>
        </p:spPr>
        <p:txBody>
          <a:bodyPr vert="horz" wrap="square" lIns="0" tIns="0" rIns="0" bIns="0" rtlCol="0">
            <a:spAutoFit/>
          </a:bodyPr>
          <a:lstStyle>
            <a:defPPr>
              <a:defRPr lang="en-US"/>
            </a:defPPr>
            <a:lvl1pPr marL="8485" algn="ctr">
              <a:defRPr sz="1290">
                <a:solidFill>
                  <a:schemeClr val="tx1">
                    <a:lumMod val="75000"/>
                    <a:lumOff val="25000"/>
                  </a:schemeClr>
                </a:solidFill>
                <a:cs typeface="+mn-ea"/>
              </a:defRPr>
            </a:lvl1pPr>
          </a:lstStyle>
          <a:p>
            <a:r>
              <a:rPr lang="fr-FR"/>
              <a:t>2002</a:t>
            </a:r>
            <a:endParaRPr lang="fr-FR" dirty="0"/>
          </a:p>
        </p:txBody>
      </p:sp>
      <p:sp>
        <p:nvSpPr>
          <p:cNvPr id="79" name="object 16">
            <a:extLst>
              <a:ext uri="{FF2B5EF4-FFF2-40B4-BE49-F238E27FC236}">
                <a16:creationId xmlns:a16="http://schemas.microsoft.com/office/drawing/2014/main" id="{216B76EC-F90C-4292-86E6-4862089C4A03}"/>
              </a:ext>
            </a:extLst>
          </p:cNvPr>
          <p:cNvSpPr/>
          <p:nvPr/>
        </p:nvSpPr>
        <p:spPr>
          <a:xfrm>
            <a:off x="1598704" y="3629231"/>
            <a:ext cx="634333" cy="1019455"/>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0" name="object 17">
            <a:extLst>
              <a:ext uri="{FF2B5EF4-FFF2-40B4-BE49-F238E27FC236}">
                <a16:creationId xmlns:a16="http://schemas.microsoft.com/office/drawing/2014/main" id="{58FD4DC3-E789-4891-BDD3-D2901A8280C0}"/>
              </a:ext>
            </a:extLst>
          </p:cNvPr>
          <p:cNvSpPr txBox="1"/>
          <p:nvPr/>
        </p:nvSpPr>
        <p:spPr>
          <a:xfrm>
            <a:off x="2386040" y="3773473"/>
            <a:ext cx="533464" cy="143565"/>
          </a:xfrm>
          <a:prstGeom prst="rect">
            <a:avLst/>
          </a:prstGeom>
        </p:spPr>
        <p:txBody>
          <a:bodyPr vert="horz" wrap="square" lIns="0" tIns="0" rIns="0" bIns="0" rtlCol="0">
            <a:spAutoFit/>
          </a:bodyPr>
          <a:lstStyle>
            <a:defPPr>
              <a:defRPr lang="en-US"/>
            </a:defPPr>
            <a:lvl1pPr marL="8485" algn="ctr">
              <a:defRPr sz="1290">
                <a:solidFill>
                  <a:schemeClr val="tx1">
                    <a:lumMod val="75000"/>
                    <a:lumOff val="25000"/>
                  </a:schemeClr>
                </a:solidFill>
                <a:cs typeface="+mn-ea"/>
              </a:defRPr>
            </a:lvl1pPr>
          </a:lstStyle>
          <a:p>
            <a:r>
              <a:rPr lang="fr-FR" dirty="0"/>
              <a:t>2003</a:t>
            </a:r>
          </a:p>
        </p:txBody>
      </p:sp>
      <p:sp>
        <p:nvSpPr>
          <p:cNvPr id="81" name="object 18">
            <a:extLst>
              <a:ext uri="{FF2B5EF4-FFF2-40B4-BE49-F238E27FC236}">
                <a16:creationId xmlns:a16="http://schemas.microsoft.com/office/drawing/2014/main" id="{DF31C817-1AEE-44B6-9F4D-7D0370F3B436}"/>
              </a:ext>
            </a:extLst>
          </p:cNvPr>
          <p:cNvSpPr/>
          <p:nvPr/>
        </p:nvSpPr>
        <p:spPr>
          <a:xfrm>
            <a:off x="2445130" y="3023391"/>
            <a:ext cx="329639" cy="702603"/>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2" name="object 20">
            <a:extLst>
              <a:ext uri="{FF2B5EF4-FFF2-40B4-BE49-F238E27FC236}">
                <a16:creationId xmlns:a16="http://schemas.microsoft.com/office/drawing/2014/main" id="{C55F48D2-A91C-4CF9-ACA4-87F777507112}"/>
              </a:ext>
            </a:extLst>
          </p:cNvPr>
          <p:cNvSpPr txBox="1"/>
          <p:nvPr/>
        </p:nvSpPr>
        <p:spPr>
          <a:xfrm>
            <a:off x="3138050" y="3439389"/>
            <a:ext cx="492655"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07</a:t>
            </a:r>
          </a:p>
        </p:txBody>
      </p:sp>
      <p:sp>
        <p:nvSpPr>
          <p:cNvPr id="83" name="object 21">
            <a:extLst>
              <a:ext uri="{FF2B5EF4-FFF2-40B4-BE49-F238E27FC236}">
                <a16:creationId xmlns:a16="http://schemas.microsoft.com/office/drawing/2014/main" id="{69AFBF0E-7EFA-4DB3-AB2A-6D6A5DFB79A7}"/>
              </a:ext>
            </a:extLst>
          </p:cNvPr>
          <p:cNvSpPr/>
          <p:nvPr/>
        </p:nvSpPr>
        <p:spPr>
          <a:xfrm>
            <a:off x="3138049" y="3629233"/>
            <a:ext cx="439915" cy="824195"/>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4" name="object 22">
            <a:extLst>
              <a:ext uri="{FF2B5EF4-FFF2-40B4-BE49-F238E27FC236}">
                <a16:creationId xmlns:a16="http://schemas.microsoft.com/office/drawing/2014/main" id="{816AE0EE-30F6-4253-85CB-1351E47531E2}"/>
              </a:ext>
            </a:extLst>
          </p:cNvPr>
          <p:cNvSpPr txBox="1"/>
          <p:nvPr/>
        </p:nvSpPr>
        <p:spPr>
          <a:xfrm>
            <a:off x="3965031" y="3773473"/>
            <a:ext cx="535037"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08</a:t>
            </a:r>
            <a:r>
              <a:rPr lang="fr-FR" sz="933" b="1" spc="11"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5" name="object 23">
            <a:extLst>
              <a:ext uri="{FF2B5EF4-FFF2-40B4-BE49-F238E27FC236}">
                <a16:creationId xmlns:a16="http://schemas.microsoft.com/office/drawing/2014/main" id="{C4D6F022-4FB1-47CA-80CE-70AAC82C23F7}"/>
              </a:ext>
            </a:extLst>
          </p:cNvPr>
          <p:cNvSpPr/>
          <p:nvPr/>
        </p:nvSpPr>
        <p:spPr>
          <a:xfrm>
            <a:off x="3836693" y="2632777"/>
            <a:ext cx="708412" cy="1093220"/>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6" name="object 28">
            <a:extLst>
              <a:ext uri="{FF2B5EF4-FFF2-40B4-BE49-F238E27FC236}">
                <a16:creationId xmlns:a16="http://schemas.microsoft.com/office/drawing/2014/main" id="{BA1329A1-C339-42DE-95F4-DBD01A799F48}"/>
              </a:ext>
            </a:extLst>
          </p:cNvPr>
          <p:cNvSpPr txBox="1"/>
          <p:nvPr/>
        </p:nvSpPr>
        <p:spPr>
          <a:xfrm>
            <a:off x="6448074" y="3439389"/>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3</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7" name="object 30">
            <a:extLst>
              <a:ext uri="{FF2B5EF4-FFF2-40B4-BE49-F238E27FC236}">
                <a16:creationId xmlns:a16="http://schemas.microsoft.com/office/drawing/2014/main" id="{88E57618-3E4C-49AB-9AB6-08B512895046}"/>
              </a:ext>
            </a:extLst>
          </p:cNvPr>
          <p:cNvSpPr txBox="1"/>
          <p:nvPr/>
        </p:nvSpPr>
        <p:spPr>
          <a:xfrm>
            <a:off x="7356793" y="3773473"/>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4</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8" name="object 33">
            <a:extLst>
              <a:ext uri="{FF2B5EF4-FFF2-40B4-BE49-F238E27FC236}">
                <a16:creationId xmlns:a16="http://schemas.microsoft.com/office/drawing/2014/main" id="{C12BC55D-2D0E-435D-8077-83FECE726678}"/>
              </a:ext>
            </a:extLst>
          </p:cNvPr>
          <p:cNvSpPr txBox="1"/>
          <p:nvPr/>
        </p:nvSpPr>
        <p:spPr>
          <a:xfrm>
            <a:off x="8245962" y="3439389"/>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6</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89" name="object 34">
            <a:extLst>
              <a:ext uri="{FF2B5EF4-FFF2-40B4-BE49-F238E27FC236}">
                <a16:creationId xmlns:a16="http://schemas.microsoft.com/office/drawing/2014/main" id="{3DCF2C07-8B7F-45A4-BD03-F0273A1D7408}"/>
              </a:ext>
            </a:extLst>
          </p:cNvPr>
          <p:cNvSpPr txBox="1"/>
          <p:nvPr/>
        </p:nvSpPr>
        <p:spPr>
          <a:xfrm>
            <a:off x="9889489" y="3439389"/>
            <a:ext cx="535431"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8</a:t>
            </a:r>
            <a:r>
              <a:rPr lang="fr-FR" sz="933" b="1" spc="13"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0" name="object 36">
            <a:extLst>
              <a:ext uri="{FF2B5EF4-FFF2-40B4-BE49-F238E27FC236}">
                <a16:creationId xmlns:a16="http://schemas.microsoft.com/office/drawing/2014/main" id="{16E311D6-19B0-4D71-9079-F6A0D81FC099}"/>
              </a:ext>
            </a:extLst>
          </p:cNvPr>
          <p:cNvSpPr txBox="1"/>
          <p:nvPr/>
        </p:nvSpPr>
        <p:spPr>
          <a:xfrm>
            <a:off x="10715294" y="3773473"/>
            <a:ext cx="492249"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Futur</a:t>
            </a:r>
          </a:p>
        </p:txBody>
      </p:sp>
      <p:sp>
        <p:nvSpPr>
          <p:cNvPr id="91" name="object 38">
            <a:extLst>
              <a:ext uri="{FF2B5EF4-FFF2-40B4-BE49-F238E27FC236}">
                <a16:creationId xmlns:a16="http://schemas.microsoft.com/office/drawing/2014/main" id="{8FC0D1ED-3764-4FB4-951C-5C5F1C010544}"/>
              </a:ext>
            </a:extLst>
          </p:cNvPr>
          <p:cNvSpPr/>
          <p:nvPr/>
        </p:nvSpPr>
        <p:spPr>
          <a:xfrm>
            <a:off x="7289003" y="2728179"/>
            <a:ext cx="608901" cy="993715"/>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2" name="object 39">
            <a:extLst>
              <a:ext uri="{FF2B5EF4-FFF2-40B4-BE49-F238E27FC236}">
                <a16:creationId xmlns:a16="http://schemas.microsoft.com/office/drawing/2014/main" id="{C5CC573D-478D-408D-A596-132A8D1A4589}"/>
              </a:ext>
            </a:extLst>
          </p:cNvPr>
          <p:cNvSpPr/>
          <p:nvPr/>
        </p:nvSpPr>
        <p:spPr>
          <a:xfrm>
            <a:off x="10641105" y="2687887"/>
            <a:ext cx="633631" cy="1034308"/>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3" name="object 40">
            <a:extLst>
              <a:ext uri="{FF2B5EF4-FFF2-40B4-BE49-F238E27FC236}">
                <a16:creationId xmlns:a16="http://schemas.microsoft.com/office/drawing/2014/main" id="{A419DCE7-1613-4134-B848-3BA0F4DC464A}"/>
              </a:ext>
            </a:extLst>
          </p:cNvPr>
          <p:cNvSpPr/>
          <p:nvPr/>
        </p:nvSpPr>
        <p:spPr>
          <a:xfrm>
            <a:off x="8174877" y="3625133"/>
            <a:ext cx="840627" cy="1220028"/>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4" name="object 42">
            <a:extLst>
              <a:ext uri="{FF2B5EF4-FFF2-40B4-BE49-F238E27FC236}">
                <a16:creationId xmlns:a16="http://schemas.microsoft.com/office/drawing/2014/main" id="{7364714F-06DC-498F-8414-14986DD4AF70}"/>
              </a:ext>
            </a:extLst>
          </p:cNvPr>
          <p:cNvSpPr/>
          <p:nvPr/>
        </p:nvSpPr>
        <p:spPr>
          <a:xfrm>
            <a:off x="6487623" y="3625132"/>
            <a:ext cx="384000" cy="763003"/>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5" name="object 43">
            <a:extLst>
              <a:ext uri="{FF2B5EF4-FFF2-40B4-BE49-F238E27FC236}">
                <a16:creationId xmlns:a16="http://schemas.microsoft.com/office/drawing/2014/main" id="{F248EE0A-4780-49C9-809A-994C39617B74}"/>
              </a:ext>
            </a:extLst>
          </p:cNvPr>
          <p:cNvSpPr txBox="1"/>
          <p:nvPr/>
        </p:nvSpPr>
        <p:spPr>
          <a:xfrm>
            <a:off x="9091640" y="3773473"/>
            <a:ext cx="533464" cy="198516"/>
          </a:xfrm>
          <a:prstGeom prst="rect">
            <a:avLst/>
          </a:prstGeom>
        </p:spPr>
        <p:txBody>
          <a:bodyPr vert="horz" wrap="square" lIns="0" tIns="0" rIns="0" bIns="0" rtlCol="0">
            <a:spAutoFit/>
          </a:bodyPr>
          <a:lstStyle/>
          <a:p>
            <a:pPr marL="8485" algn="ctr"/>
            <a:r>
              <a:rPr lang="fr-FR" sz="1290" dirty="0">
                <a:solidFill>
                  <a:schemeClr val="tx1">
                    <a:lumMod val="75000"/>
                    <a:lumOff val="25000"/>
                  </a:schemeClr>
                </a:solidFill>
                <a:cs typeface="+mn-ea"/>
              </a:rPr>
              <a:t>2017</a:t>
            </a:r>
            <a:r>
              <a:rPr lang="fr-FR" sz="933" b="1" dirty="0">
                <a:solidFill>
                  <a:schemeClr val="bg1"/>
                </a:solidFill>
                <a:latin typeface="Arial" panose="020B0604020202020204" pitchFamily="34" charset="0"/>
                <a:ea typeface="Microsoft YaHei" charset="-122"/>
                <a:cs typeface="Arial" panose="020B0604020202020204" pitchFamily="34" charset="0"/>
              </a:rPr>
              <a:t> </a:t>
            </a:r>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6" name="object 44">
            <a:extLst>
              <a:ext uri="{FF2B5EF4-FFF2-40B4-BE49-F238E27FC236}">
                <a16:creationId xmlns:a16="http://schemas.microsoft.com/office/drawing/2014/main" id="{749184FF-DB7D-48B2-B7AB-0B6D0DD3D996}"/>
              </a:ext>
            </a:extLst>
          </p:cNvPr>
          <p:cNvSpPr/>
          <p:nvPr/>
        </p:nvSpPr>
        <p:spPr>
          <a:xfrm>
            <a:off x="9130126" y="2965807"/>
            <a:ext cx="384797" cy="756087"/>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97" name="object 4">
            <a:extLst>
              <a:ext uri="{FF2B5EF4-FFF2-40B4-BE49-F238E27FC236}">
                <a16:creationId xmlns:a16="http://schemas.microsoft.com/office/drawing/2014/main" id="{51553288-E779-401C-A8E7-72333A0B67E6}"/>
              </a:ext>
            </a:extLst>
          </p:cNvPr>
          <p:cNvSpPr/>
          <p:nvPr/>
        </p:nvSpPr>
        <p:spPr>
          <a:xfrm>
            <a:off x="715580" y="1"/>
            <a:ext cx="2640000" cy="120524"/>
          </a:xfrm>
          <a:custGeom>
            <a:avLst/>
            <a:gdLst/>
            <a:ahLst/>
            <a:cxnLst/>
            <a:rect l="l" t="t" r="r" b="b"/>
            <a:pathLst>
              <a:path w="3078479" h="180340">
                <a:moveTo>
                  <a:pt x="0" y="179997"/>
                </a:moveTo>
                <a:lnTo>
                  <a:pt x="3077997" y="179997"/>
                </a:lnTo>
                <a:lnTo>
                  <a:pt x="3077997" y="0"/>
                </a:lnTo>
                <a:lnTo>
                  <a:pt x="0" y="0"/>
                </a:lnTo>
                <a:lnTo>
                  <a:pt x="0" y="179997"/>
                </a:lnTo>
                <a:close/>
              </a:path>
            </a:pathLst>
          </a:custGeom>
          <a:solidFill>
            <a:srgbClr val="C00000"/>
          </a:solidFill>
        </p:spPr>
        <p:txBody>
          <a:bodyPr wrap="square" lIns="0" tIns="0" rIns="0" bIns="0" rtlCol="0"/>
          <a:lstStyle/>
          <a:p>
            <a:endParaRPr lang="fr-FR" sz="677" dirty="0"/>
          </a:p>
        </p:txBody>
      </p:sp>
      <p:sp>
        <p:nvSpPr>
          <p:cNvPr id="98" name="object 13">
            <a:extLst>
              <a:ext uri="{FF2B5EF4-FFF2-40B4-BE49-F238E27FC236}">
                <a16:creationId xmlns:a16="http://schemas.microsoft.com/office/drawing/2014/main" id="{74014A43-60BD-4CD1-8132-DD4F72D63D78}"/>
              </a:ext>
            </a:extLst>
          </p:cNvPr>
          <p:cNvSpPr txBox="1">
            <a:spLocks/>
          </p:cNvSpPr>
          <p:nvPr/>
        </p:nvSpPr>
        <p:spPr>
          <a:xfrm>
            <a:off x="715582" y="668399"/>
            <a:ext cx="4003013" cy="370101"/>
          </a:xfrm>
          <a:prstGeom prst="rect">
            <a:avLst/>
          </a:prstGeom>
        </p:spPr>
        <p:txBody>
          <a:bodyPr vert="horz" wrap="square" lIns="0" tIns="0" rIns="0" bIns="0" rtlCol="0">
            <a:spAutoFit/>
          </a:bodyPr>
          <a:lstStyle>
            <a:lvl1pPr>
              <a:defRPr sz="1804" b="1" i="0">
                <a:solidFill>
                  <a:srgbClr val="C1191E"/>
                </a:solidFill>
                <a:latin typeface="思源黑体 CN Bold"/>
                <a:ea typeface="+mj-ea"/>
                <a:cs typeface="思源黑体 CN Bold"/>
              </a:defRPr>
            </a:lvl1pPr>
          </a:lstStyle>
          <a:p>
            <a:pPr defTabSz="1219170"/>
            <a:r>
              <a:rPr lang="fr-FR" altLang="zh-CN" sz="2405" kern="0" dirty="0">
                <a:solidFill>
                  <a:schemeClr val="bg1"/>
                </a:solidFill>
                <a:latin typeface="Arial" panose="020B0604020202020204" pitchFamily="34" charset="0"/>
                <a:ea typeface="Microsoft YaHei" charset="-122"/>
                <a:cs typeface="Arial" panose="020B0604020202020204" pitchFamily="34" charset="0"/>
              </a:rPr>
              <a:t>HISTORIQUE</a:t>
            </a:r>
          </a:p>
        </p:txBody>
      </p:sp>
      <p:grpSp>
        <p:nvGrpSpPr>
          <p:cNvPr id="99" name="组合 98">
            <a:extLst>
              <a:ext uri="{FF2B5EF4-FFF2-40B4-BE49-F238E27FC236}">
                <a16:creationId xmlns:a16="http://schemas.microsoft.com/office/drawing/2014/main" id="{539931AD-3E0B-4E16-B931-0CD7DF64CDA1}"/>
              </a:ext>
            </a:extLst>
          </p:cNvPr>
          <p:cNvGrpSpPr/>
          <p:nvPr/>
        </p:nvGrpSpPr>
        <p:grpSpPr>
          <a:xfrm>
            <a:off x="9903517" y="3625129"/>
            <a:ext cx="569900" cy="951600"/>
            <a:chOff x="7401003" y="2905284"/>
            <a:chExt cx="427425" cy="713700"/>
          </a:xfrm>
        </p:grpSpPr>
        <p:sp>
          <p:nvSpPr>
            <p:cNvPr id="100" name="object 41">
              <a:extLst>
                <a:ext uri="{FF2B5EF4-FFF2-40B4-BE49-F238E27FC236}">
                  <a16:creationId xmlns:a16="http://schemas.microsoft.com/office/drawing/2014/main" id="{94B49320-5005-4EA8-A101-F0D97D42380D}"/>
                </a:ext>
              </a:extLst>
            </p:cNvPr>
            <p:cNvSpPr/>
            <p:nvPr/>
          </p:nvSpPr>
          <p:spPr>
            <a:xfrm>
              <a:off x="7401003" y="2905284"/>
              <a:ext cx="427425" cy="713700"/>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fr-FR" sz="933" dirty="0">
                <a:solidFill>
                  <a:schemeClr val="bg1"/>
                </a:solidFill>
                <a:latin typeface="Arial" panose="020B0604020202020204" pitchFamily="34" charset="0"/>
                <a:ea typeface="Microsoft YaHei" charset="-122"/>
                <a:cs typeface="Arial" panose="020B0604020202020204" pitchFamily="34" charset="0"/>
              </a:endParaRPr>
            </a:p>
          </p:txBody>
        </p:sp>
        <p:sp>
          <p:nvSpPr>
            <p:cNvPr id="101" name="椭圆 100">
              <a:extLst>
                <a:ext uri="{FF2B5EF4-FFF2-40B4-BE49-F238E27FC236}">
                  <a16:creationId xmlns:a16="http://schemas.microsoft.com/office/drawing/2014/main" id="{612D46D4-B4C1-472A-90FC-499DC161A88F}"/>
                </a:ext>
              </a:extLst>
            </p:cNvPr>
            <p:cNvSpPr>
              <a:spLocks noChangeAspect="1"/>
            </p:cNvSpPr>
            <p:nvPr/>
          </p:nvSpPr>
          <p:spPr>
            <a:xfrm>
              <a:off x="7524750" y="3311525"/>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fr-FR" altLang="zh-CN" sz="2400" dirty="0">
                <a:solidFill>
                  <a:schemeClr val="bg1"/>
                </a:solidFill>
                <a:latin typeface="Arial" panose="020B0604020202020204" pitchFamily="34" charset="0"/>
                <a:cs typeface="Arial" panose="020B0604020202020204" pitchFamily="34" charset="0"/>
              </a:endParaRPr>
            </a:p>
          </p:txBody>
        </p:sp>
        <p:pic>
          <p:nvPicPr>
            <p:cNvPr id="102" name="图片 101">
              <a:extLst>
                <a:ext uri="{FF2B5EF4-FFF2-40B4-BE49-F238E27FC236}">
                  <a16:creationId xmlns:a16="http://schemas.microsoft.com/office/drawing/2014/main" id="{F480A372-DE99-4598-A930-F7BD07867167}"/>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546315" y="3340800"/>
              <a:ext cx="136800" cy="121600"/>
            </a:xfrm>
            <a:prstGeom prst="rect">
              <a:avLst/>
            </a:prstGeom>
          </p:spPr>
        </p:pic>
      </p:grpSp>
      <p:sp>
        <p:nvSpPr>
          <p:cNvPr id="103" name="矩形 102">
            <a:extLst>
              <a:ext uri="{FF2B5EF4-FFF2-40B4-BE49-F238E27FC236}">
                <a16:creationId xmlns:a16="http://schemas.microsoft.com/office/drawing/2014/main" id="{191A8DDB-AC5E-48F1-BC6A-933C1B366972}"/>
              </a:ext>
            </a:extLst>
          </p:cNvPr>
          <p:cNvSpPr/>
          <p:nvPr/>
        </p:nvSpPr>
        <p:spPr>
          <a:xfrm>
            <a:off x="378040" y="1748852"/>
            <a:ext cx="1617412" cy="938719"/>
          </a:xfrm>
          <a:prstGeom prst="rect">
            <a:avLst/>
          </a:prstGeom>
        </p:spPr>
        <p:txBody>
          <a:bodyPr wrap="square">
            <a:spAutoFit/>
          </a:bodyPr>
          <a:lstStyle/>
          <a:p>
            <a:r>
              <a:rPr lang="fr-FR" altLang="zh-CN" sz="1100" dirty="0">
                <a:solidFill>
                  <a:schemeClr val="tx1">
                    <a:lumMod val="75000"/>
                    <a:lumOff val="25000"/>
                  </a:schemeClr>
                </a:solidFill>
                <a:cs typeface="+mn-ea"/>
              </a:rPr>
              <a:t>Création de </a:t>
            </a:r>
            <a:r>
              <a:rPr lang="fr-FR" altLang="zh-CN" sz="1100">
                <a:solidFill>
                  <a:schemeClr val="tx1">
                    <a:lumMod val="75000"/>
                    <a:lumOff val="25000"/>
                  </a:schemeClr>
                </a:solidFill>
                <a:cs typeface="+mn-ea"/>
              </a:rPr>
              <a:t>Dahua Technology</a:t>
            </a:r>
            <a:r>
              <a:rPr lang="fr-FR" altLang="zh-CN" sz="1100" dirty="0">
                <a:solidFill>
                  <a:schemeClr val="tx1">
                    <a:lumMod val="75000"/>
                    <a:lumOff val="25000"/>
                  </a:schemeClr>
                </a:solidFill>
                <a:cs typeface="+mn-ea"/>
              </a:rPr>
              <a:t>, fait son entrée dans le domaine de la </a:t>
            </a:r>
            <a:r>
              <a:rPr lang="fr-FR" altLang="zh-CN" sz="1100">
                <a:solidFill>
                  <a:schemeClr val="tx1">
                    <a:lumMod val="75000"/>
                    <a:lumOff val="25000"/>
                  </a:schemeClr>
                </a:solidFill>
                <a:cs typeface="+mn-ea"/>
              </a:rPr>
              <a:t>vidéosurveillance.</a:t>
            </a:r>
            <a:endParaRPr lang="fr-FR" altLang="zh-CN" sz="1100" dirty="0">
              <a:solidFill>
                <a:schemeClr val="tx1">
                  <a:lumMod val="75000"/>
                  <a:lumOff val="25000"/>
                </a:schemeClr>
              </a:solidFill>
              <a:cs typeface="+mn-ea"/>
            </a:endParaRPr>
          </a:p>
        </p:txBody>
      </p:sp>
      <p:sp>
        <p:nvSpPr>
          <p:cNvPr id="104" name="矩形 103">
            <a:extLst>
              <a:ext uri="{FF2B5EF4-FFF2-40B4-BE49-F238E27FC236}">
                <a16:creationId xmlns:a16="http://schemas.microsoft.com/office/drawing/2014/main" id="{44891B65-07F5-44BB-BD73-7662EDB4D9BD}"/>
              </a:ext>
            </a:extLst>
          </p:cNvPr>
          <p:cNvSpPr/>
          <p:nvPr/>
        </p:nvSpPr>
        <p:spPr>
          <a:xfrm>
            <a:off x="2078455" y="1779370"/>
            <a:ext cx="1461008" cy="1283428"/>
          </a:xfrm>
          <a:prstGeom prst="rect">
            <a:avLst/>
          </a:prstGeom>
        </p:spPr>
        <p:txBody>
          <a:bodyPr wrap="square">
            <a:spAutoFit/>
          </a:bodyPr>
          <a:lstStyle/>
          <a:p>
            <a:r>
              <a:rPr lang="fr-FR" altLang="zh-CN" sz="1100">
                <a:solidFill>
                  <a:schemeClr val="tx1">
                    <a:lumMod val="75000"/>
                    <a:lumOff val="25000"/>
                  </a:schemeClr>
                </a:solidFill>
                <a:cs typeface="+mn-ea"/>
              </a:rPr>
              <a:t>Dahua Technology</a:t>
            </a:r>
            <a:r>
              <a:rPr lang="fr-FR" altLang="zh-CN" sz="1100" dirty="0">
                <a:solidFill>
                  <a:schemeClr val="tx1">
                    <a:lumMod val="75000"/>
                    <a:lumOff val="25000"/>
                  </a:schemeClr>
                </a:solidFill>
                <a:cs typeface="+mn-ea"/>
              </a:rPr>
              <a:t> se lance à la conquête du </a:t>
            </a:r>
            <a:r>
              <a:rPr lang="fr-FR" altLang="zh-CN" sz="1100">
                <a:solidFill>
                  <a:schemeClr val="tx1">
                    <a:lumMod val="75000"/>
                    <a:lumOff val="25000"/>
                  </a:schemeClr>
                </a:solidFill>
                <a:cs typeface="+mn-ea"/>
              </a:rPr>
              <a:t>marché mondial.</a:t>
            </a:r>
            <a:endParaRPr lang="fr-FR" altLang="zh-CN" sz="1100" dirty="0">
              <a:solidFill>
                <a:schemeClr val="tx1">
                  <a:lumMod val="75000"/>
                  <a:lumOff val="25000"/>
                </a:schemeClr>
              </a:solidFill>
              <a:cs typeface="+mn-ea"/>
            </a:endParaRPr>
          </a:p>
        </p:txBody>
      </p:sp>
      <p:sp>
        <p:nvSpPr>
          <p:cNvPr id="105" name="矩形 104">
            <a:extLst>
              <a:ext uri="{FF2B5EF4-FFF2-40B4-BE49-F238E27FC236}">
                <a16:creationId xmlns:a16="http://schemas.microsoft.com/office/drawing/2014/main" id="{0294B6A3-9D65-4680-8258-5A9F473B60F2}"/>
              </a:ext>
            </a:extLst>
          </p:cNvPr>
          <p:cNvSpPr/>
          <p:nvPr/>
        </p:nvSpPr>
        <p:spPr>
          <a:xfrm>
            <a:off x="3571673" y="1975512"/>
            <a:ext cx="1567895" cy="605422"/>
          </a:xfrm>
          <a:prstGeom prst="rect">
            <a:avLst/>
          </a:prstGeom>
        </p:spPr>
        <p:txBody>
          <a:bodyPr wrap="square">
            <a:spAutoFit/>
          </a:bodyPr>
          <a:lstStyle/>
          <a:p>
            <a:r>
              <a:rPr lang="fr-FR" altLang="zh-CN" sz="1100">
                <a:solidFill>
                  <a:schemeClr val="tx1">
                    <a:lumMod val="75000"/>
                    <a:lumOff val="25000"/>
                  </a:schemeClr>
                </a:solidFill>
                <a:cs typeface="+mn-ea"/>
              </a:rPr>
              <a:t>Introduction à </a:t>
            </a:r>
            <a:r>
              <a:rPr lang="fr-FR" sz="1100" dirty="0">
                <a:solidFill>
                  <a:schemeClr val="tx1">
                    <a:lumMod val="75000"/>
                    <a:lumOff val="25000"/>
                  </a:schemeClr>
                </a:solidFill>
                <a:cs typeface="+mn-ea"/>
              </a:rPr>
              <a:t>la Bourse de Shenzhen le 20 </a:t>
            </a:r>
            <a:r>
              <a:rPr lang="fr-FR" sz="1100">
                <a:solidFill>
                  <a:schemeClr val="tx1">
                    <a:lumMod val="75000"/>
                    <a:lumOff val="25000"/>
                  </a:schemeClr>
                </a:solidFill>
                <a:cs typeface="+mn-ea"/>
              </a:rPr>
              <a:t>mai 2008</a:t>
            </a:r>
            <a:r>
              <a:rPr lang="fr-FR" altLang="zh-CN" sz="1100" dirty="0">
                <a:solidFill>
                  <a:schemeClr val="tx1">
                    <a:lumMod val="75000"/>
                    <a:lumOff val="25000"/>
                  </a:schemeClr>
                </a:solidFill>
                <a:cs typeface="+mn-ea"/>
              </a:rPr>
              <a:t>.</a:t>
            </a:r>
          </a:p>
        </p:txBody>
      </p:sp>
      <p:sp>
        <p:nvSpPr>
          <p:cNvPr id="106" name="矩形 105">
            <a:extLst>
              <a:ext uri="{FF2B5EF4-FFF2-40B4-BE49-F238E27FC236}">
                <a16:creationId xmlns:a16="http://schemas.microsoft.com/office/drawing/2014/main" id="{53F97176-5CAD-47C0-A949-01C910205DC6}"/>
              </a:ext>
            </a:extLst>
          </p:cNvPr>
          <p:cNvSpPr/>
          <p:nvPr/>
        </p:nvSpPr>
        <p:spPr>
          <a:xfrm>
            <a:off x="5139565" y="1604028"/>
            <a:ext cx="1651708" cy="1261884"/>
          </a:xfrm>
          <a:prstGeom prst="rect">
            <a:avLst/>
          </a:prstGeom>
        </p:spPr>
        <p:txBody>
          <a:bodyPr wrap="square">
            <a:spAutoFit/>
          </a:bodyPr>
          <a:lstStyle/>
          <a:p>
            <a:r>
              <a:rPr lang="fr-FR" altLang="zh-CN" sz="1100" dirty="0">
                <a:solidFill>
                  <a:schemeClr val="tx1">
                    <a:lumMod val="75000"/>
                    <a:lumOff val="25000"/>
                  </a:schemeClr>
                </a:solidFill>
                <a:cs typeface="+mn-ea"/>
              </a:rPr>
              <a:t>La technologie HDCVI de Dahua est adoptée et reconnue comme la norme internationale de la transmission HD CCTV par </a:t>
            </a:r>
            <a:r>
              <a:rPr lang="fr-FR" altLang="zh-CN" sz="1100" dirty="0" err="1">
                <a:solidFill>
                  <a:schemeClr val="tx1">
                    <a:lumMod val="75000"/>
                    <a:lumOff val="25000"/>
                  </a:schemeClr>
                </a:solidFill>
                <a:cs typeface="+mn-ea"/>
              </a:rPr>
              <a:t>HDcctv</a:t>
            </a:r>
            <a:r>
              <a:rPr lang="fr-FR" altLang="zh-CN" sz="1100" dirty="0">
                <a:solidFill>
                  <a:schemeClr val="tx1">
                    <a:lumMod val="75000"/>
                    <a:lumOff val="25000"/>
                  </a:schemeClr>
                </a:solidFill>
                <a:cs typeface="+mn-ea"/>
              </a:rPr>
              <a:t> Alliance.</a:t>
            </a:r>
          </a:p>
        </p:txBody>
      </p:sp>
      <p:sp>
        <p:nvSpPr>
          <p:cNvPr id="107" name="矩形 106">
            <a:extLst>
              <a:ext uri="{FF2B5EF4-FFF2-40B4-BE49-F238E27FC236}">
                <a16:creationId xmlns:a16="http://schemas.microsoft.com/office/drawing/2014/main" id="{813675FE-B53F-497B-9533-14BF26EB203E}"/>
              </a:ext>
            </a:extLst>
          </p:cNvPr>
          <p:cNvSpPr/>
          <p:nvPr/>
        </p:nvSpPr>
        <p:spPr>
          <a:xfrm>
            <a:off x="6715789" y="1077977"/>
            <a:ext cx="2065604" cy="1446550"/>
          </a:xfrm>
          <a:prstGeom prst="rect">
            <a:avLst/>
          </a:prstGeom>
        </p:spPr>
        <p:txBody>
          <a:bodyPr wrap="square">
            <a:spAutoFit/>
          </a:bodyPr>
          <a:lstStyle/>
          <a:p>
            <a:r>
              <a:rPr lang="fr-FR" altLang="zh-CN" sz="1100" dirty="0">
                <a:solidFill>
                  <a:schemeClr val="tx1">
                    <a:lumMod val="75000"/>
                    <a:lumOff val="25000"/>
                  </a:schemeClr>
                </a:solidFill>
                <a:cs typeface="+mn-ea"/>
              </a:rPr>
              <a:t>Dahua Technology adopte la technologie cloud.</a:t>
            </a:r>
          </a:p>
          <a:p>
            <a:r>
              <a:rPr lang="fr-FR" altLang="zh-CN" sz="1100" dirty="0">
                <a:solidFill>
                  <a:schemeClr val="tx1">
                    <a:lumMod val="75000"/>
                    <a:lumOff val="25000"/>
                  </a:schemeClr>
                </a:solidFill>
                <a:cs typeface="+mn-ea"/>
              </a:rPr>
              <a:t>Rejoint le marché de la sécurité des consommateurs en créant la marque </a:t>
            </a:r>
            <a:r>
              <a:rPr lang="fr-FR" altLang="zh-CN" sz="1100" dirty="0" err="1">
                <a:solidFill>
                  <a:schemeClr val="tx1">
                    <a:lumMod val="75000"/>
                    <a:lumOff val="25000"/>
                  </a:schemeClr>
                </a:solidFill>
                <a:cs typeface="+mn-ea"/>
              </a:rPr>
              <a:t>Imou</a:t>
            </a:r>
            <a:r>
              <a:rPr lang="fr-FR" altLang="zh-CN" sz="1100" dirty="0">
                <a:solidFill>
                  <a:schemeClr val="tx1">
                    <a:lumMod val="75000"/>
                    <a:lumOff val="25000"/>
                  </a:schemeClr>
                </a:solidFill>
                <a:cs typeface="+mn-ea"/>
              </a:rPr>
              <a:t> (anciennement </a:t>
            </a:r>
            <a:r>
              <a:rPr lang="fr-FR" altLang="zh-CN" sz="1100" dirty="0" err="1">
                <a:solidFill>
                  <a:schemeClr val="tx1">
                    <a:lumMod val="75000"/>
                    <a:lumOff val="25000"/>
                  </a:schemeClr>
                </a:solidFill>
                <a:cs typeface="+mn-ea"/>
              </a:rPr>
              <a:t>Lechange</a:t>
            </a:r>
            <a:r>
              <a:rPr lang="fr-FR" altLang="zh-CN" sz="1100" dirty="0">
                <a:solidFill>
                  <a:schemeClr val="tx1">
                    <a:lumMod val="75000"/>
                    <a:lumOff val="25000"/>
                  </a:schemeClr>
                </a:solidFill>
                <a:cs typeface="+mn-ea"/>
              </a:rPr>
              <a:t>).</a:t>
            </a:r>
          </a:p>
          <a:p>
            <a:r>
              <a:rPr lang="fr-FR" altLang="zh-CN" sz="1100" dirty="0">
                <a:solidFill>
                  <a:schemeClr val="tx1">
                    <a:lumMod val="75000"/>
                    <a:lumOff val="25000"/>
                  </a:schemeClr>
                </a:solidFill>
                <a:cs typeface="+mn-ea"/>
              </a:rPr>
              <a:t>Première filiale à l’étranger (aux USA).</a:t>
            </a:r>
          </a:p>
        </p:txBody>
      </p:sp>
      <p:sp>
        <p:nvSpPr>
          <p:cNvPr id="108" name="矩形 107">
            <a:extLst>
              <a:ext uri="{FF2B5EF4-FFF2-40B4-BE49-F238E27FC236}">
                <a16:creationId xmlns:a16="http://schemas.microsoft.com/office/drawing/2014/main" id="{832A4221-07A2-4157-BDB4-35B7892E4DAC}"/>
              </a:ext>
            </a:extLst>
          </p:cNvPr>
          <p:cNvSpPr/>
          <p:nvPr/>
        </p:nvSpPr>
        <p:spPr>
          <a:xfrm>
            <a:off x="8743977" y="1785733"/>
            <a:ext cx="1535688" cy="1015663"/>
          </a:xfrm>
          <a:prstGeom prst="rect">
            <a:avLst/>
          </a:prstGeom>
        </p:spPr>
        <p:txBody>
          <a:bodyPr wrap="square">
            <a:spAutoFit/>
          </a:bodyPr>
          <a:lstStyle/>
          <a:p>
            <a:r>
              <a:rPr lang="fr-FR" altLang="zh-CN" sz="1100" dirty="0">
                <a:solidFill>
                  <a:schemeClr val="tx1">
                    <a:lumMod val="75000"/>
                    <a:lumOff val="25000"/>
                  </a:schemeClr>
                </a:solidFill>
                <a:cs typeface="+mn-ea"/>
              </a:rPr>
              <a:t>Début de production du parc de fabrication d’objets intelligent (IdO) de Dahua.</a:t>
            </a:r>
          </a:p>
        </p:txBody>
      </p:sp>
      <p:sp>
        <p:nvSpPr>
          <p:cNvPr id="109" name="矩形 108">
            <a:extLst>
              <a:ext uri="{FF2B5EF4-FFF2-40B4-BE49-F238E27FC236}">
                <a16:creationId xmlns:a16="http://schemas.microsoft.com/office/drawing/2014/main" id="{C7A9CD74-5517-4DE3-BEF1-38F4EF660D38}"/>
              </a:ext>
            </a:extLst>
          </p:cNvPr>
          <p:cNvSpPr/>
          <p:nvPr/>
        </p:nvSpPr>
        <p:spPr>
          <a:xfrm>
            <a:off x="10307693" y="1054303"/>
            <a:ext cx="1620507" cy="1569660"/>
          </a:xfrm>
          <a:prstGeom prst="rect">
            <a:avLst/>
          </a:prstGeom>
        </p:spPr>
        <p:txBody>
          <a:bodyPr wrap="square">
            <a:spAutoFit/>
          </a:bodyPr>
          <a:lstStyle/>
          <a:p>
            <a:r>
              <a:rPr lang="fr-FR" altLang="zh-CN" sz="1100" dirty="0">
                <a:solidFill>
                  <a:schemeClr val="tx1">
                    <a:lumMod val="75000"/>
                    <a:lumOff val="25000"/>
                  </a:schemeClr>
                </a:solidFill>
                <a:cs typeface="+mn-ea"/>
              </a:rPr>
              <a:t>Propose </a:t>
            </a:r>
            <a:r>
              <a:rPr lang="fr-FR" altLang="zh-CN" sz="1100">
                <a:solidFill>
                  <a:schemeClr val="tx1">
                    <a:lumMod val="75000"/>
                    <a:lumOff val="25000"/>
                  </a:schemeClr>
                </a:solidFill>
                <a:cs typeface="+mn-ea"/>
              </a:rPr>
              <a:t>des </a:t>
            </a:r>
            <a:r>
              <a:rPr lang="fr-FR" altLang="zh-CN" sz="1100" dirty="0">
                <a:solidFill>
                  <a:schemeClr val="tx1">
                    <a:lumMod val="75000"/>
                    <a:lumOff val="25000"/>
                  </a:schemeClr>
                </a:solidFill>
                <a:cs typeface="+mn-ea"/>
              </a:rPr>
              <a:t>prestations et solutions intelligentes </a:t>
            </a:r>
            <a:r>
              <a:rPr lang="fr-FR" altLang="zh-CN" sz="1100">
                <a:solidFill>
                  <a:schemeClr val="tx1">
                    <a:lumMod val="75000"/>
                    <a:lumOff val="25000"/>
                  </a:schemeClr>
                </a:solidFill>
                <a:cs typeface="+mn-ea"/>
              </a:rPr>
              <a:t>IdO </a:t>
            </a:r>
            <a:r>
              <a:rPr lang="fr-FR" altLang="zh-CN" sz="1100" dirty="0">
                <a:solidFill>
                  <a:schemeClr val="tx1">
                    <a:lumMod val="75000"/>
                    <a:lumOff val="25000"/>
                  </a:schemeClr>
                </a:solidFill>
                <a:cs typeface="+mn-ea"/>
              </a:rPr>
              <a:t>développées grâce aux  compétences de base dans les domaines de la vidéo et des technologies d’IA.</a:t>
            </a:r>
          </a:p>
        </p:txBody>
      </p:sp>
      <p:sp>
        <p:nvSpPr>
          <p:cNvPr id="110" name="矩形 109">
            <a:extLst>
              <a:ext uri="{FF2B5EF4-FFF2-40B4-BE49-F238E27FC236}">
                <a16:creationId xmlns:a16="http://schemas.microsoft.com/office/drawing/2014/main" id="{511CFDC6-5A41-404B-8657-E7DA83222E61}"/>
              </a:ext>
            </a:extLst>
          </p:cNvPr>
          <p:cNvSpPr/>
          <p:nvPr/>
        </p:nvSpPr>
        <p:spPr>
          <a:xfrm>
            <a:off x="1241770" y="4667048"/>
            <a:ext cx="1491517" cy="1277273"/>
          </a:xfrm>
          <a:prstGeom prst="rect">
            <a:avLst/>
          </a:prstGeom>
        </p:spPr>
        <p:txBody>
          <a:bodyPr wrap="square">
            <a:spAutoFit/>
          </a:bodyPr>
          <a:lstStyle/>
          <a:p>
            <a:r>
              <a:rPr lang="fr-FR" altLang="zh-CN" sz="1100" dirty="0">
                <a:solidFill>
                  <a:schemeClr val="tx1">
                    <a:lumMod val="75000"/>
                    <a:lumOff val="25000"/>
                  </a:schemeClr>
                </a:solidFill>
                <a:cs typeface="+mn-ea"/>
              </a:rPr>
              <a:t>Dahua Technology commercialise le premier DVR autonome à enregistrement temps réel à 8</a:t>
            </a:r>
            <a:r>
              <a:rPr lang="fr-FR" altLang="zh-CN" sz="1100" b="1" dirty="0">
                <a:solidFill>
                  <a:schemeClr val="bg1"/>
                </a:solidFill>
                <a:latin typeface="Arial" panose="020B0604020202020204" pitchFamily="34" charset="0"/>
                <a:ea typeface="Microsoft YaHei" charset="-122"/>
                <a:cs typeface="Arial" panose="020B0604020202020204" pitchFamily="34" charset="0"/>
              </a:rPr>
              <a:t> </a:t>
            </a:r>
            <a:r>
              <a:rPr lang="fr-FR" altLang="zh-CN" sz="1100" dirty="0">
                <a:solidFill>
                  <a:schemeClr val="tx1">
                    <a:lumMod val="75000"/>
                    <a:lumOff val="25000"/>
                  </a:schemeClr>
                </a:solidFill>
                <a:cs typeface="+mn-ea"/>
              </a:rPr>
              <a:t>canaux au monde</a:t>
            </a:r>
          </a:p>
        </p:txBody>
      </p:sp>
      <p:sp>
        <p:nvSpPr>
          <p:cNvPr id="111" name="矩形 110">
            <a:extLst>
              <a:ext uri="{FF2B5EF4-FFF2-40B4-BE49-F238E27FC236}">
                <a16:creationId xmlns:a16="http://schemas.microsoft.com/office/drawing/2014/main" id="{7B0F8797-BE89-486A-ABBA-AEC0D69D36D9}"/>
              </a:ext>
            </a:extLst>
          </p:cNvPr>
          <p:cNvSpPr/>
          <p:nvPr/>
        </p:nvSpPr>
        <p:spPr>
          <a:xfrm>
            <a:off x="2733288" y="4469810"/>
            <a:ext cx="1522817" cy="1477328"/>
          </a:xfrm>
          <a:prstGeom prst="rect">
            <a:avLst/>
          </a:prstGeom>
        </p:spPr>
        <p:txBody>
          <a:bodyPr wrap="square">
            <a:spAutoFit/>
          </a:bodyPr>
          <a:lstStyle/>
          <a:p>
            <a:r>
              <a:rPr lang="fr-FR" altLang="zh-CN" sz="1290" dirty="0">
                <a:solidFill>
                  <a:schemeClr val="tx1">
                    <a:lumMod val="75000"/>
                    <a:lumOff val="25000"/>
                  </a:schemeClr>
                </a:solidFill>
                <a:cs typeface="+mn-ea"/>
              </a:rPr>
              <a:t>Dahua </a:t>
            </a:r>
            <a:r>
              <a:rPr lang="fr-FR" altLang="zh-CN" sz="1290" dirty="0" err="1">
                <a:solidFill>
                  <a:schemeClr val="tx1">
                    <a:lumMod val="75000"/>
                    <a:lumOff val="25000"/>
                  </a:schemeClr>
                </a:solidFill>
                <a:cs typeface="+mn-ea"/>
              </a:rPr>
              <a:t>Technology</a:t>
            </a:r>
            <a:r>
              <a:rPr lang="fr-FR" altLang="zh-CN" sz="1290" dirty="0">
                <a:solidFill>
                  <a:schemeClr val="tx1">
                    <a:lumMod val="75000"/>
                    <a:lumOff val="25000"/>
                  </a:schemeClr>
                </a:solidFill>
                <a:cs typeface="+mn-ea"/>
              </a:rPr>
              <a:t> commercialise une caméra de surveillance de la circulation intelligente et intégrée. Devient la norme en Chine.</a:t>
            </a:r>
          </a:p>
        </p:txBody>
      </p:sp>
      <p:sp>
        <p:nvSpPr>
          <p:cNvPr id="112" name="矩形 111">
            <a:extLst>
              <a:ext uri="{FF2B5EF4-FFF2-40B4-BE49-F238E27FC236}">
                <a16:creationId xmlns:a16="http://schemas.microsoft.com/office/drawing/2014/main" id="{9B49E6E5-838F-4D5D-B971-ECA172A8AC15}"/>
              </a:ext>
            </a:extLst>
          </p:cNvPr>
          <p:cNvSpPr/>
          <p:nvPr/>
        </p:nvSpPr>
        <p:spPr>
          <a:xfrm>
            <a:off x="4066364" y="4566269"/>
            <a:ext cx="2020096" cy="2092881"/>
          </a:xfrm>
          <a:prstGeom prst="rect">
            <a:avLst/>
          </a:prstGeom>
        </p:spPr>
        <p:txBody>
          <a:bodyPr wrap="square">
            <a:spAutoFit/>
          </a:bodyPr>
          <a:lstStyle/>
          <a:p>
            <a:r>
              <a:rPr lang="fr-FR" altLang="zh-CN" sz="1100" dirty="0">
                <a:solidFill>
                  <a:schemeClr val="tx1">
                    <a:lumMod val="75000"/>
                    <a:lumOff val="25000"/>
                  </a:schemeClr>
                </a:solidFill>
                <a:cs typeface="+mn-ea"/>
              </a:rPr>
              <a:t>Dahua </a:t>
            </a:r>
            <a:r>
              <a:rPr lang="fr-FR" altLang="zh-CN" sz="1100" dirty="0" err="1">
                <a:solidFill>
                  <a:schemeClr val="tx1">
                    <a:lumMod val="75000"/>
                    <a:lumOff val="25000"/>
                  </a:schemeClr>
                </a:solidFill>
                <a:cs typeface="+mn-ea"/>
              </a:rPr>
              <a:t>Technology</a:t>
            </a:r>
            <a:r>
              <a:rPr lang="fr-FR" altLang="zh-CN" sz="1100" dirty="0">
                <a:solidFill>
                  <a:schemeClr val="tx1">
                    <a:lumMod val="75000"/>
                    <a:lumOff val="25000"/>
                  </a:schemeClr>
                </a:solidFill>
                <a:cs typeface="+mn-ea"/>
              </a:rPr>
              <a:t> adopte la technologie CMOS et commercialise un module caméra HD à rapport de grossissement élevé.</a:t>
            </a:r>
          </a:p>
          <a:p>
            <a:r>
              <a:rPr lang="fr-FR" altLang="zh-CN" sz="1100" dirty="0">
                <a:solidFill>
                  <a:schemeClr val="tx1">
                    <a:lumMod val="75000"/>
                    <a:lumOff val="25000"/>
                  </a:schemeClr>
                </a:solidFill>
                <a:cs typeface="+mn-ea"/>
              </a:rPr>
              <a:t>Créé le premier centre national recherche postdoctorale dans l’industrie de la sécurité en Chine.</a:t>
            </a:r>
          </a:p>
          <a:p>
            <a:r>
              <a:rPr lang="fr-FR" altLang="zh-CN" sz="1100" dirty="0">
                <a:solidFill>
                  <a:schemeClr val="tx1">
                    <a:lumMod val="75000"/>
                    <a:lumOff val="25000"/>
                  </a:schemeClr>
                </a:solidFill>
                <a:cs typeface="+mn-ea"/>
              </a:rPr>
              <a:t>Société de service de sécurité CMS reconnue.</a:t>
            </a:r>
          </a:p>
        </p:txBody>
      </p:sp>
      <p:sp>
        <p:nvSpPr>
          <p:cNvPr id="113" name="矩形 112">
            <a:extLst>
              <a:ext uri="{FF2B5EF4-FFF2-40B4-BE49-F238E27FC236}">
                <a16:creationId xmlns:a16="http://schemas.microsoft.com/office/drawing/2014/main" id="{979EDC85-C471-41EA-ADF9-959FB992A596}"/>
              </a:ext>
            </a:extLst>
          </p:cNvPr>
          <p:cNvSpPr/>
          <p:nvPr/>
        </p:nvSpPr>
        <p:spPr>
          <a:xfrm>
            <a:off x="5975477" y="4398598"/>
            <a:ext cx="1739355" cy="1938992"/>
          </a:xfrm>
          <a:prstGeom prst="rect">
            <a:avLst/>
          </a:prstGeom>
        </p:spPr>
        <p:txBody>
          <a:bodyPr wrap="square">
            <a:spAutoFit/>
          </a:bodyPr>
          <a:lstStyle/>
          <a:p>
            <a:r>
              <a:rPr lang="fr-FR" altLang="zh-CN" sz="1100" dirty="0">
                <a:solidFill>
                  <a:schemeClr val="tx1">
                    <a:lumMod val="75000"/>
                    <a:lumOff val="25000"/>
                  </a:schemeClr>
                </a:solidFill>
                <a:cs typeface="+mn-ea"/>
              </a:rPr>
              <a:t>Dahua </a:t>
            </a:r>
            <a:r>
              <a:rPr lang="fr-FR" altLang="zh-CN" sz="1100" dirty="0" err="1">
                <a:solidFill>
                  <a:schemeClr val="tx1">
                    <a:lumMod val="75000"/>
                    <a:lumOff val="25000"/>
                  </a:schemeClr>
                </a:solidFill>
                <a:cs typeface="+mn-ea"/>
              </a:rPr>
              <a:t>Technology</a:t>
            </a:r>
            <a:r>
              <a:rPr lang="fr-FR" altLang="zh-CN" sz="1100" dirty="0">
                <a:solidFill>
                  <a:schemeClr val="tx1">
                    <a:lumMod val="75000"/>
                    <a:lumOff val="25000"/>
                  </a:schemeClr>
                </a:solidFill>
                <a:cs typeface="+mn-ea"/>
              </a:rPr>
              <a:t> invente une plateforme de gestion de surveillance intégrée matériel-logiciel, </a:t>
            </a:r>
            <a:r>
              <a:rPr lang="fr-FR" sz="1100" dirty="0">
                <a:solidFill>
                  <a:schemeClr val="tx1">
                    <a:lumMod val="75000"/>
                    <a:lumOff val="25000"/>
                  </a:schemeClr>
                </a:solidFill>
                <a:cs typeface="+mn-ea"/>
              </a:rPr>
              <a:t>simplifiant ainsi considérablement le déploiement et la maintenance des systèmes de surveillance</a:t>
            </a:r>
            <a:r>
              <a:rPr lang="fr-FR" altLang="zh-CN" sz="1100" dirty="0">
                <a:solidFill>
                  <a:schemeClr val="tx1">
                    <a:lumMod val="75000"/>
                    <a:lumOff val="25000"/>
                  </a:schemeClr>
                </a:solidFill>
                <a:cs typeface="+mn-ea"/>
              </a:rPr>
              <a:t>.</a:t>
            </a:r>
          </a:p>
        </p:txBody>
      </p:sp>
      <p:sp>
        <p:nvSpPr>
          <p:cNvPr id="114" name="矩形 113">
            <a:extLst>
              <a:ext uri="{FF2B5EF4-FFF2-40B4-BE49-F238E27FC236}">
                <a16:creationId xmlns:a16="http://schemas.microsoft.com/office/drawing/2014/main" id="{EC42AC6E-F98C-47A1-85D2-F36673257B25}"/>
              </a:ext>
            </a:extLst>
          </p:cNvPr>
          <p:cNvSpPr/>
          <p:nvPr/>
        </p:nvSpPr>
        <p:spPr>
          <a:xfrm>
            <a:off x="7897504" y="4853482"/>
            <a:ext cx="1453645" cy="1538883"/>
          </a:xfrm>
          <a:prstGeom prst="rect">
            <a:avLst/>
          </a:prstGeom>
        </p:spPr>
        <p:txBody>
          <a:bodyPr wrap="square">
            <a:spAutoFit/>
          </a:bodyPr>
          <a:lstStyle/>
          <a:p>
            <a:r>
              <a:rPr lang="fr-FR" altLang="zh-CN" sz="1100" dirty="0">
                <a:solidFill>
                  <a:schemeClr val="tx1">
                    <a:lumMod val="75000"/>
                    <a:lumOff val="25000"/>
                  </a:schemeClr>
                </a:solidFill>
                <a:cs typeface="+mn-ea"/>
              </a:rPr>
              <a:t>Dahua Technology obtient la certification CMMI niveau 5, consolidant ainsi sa position de leader mondial dans le développement de logiciel.</a:t>
            </a:r>
          </a:p>
        </p:txBody>
      </p:sp>
      <p:sp>
        <p:nvSpPr>
          <p:cNvPr id="115" name="矩形 114">
            <a:extLst>
              <a:ext uri="{FF2B5EF4-FFF2-40B4-BE49-F238E27FC236}">
                <a16:creationId xmlns:a16="http://schemas.microsoft.com/office/drawing/2014/main" id="{73D841F1-03C1-4F5C-BE62-C9F80A613644}"/>
              </a:ext>
            </a:extLst>
          </p:cNvPr>
          <p:cNvSpPr/>
          <p:nvPr/>
        </p:nvSpPr>
        <p:spPr>
          <a:xfrm>
            <a:off x="9349787" y="4597503"/>
            <a:ext cx="1812407" cy="1492716"/>
          </a:xfrm>
          <a:prstGeom prst="rect">
            <a:avLst/>
          </a:prstGeom>
        </p:spPr>
        <p:txBody>
          <a:bodyPr wrap="square">
            <a:spAutoFit/>
          </a:bodyPr>
          <a:lstStyle/>
          <a:p>
            <a:r>
              <a:rPr lang="fr-FR" altLang="zh-CN" sz="1100" dirty="0">
                <a:solidFill>
                  <a:schemeClr val="tx1">
                    <a:lumMod val="75000"/>
                    <a:lumOff val="25000"/>
                  </a:schemeClr>
                </a:solidFill>
                <a:cs typeface="+mn-ea"/>
              </a:rPr>
              <a:t>Dahua </a:t>
            </a:r>
            <a:r>
              <a:rPr lang="fr-FR" altLang="zh-CN" sz="1100" dirty="0" err="1">
                <a:solidFill>
                  <a:schemeClr val="tx1">
                    <a:lumMod val="75000"/>
                    <a:lumOff val="25000"/>
                  </a:schemeClr>
                </a:solidFill>
                <a:cs typeface="+mn-ea"/>
              </a:rPr>
              <a:t>Technology</a:t>
            </a:r>
            <a:r>
              <a:rPr lang="fr-FR" altLang="zh-CN" sz="1100" dirty="0">
                <a:solidFill>
                  <a:schemeClr val="tx1">
                    <a:lumMod val="75000"/>
                    <a:lumOff val="25000"/>
                  </a:schemeClr>
                </a:solidFill>
                <a:cs typeface="+mn-ea"/>
              </a:rPr>
              <a:t> commercialise le nouveau dispositif smart city – Dahua </a:t>
            </a:r>
            <a:r>
              <a:rPr lang="fr-FR" altLang="zh-CN" sz="1100" dirty="0" err="1">
                <a:solidFill>
                  <a:schemeClr val="tx1">
                    <a:lumMod val="75000"/>
                    <a:lumOff val="25000"/>
                  </a:schemeClr>
                </a:solidFill>
                <a:cs typeface="+mn-ea"/>
              </a:rPr>
              <a:t>Heart</a:t>
            </a:r>
            <a:r>
              <a:rPr lang="fr-FR" altLang="zh-CN" sz="1100" dirty="0">
                <a:solidFill>
                  <a:schemeClr val="tx1">
                    <a:lumMod val="75000"/>
                    <a:lumOff val="25000"/>
                  </a:schemeClr>
                </a:solidFill>
                <a:cs typeface="+mn-ea"/>
              </a:rPr>
              <a:t> of City (HOC).</a:t>
            </a:r>
          </a:p>
          <a:p>
            <a:r>
              <a:rPr lang="fr-FR" altLang="zh-CN" sz="1100" dirty="0">
                <a:solidFill>
                  <a:schemeClr val="tx1">
                    <a:lumMod val="75000"/>
                    <a:lumOff val="25000"/>
                  </a:schemeClr>
                </a:solidFill>
                <a:cs typeface="+mn-ea"/>
              </a:rPr>
              <a:t>Ouverture du centre fournisseur européen de Dahua.</a:t>
            </a:r>
          </a:p>
        </p:txBody>
      </p:sp>
      <p:pic>
        <p:nvPicPr>
          <p:cNvPr id="116" name="Picture 49">
            <a:extLst>
              <a:ext uri="{FF2B5EF4-FFF2-40B4-BE49-F238E27FC236}">
                <a16:creationId xmlns:a16="http://schemas.microsoft.com/office/drawing/2014/main" id="{406AC326-BA30-4851-8D52-F73FB68250A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0612732" y="387831"/>
            <a:ext cx="1164972" cy="347241"/>
          </a:xfrm>
          <a:prstGeom prst="rect">
            <a:avLst/>
          </a:prstGeom>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bwMode="auto">
          <a:xfrm>
            <a:off x="-182493" y="2653606"/>
            <a:ext cx="12618968" cy="1737341"/>
          </a:xfrm>
          <a:prstGeom prst="rect">
            <a:avLst/>
          </a:prstGeom>
          <a:solidFill>
            <a:srgbClr val="DDDDDD">
              <a:alpha val="39000"/>
            </a:srgbClr>
          </a:soli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noAutofit/>
          </a:bodyPr>
          <a:lstStyle/>
          <a:p>
            <a:pPr algn="ctr" defTabSz="932180" fontAlgn="base">
              <a:lnSpc>
                <a:spcPct val="90000"/>
              </a:lnSpc>
              <a:spcBef>
                <a:spcPct val="0"/>
              </a:spcBef>
              <a:spcAft>
                <a:spcPct val="0"/>
              </a:spcAft>
            </a:pPr>
            <a:endParaRPr lang="zh-CN" altLang="en-US" sz="2400"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cxnSp>
        <p:nvCxnSpPr>
          <p:cNvPr id="4" name="直接连接符 3"/>
          <p:cNvCxnSpPr/>
          <p:nvPr/>
        </p:nvCxnSpPr>
        <p:spPr>
          <a:xfrm>
            <a:off x="2377798" y="3497262"/>
            <a:ext cx="5394902" cy="185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标题 4"/>
          <p:cNvSpPr txBox="1"/>
          <p:nvPr/>
        </p:nvSpPr>
        <p:spPr>
          <a:xfrm>
            <a:off x="3292189" y="3515799"/>
            <a:ext cx="5527067" cy="913174"/>
          </a:xfrm>
          <a:prstGeom prst="rect">
            <a:avLst/>
          </a:prstGeom>
        </p:spPr>
        <p:txBody>
          <a:bodyPr vert="horz" lIns="93260" tIns="46630" rIns="93260" bIns="46630" rtlCol="0" anchor="b">
            <a:normAutofit fontScale="55000" lnSpcReduction="20000"/>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pPr marL="342900" indent="-342900" defTabSz="671830">
              <a:lnSpc>
                <a:spcPct val="150000"/>
              </a:lnSpc>
              <a:buFont typeface="Wingdings" panose="05000000000000000000" pitchFamily="2" charset="2"/>
              <a:buChar char="u"/>
              <a:defRPr/>
            </a:pPr>
            <a:r>
              <a:rPr lang="en-US" altLang="zh-CN" b="0" kern="0" dirty="0" smtClean="0">
                <a:solidFill>
                  <a:srgbClr val="525252"/>
                </a:solidFill>
                <a:latin typeface="+mn-lt"/>
                <a:ea typeface="+mn-ea"/>
                <a:cs typeface="+mn-ea"/>
                <a:sym typeface="+mn-lt"/>
              </a:rPr>
              <a:t>Les </a:t>
            </a:r>
            <a:r>
              <a:rPr lang="en-US" altLang="zh-CN" b="0" kern="0" dirty="0" err="1" smtClean="0">
                <a:solidFill>
                  <a:srgbClr val="525252"/>
                </a:solidFill>
                <a:latin typeface="+mn-lt"/>
                <a:ea typeface="+mn-ea"/>
                <a:cs typeface="+mn-ea"/>
                <a:sym typeface="+mn-lt"/>
              </a:rPr>
              <a:t>risques</a:t>
            </a:r>
            <a:r>
              <a:rPr lang="en-US" altLang="zh-CN" b="0" kern="0" dirty="0" smtClean="0">
                <a:solidFill>
                  <a:srgbClr val="525252"/>
                </a:solidFill>
                <a:latin typeface="+mn-lt"/>
                <a:ea typeface="+mn-ea"/>
                <a:cs typeface="+mn-ea"/>
                <a:sym typeface="+mn-lt"/>
              </a:rPr>
              <a:t> </a:t>
            </a:r>
            <a:endParaRPr lang="en-US" altLang="zh-CN" b="0" kern="0" dirty="0">
              <a:solidFill>
                <a:srgbClr val="525252"/>
              </a:solidFill>
              <a:latin typeface="+mn-lt"/>
              <a:ea typeface="+mn-ea"/>
              <a:cs typeface="+mn-ea"/>
              <a:sym typeface="+mn-lt"/>
            </a:endParaRPr>
          </a:p>
          <a:p>
            <a:pPr marL="342900" indent="-342900" defTabSz="671830">
              <a:lnSpc>
                <a:spcPct val="150000"/>
              </a:lnSpc>
              <a:buFont typeface="Wingdings" panose="05000000000000000000" pitchFamily="2" charset="2"/>
              <a:buChar char="u"/>
              <a:defRPr/>
            </a:pPr>
            <a:r>
              <a:rPr lang="en-US" altLang="zh-CN" b="0" kern="0" dirty="0">
                <a:solidFill>
                  <a:srgbClr val="525252"/>
                </a:solidFill>
                <a:latin typeface="+mn-lt"/>
                <a:ea typeface="+mn-ea"/>
                <a:cs typeface="+mn-ea"/>
                <a:sym typeface="+mn-lt"/>
              </a:rPr>
              <a:t>SOLUTION</a:t>
            </a:r>
          </a:p>
          <a:p>
            <a:pPr marL="342900" indent="-342900" defTabSz="671830">
              <a:lnSpc>
                <a:spcPct val="150000"/>
              </a:lnSpc>
              <a:buFont typeface="Wingdings" panose="05000000000000000000" pitchFamily="2" charset="2"/>
              <a:buChar char="u"/>
              <a:defRPr/>
            </a:pPr>
            <a:r>
              <a:rPr lang="en-US" altLang="zh-CN" b="0" kern="0" dirty="0">
                <a:solidFill>
                  <a:srgbClr val="525252"/>
                </a:solidFill>
                <a:latin typeface="+mn-lt"/>
                <a:ea typeface="+mn-ea"/>
                <a:cs typeface="+mn-ea"/>
                <a:sym typeface="+mn-lt"/>
              </a:rPr>
              <a:t>VALEUR</a:t>
            </a:r>
          </a:p>
        </p:txBody>
      </p:sp>
      <p:sp>
        <p:nvSpPr>
          <p:cNvPr id="18" name="文本框 17"/>
          <p:cNvSpPr txBox="1"/>
          <p:nvPr/>
        </p:nvSpPr>
        <p:spPr>
          <a:xfrm>
            <a:off x="498057" y="2809159"/>
            <a:ext cx="1043892" cy="907625"/>
          </a:xfrm>
          <a:prstGeom prst="rect">
            <a:avLst/>
          </a:prstGeom>
          <a:noFill/>
          <a:ln w="117475">
            <a:noFill/>
          </a:ln>
        </p:spPr>
        <p:txBody>
          <a:bodyPr wrap="none" rtlCol="0">
            <a:prstTxWarp prst="textPlain">
              <a:avLst/>
            </a:prstTxWarp>
            <a:spAutoFit/>
          </a:bodyPr>
          <a:lstStyle/>
          <a:p>
            <a:r>
              <a:rPr lang="en-US" altLang="zh-CN" sz="1835" spc="102" dirty="0">
                <a:solidFill>
                  <a:schemeClr val="accent1"/>
                </a:solidFill>
                <a:cs typeface="+mn-ea"/>
                <a:sym typeface="+mn-lt"/>
              </a:rPr>
              <a:t>/02</a:t>
            </a:r>
            <a:endParaRPr lang="zh-CN" altLang="en-US" sz="1835" spc="102" dirty="0">
              <a:solidFill>
                <a:schemeClr val="accent1"/>
              </a:solidFill>
              <a:cs typeface="+mn-ea"/>
              <a:sym typeface="+mn-lt"/>
            </a:endParaRPr>
          </a:p>
        </p:txBody>
      </p:sp>
      <p:sp>
        <p:nvSpPr>
          <p:cNvPr id="11" name="矩形 10"/>
          <p:cNvSpPr/>
          <p:nvPr/>
        </p:nvSpPr>
        <p:spPr>
          <a:xfrm>
            <a:off x="2273441" y="2814804"/>
            <a:ext cx="4381328" cy="584775"/>
          </a:xfrm>
          <a:prstGeom prst="rect">
            <a:avLst/>
          </a:prstGeom>
        </p:spPr>
        <p:txBody>
          <a:bodyPr wrap="none">
            <a:spAutoFit/>
          </a:bodyPr>
          <a:lstStyle/>
          <a:p>
            <a:pPr defTabSz="671830">
              <a:defRPr/>
            </a:pPr>
            <a:r>
              <a:rPr lang="en-US" altLang="zh-CN" sz="3200" b="1" kern="0" dirty="0">
                <a:solidFill>
                  <a:schemeClr val="tx1">
                    <a:lumMod val="75000"/>
                  </a:schemeClr>
                </a:solidFill>
                <a:cs typeface="+mn-ea"/>
                <a:sym typeface="+mn-lt"/>
              </a:rPr>
              <a:t>Solution </a:t>
            </a:r>
            <a:r>
              <a:rPr lang="en-US" altLang="zh-CN" sz="3200" b="1" kern="0" dirty="0" err="1">
                <a:solidFill>
                  <a:schemeClr val="tx1">
                    <a:lumMod val="75000"/>
                  </a:schemeClr>
                </a:solidFill>
                <a:cs typeface="+mn-ea"/>
                <a:sym typeface="+mn-lt"/>
              </a:rPr>
              <a:t>Dahua</a:t>
            </a:r>
            <a:r>
              <a:rPr lang="en-US" altLang="zh-CN" sz="3200" b="1" kern="0" dirty="0">
                <a:solidFill>
                  <a:schemeClr val="tx1">
                    <a:lumMod val="75000"/>
                  </a:schemeClr>
                </a:solidFill>
                <a:cs typeface="+mn-ea"/>
                <a:sym typeface="+mn-lt"/>
              </a:rPr>
              <a:t> Retai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
            <a:extLst>
              <a:ext uri="{FF2B5EF4-FFF2-40B4-BE49-F238E27FC236}">
                <a16:creationId xmlns:a16="http://schemas.microsoft.com/office/drawing/2014/main" id="{E507D918-6B1D-425D-BFD9-DB97BA19BA92}"/>
              </a:ext>
            </a:extLst>
          </p:cNvPr>
          <p:cNvSpPr txBox="1">
            <a:spLocks/>
          </p:cNvSpPr>
          <p:nvPr/>
        </p:nvSpPr>
        <p:spPr>
          <a:xfrm>
            <a:off x="668809" y="2660123"/>
            <a:ext cx="7119502" cy="1420096"/>
          </a:xfrm>
          <a:prstGeom prst="rect">
            <a:avLst/>
          </a:prstGeom>
          <a:noFill/>
        </p:spPr>
        <p:txBody>
          <a:bodyPr vert="horz" lIns="91440" tIns="45720" rIns="91440" bIns="45720" rtlCol="0" anchor="b">
            <a:no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pPr algn="l" rtl="0">
              <a:lnSpc>
                <a:spcPct val="100000"/>
              </a:lnSpc>
              <a:spcBef>
                <a:spcPts val="600"/>
              </a:spcBef>
            </a:pPr>
            <a:r>
              <a:rPr lang="fr-FR" sz="4800" b="1" i="0" u="none" baseline="0" dirty="0">
                <a:latin typeface="等线 Light" panose="02010600030101010101" pitchFamily="2" charset="-122"/>
                <a:ea typeface="等线 Light" panose="02010600030101010101" pitchFamily="2" charset="-122"/>
              </a:rPr>
              <a:t>Quels sont les risques et </a:t>
            </a:r>
            <a:r>
              <a:rPr lang="fr-FR" sz="4800" dirty="0" smtClean="0">
                <a:latin typeface="等线 Light" panose="02010600030101010101" pitchFamily="2" charset="-122"/>
                <a:ea typeface="等线 Light" panose="02010600030101010101" pitchFamily="2" charset="-122"/>
              </a:rPr>
              <a:t>difficultés</a:t>
            </a:r>
            <a:r>
              <a:rPr lang="fr-FR" sz="4800" b="1" i="0" u="none" baseline="0" dirty="0" smtClean="0">
                <a:latin typeface="等线 Light" panose="02010600030101010101" pitchFamily="2" charset="-122"/>
                <a:ea typeface="等线 Light" panose="02010600030101010101" pitchFamily="2" charset="-122"/>
              </a:rPr>
              <a:t> </a:t>
            </a:r>
            <a:r>
              <a:rPr lang="fr-FR" sz="4800" b="1" i="0" u="none" baseline="0" dirty="0">
                <a:latin typeface="等线 Light" panose="02010600030101010101" pitchFamily="2" charset="-122"/>
                <a:ea typeface="等线 Light" panose="02010600030101010101" pitchFamily="2" charset="-122"/>
              </a:rPr>
              <a:t>auxquels </a:t>
            </a:r>
            <a:r>
              <a:rPr lang="fr-FR" sz="4800" b="1" i="0" u="none" baseline="0" dirty="0" smtClean="0">
                <a:latin typeface="等线 Light" panose="02010600030101010101" pitchFamily="2" charset="-122"/>
                <a:ea typeface="等线 Light" panose="02010600030101010101" pitchFamily="2" charset="-122"/>
              </a:rPr>
              <a:t>vous êtes </a:t>
            </a:r>
            <a:r>
              <a:rPr lang="fr-FR" sz="4800" b="1" i="0" u="none" baseline="0" dirty="0">
                <a:latin typeface="等线 Light" panose="02010600030101010101" pitchFamily="2" charset="-122"/>
                <a:ea typeface="等线 Light" panose="02010600030101010101" pitchFamily="2" charset="-122"/>
              </a:rPr>
              <a:t>confrontés ?</a:t>
            </a:r>
          </a:p>
        </p:txBody>
      </p:sp>
      <p:grpSp>
        <p:nvGrpSpPr>
          <p:cNvPr id="13" name="Group 2">
            <a:extLst>
              <a:ext uri="{FF2B5EF4-FFF2-40B4-BE49-F238E27FC236}">
                <a16:creationId xmlns:a16="http://schemas.microsoft.com/office/drawing/2014/main" id="{71595EA3-F6C5-45AF-B974-5FDACD8D5EFA}"/>
              </a:ext>
            </a:extLst>
          </p:cNvPr>
          <p:cNvGrpSpPr/>
          <p:nvPr/>
        </p:nvGrpSpPr>
        <p:grpSpPr>
          <a:xfrm>
            <a:off x="7173686" y="2623456"/>
            <a:ext cx="5018314" cy="4133141"/>
            <a:chOff x="1025621" y="1329886"/>
            <a:chExt cx="5728451" cy="4773922"/>
          </a:xfrm>
        </p:grpSpPr>
        <p:grpSp>
          <p:nvGrpSpPr>
            <p:cNvPr id="14" name="Group 73">
              <a:extLst>
                <a:ext uri="{FF2B5EF4-FFF2-40B4-BE49-F238E27FC236}">
                  <a16:creationId xmlns:a16="http://schemas.microsoft.com/office/drawing/2014/main" id="{B26543FA-24CE-4B7D-9F78-2E6AF61E147B}"/>
                </a:ext>
              </a:extLst>
            </p:cNvPr>
            <p:cNvGrpSpPr/>
            <p:nvPr/>
          </p:nvGrpSpPr>
          <p:grpSpPr>
            <a:xfrm>
              <a:off x="1759922" y="1329886"/>
              <a:ext cx="2188336" cy="2580138"/>
              <a:chOff x="9029561" y="1231459"/>
              <a:chExt cx="2188336" cy="2580138"/>
            </a:xfrm>
          </p:grpSpPr>
          <p:grpSp>
            <p:nvGrpSpPr>
              <p:cNvPr id="58" name="Group 72">
                <a:extLst>
                  <a:ext uri="{FF2B5EF4-FFF2-40B4-BE49-F238E27FC236}">
                    <a16:creationId xmlns:a16="http://schemas.microsoft.com/office/drawing/2014/main" id="{E0D4E249-B3C8-43DD-BD6F-02A4D7A65F99}"/>
                  </a:ext>
                </a:extLst>
              </p:cNvPr>
              <p:cNvGrpSpPr/>
              <p:nvPr/>
            </p:nvGrpSpPr>
            <p:grpSpPr>
              <a:xfrm>
                <a:off x="9776161" y="1231459"/>
                <a:ext cx="1441736" cy="2580138"/>
                <a:chOff x="9965756" y="1164268"/>
                <a:chExt cx="1451555" cy="2597713"/>
              </a:xfrm>
            </p:grpSpPr>
            <p:sp>
              <p:nvSpPr>
                <p:cNvPr id="80" name="Shape 16">
                  <a:extLst>
                    <a:ext uri="{FF2B5EF4-FFF2-40B4-BE49-F238E27FC236}">
                      <a16:creationId xmlns:a16="http://schemas.microsoft.com/office/drawing/2014/main" id="{829531D3-1B4F-4532-B446-FB52595A83F8}"/>
                    </a:ext>
                  </a:extLst>
                </p:cNvPr>
                <p:cNvSpPr/>
                <p:nvPr/>
              </p:nvSpPr>
              <p:spPr>
                <a:xfrm>
                  <a:off x="10838599" y="1164268"/>
                  <a:ext cx="502296" cy="728841"/>
                </a:xfrm>
                <a:custGeom>
                  <a:avLst/>
                  <a:gdLst/>
                  <a:ahLst/>
                  <a:cxnLst>
                    <a:cxn ang="0">
                      <a:pos x="wd2" y="hd2"/>
                    </a:cxn>
                    <a:cxn ang="5400000">
                      <a:pos x="wd2" y="hd2"/>
                    </a:cxn>
                    <a:cxn ang="10800000">
                      <a:pos x="wd2" y="hd2"/>
                    </a:cxn>
                    <a:cxn ang="16200000">
                      <a:pos x="wd2" y="hd2"/>
                    </a:cxn>
                  </a:cxnLst>
                  <a:rect l="0" t="0" r="r" b="b"/>
                  <a:pathLst>
                    <a:path w="20196" h="20210" extrusionOk="0">
                      <a:moveTo>
                        <a:pt x="18230" y="2224"/>
                      </a:moveTo>
                      <a:cubicBezTo>
                        <a:pt x="13728" y="1481"/>
                        <a:pt x="10155" y="7416"/>
                        <a:pt x="8690" y="9508"/>
                      </a:cubicBezTo>
                      <a:cubicBezTo>
                        <a:pt x="6447" y="12709"/>
                        <a:pt x="4755" y="16088"/>
                        <a:pt x="3128" y="19458"/>
                      </a:cubicBezTo>
                      <a:cubicBezTo>
                        <a:pt x="2489" y="20781"/>
                        <a:pt x="-555" y="20214"/>
                        <a:pt x="88" y="18880"/>
                      </a:cubicBezTo>
                      <a:cubicBezTo>
                        <a:pt x="2091" y="14731"/>
                        <a:pt x="4267" y="10611"/>
                        <a:pt x="7193" y="6722"/>
                      </a:cubicBezTo>
                      <a:cubicBezTo>
                        <a:pt x="9393" y="3800"/>
                        <a:pt x="13332" y="-819"/>
                        <a:pt x="19067" y="126"/>
                      </a:cubicBezTo>
                      <a:cubicBezTo>
                        <a:pt x="21045" y="452"/>
                        <a:pt x="20206" y="2546"/>
                        <a:pt x="18230" y="2224"/>
                      </a:cubicBezTo>
                      <a:cubicBezTo>
                        <a:pt x="18230" y="2224"/>
                        <a:pt x="18230" y="2224"/>
                        <a:pt x="18230" y="2224"/>
                      </a:cubicBezTo>
                      <a:close/>
                    </a:path>
                  </a:pathLst>
                </a:custGeom>
                <a:solidFill>
                  <a:srgbClr val="FEFAC9">
                    <a:lumMod val="60000"/>
                    <a:lumOff val="4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1" name="Shape 17">
                  <a:extLst>
                    <a:ext uri="{FF2B5EF4-FFF2-40B4-BE49-F238E27FC236}">
                      <a16:creationId xmlns:a16="http://schemas.microsoft.com/office/drawing/2014/main" id="{4F0EA44E-A98D-45DE-AD21-2446212B2719}"/>
                    </a:ext>
                  </a:extLst>
                </p:cNvPr>
                <p:cNvSpPr/>
                <p:nvPr/>
              </p:nvSpPr>
              <p:spPr>
                <a:xfrm>
                  <a:off x="9965756" y="1857615"/>
                  <a:ext cx="1437374" cy="1904366"/>
                </a:xfrm>
                <a:custGeom>
                  <a:avLst/>
                  <a:gdLst/>
                  <a:ahLst/>
                  <a:cxnLst>
                    <a:cxn ang="0">
                      <a:pos x="wd2" y="hd2"/>
                    </a:cxn>
                    <a:cxn ang="5400000">
                      <a:pos x="wd2" y="hd2"/>
                    </a:cxn>
                    <a:cxn ang="10800000">
                      <a:pos x="wd2" y="hd2"/>
                    </a:cxn>
                    <a:cxn ang="16200000">
                      <a:pos x="wd2" y="hd2"/>
                    </a:cxn>
                  </a:cxnLst>
                  <a:rect l="0" t="0" r="r" b="b"/>
                  <a:pathLst>
                    <a:path w="21438" h="21500" extrusionOk="0">
                      <a:moveTo>
                        <a:pt x="21396" y="4853"/>
                      </a:moveTo>
                      <a:cubicBezTo>
                        <a:pt x="21514" y="4568"/>
                        <a:pt x="21376" y="4168"/>
                        <a:pt x="21089" y="3963"/>
                      </a:cubicBezTo>
                      <a:lnTo>
                        <a:pt x="15950" y="302"/>
                      </a:lnTo>
                      <a:cubicBezTo>
                        <a:pt x="15663" y="98"/>
                        <a:pt x="15109" y="-35"/>
                        <a:pt x="14719" y="8"/>
                      </a:cubicBezTo>
                      <a:lnTo>
                        <a:pt x="7736" y="776"/>
                      </a:lnTo>
                      <a:cubicBezTo>
                        <a:pt x="7346" y="819"/>
                        <a:pt x="6930" y="1086"/>
                        <a:pt x="6811" y="1371"/>
                      </a:cubicBezTo>
                      <a:lnTo>
                        <a:pt x="33" y="17639"/>
                      </a:lnTo>
                      <a:cubicBezTo>
                        <a:pt x="-86" y="17924"/>
                        <a:pt x="125" y="18230"/>
                        <a:pt x="501" y="18320"/>
                      </a:cubicBezTo>
                      <a:lnTo>
                        <a:pt x="6426" y="19734"/>
                      </a:lnTo>
                      <a:cubicBezTo>
                        <a:pt x="6802" y="19824"/>
                        <a:pt x="7417" y="19971"/>
                        <a:pt x="7793" y="20061"/>
                      </a:cubicBezTo>
                      <a:lnTo>
                        <a:pt x="13718" y="21475"/>
                      </a:lnTo>
                      <a:cubicBezTo>
                        <a:pt x="14094" y="21565"/>
                        <a:pt x="14498" y="21405"/>
                        <a:pt x="14617" y="21121"/>
                      </a:cubicBezTo>
                      <a:cubicBezTo>
                        <a:pt x="14617" y="21121"/>
                        <a:pt x="21396" y="4853"/>
                        <a:pt x="21396" y="4853"/>
                      </a:cubicBezTo>
                      <a:close/>
                    </a:path>
                  </a:pathLst>
                </a:custGeom>
                <a:solidFill>
                  <a:sysClr val="windowText" lastClr="000000"/>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2" name="Shape 18">
                  <a:extLst>
                    <a:ext uri="{FF2B5EF4-FFF2-40B4-BE49-F238E27FC236}">
                      <a16:creationId xmlns:a16="http://schemas.microsoft.com/office/drawing/2014/main" id="{D80879A4-9ACA-4402-93E9-B35A26ED179A}"/>
                    </a:ext>
                  </a:extLst>
                </p:cNvPr>
                <p:cNvSpPr/>
                <p:nvPr/>
              </p:nvSpPr>
              <p:spPr>
                <a:xfrm>
                  <a:off x="10831560" y="1970240"/>
                  <a:ext cx="206393" cy="213095"/>
                </a:xfrm>
                <a:custGeom>
                  <a:avLst/>
                  <a:gdLst/>
                  <a:ahLst/>
                  <a:cxnLst>
                    <a:cxn ang="0">
                      <a:pos x="wd2" y="hd2"/>
                    </a:cxn>
                    <a:cxn ang="5400000">
                      <a:pos x="wd2" y="hd2"/>
                    </a:cxn>
                    <a:cxn ang="10800000">
                      <a:pos x="wd2" y="hd2"/>
                    </a:cxn>
                    <a:cxn ang="16200000">
                      <a:pos x="wd2" y="hd2"/>
                    </a:cxn>
                  </a:cxnLst>
                  <a:rect l="0" t="0" r="r" b="b"/>
                  <a:pathLst>
                    <a:path w="19250" h="19337" extrusionOk="0">
                      <a:moveTo>
                        <a:pt x="483" y="6865"/>
                      </a:moveTo>
                      <a:cubicBezTo>
                        <a:pt x="2137" y="1757"/>
                        <a:pt x="7571" y="-1132"/>
                        <a:pt x="12623" y="419"/>
                      </a:cubicBezTo>
                      <a:cubicBezTo>
                        <a:pt x="17672" y="1972"/>
                        <a:pt x="20423" y="7368"/>
                        <a:pt x="18769" y="12473"/>
                      </a:cubicBezTo>
                      <a:cubicBezTo>
                        <a:pt x="17111" y="17583"/>
                        <a:pt x="11677" y="20468"/>
                        <a:pt x="6626" y="18919"/>
                      </a:cubicBezTo>
                      <a:cubicBezTo>
                        <a:pt x="1579" y="17369"/>
                        <a:pt x="-1177" y="11972"/>
                        <a:pt x="483" y="6865"/>
                      </a:cubicBezTo>
                      <a:close/>
                    </a:path>
                  </a:pathLst>
                </a:custGeom>
                <a:solidFill>
                  <a:srgbClr val="E7BC29">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3" name="Shape 19">
                  <a:extLst>
                    <a:ext uri="{FF2B5EF4-FFF2-40B4-BE49-F238E27FC236}">
                      <a16:creationId xmlns:a16="http://schemas.microsoft.com/office/drawing/2014/main" id="{B0F45A2B-EA88-4B4E-ABFE-0D0170CA16AC}"/>
                    </a:ext>
                  </a:extLst>
                </p:cNvPr>
                <p:cNvSpPr/>
                <p:nvPr/>
              </p:nvSpPr>
              <p:spPr>
                <a:xfrm>
                  <a:off x="10870275" y="2012475"/>
                  <a:ext cx="124509" cy="128588"/>
                </a:xfrm>
                <a:custGeom>
                  <a:avLst/>
                  <a:gdLst/>
                  <a:ahLst/>
                  <a:cxnLst>
                    <a:cxn ang="0">
                      <a:pos x="wd2" y="hd2"/>
                    </a:cxn>
                    <a:cxn ang="5400000">
                      <a:pos x="wd2" y="hd2"/>
                    </a:cxn>
                    <a:cxn ang="10800000">
                      <a:pos x="wd2" y="hd2"/>
                    </a:cxn>
                    <a:cxn ang="16200000">
                      <a:pos x="wd2" y="hd2"/>
                    </a:cxn>
                  </a:cxnLst>
                  <a:rect l="0" t="0" r="r" b="b"/>
                  <a:pathLst>
                    <a:path w="19250" h="19336" extrusionOk="0">
                      <a:moveTo>
                        <a:pt x="484" y="6864"/>
                      </a:moveTo>
                      <a:cubicBezTo>
                        <a:pt x="2139" y="1760"/>
                        <a:pt x="7568" y="-1130"/>
                        <a:pt x="12617" y="417"/>
                      </a:cubicBezTo>
                      <a:cubicBezTo>
                        <a:pt x="17675" y="1969"/>
                        <a:pt x="20424" y="7369"/>
                        <a:pt x="18768" y="12473"/>
                      </a:cubicBezTo>
                      <a:cubicBezTo>
                        <a:pt x="17109" y="17583"/>
                        <a:pt x="11680" y="20470"/>
                        <a:pt x="6621" y="18914"/>
                      </a:cubicBezTo>
                      <a:cubicBezTo>
                        <a:pt x="1571" y="17371"/>
                        <a:pt x="-1176" y="11971"/>
                        <a:pt x="484" y="6864"/>
                      </a:cubicBezTo>
                      <a:close/>
                    </a:path>
                  </a:pathLst>
                </a:cu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4" name="Shape 20">
                  <a:extLst>
                    <a:ext uri="{FF2B5EF4-FFF2-40B4-BE49-F238E27FC236}">
                      <a16:creationId xmlns:a16="http://schemas.microsoft.com/office/drawing/2014/main" id="{744256C8-8590-4C94-8431-B302B43C4913}"/>
                    </a:ext>
                  </a:extLst>
                </p:cNvPr>
                <p:cNvSpPr/>
                <p:nvPr/>
              </p:nvSpPr>
              <p:spPr>
                <a:xfrm>
                  <a:off x="10162849" y="2279959"/>
                  <a:ext cx="991561" cy="1266328"/>
                </a:xfrm>
                <a:custGeom>
                  <a:avLst/>
                  <a:gdLst/>
                  <a:ahLst/>
                  <a:cxnLst>
                    <a:cxn ang="0">
                      <a:pos x="wd2" y="hd2"/>
                    </a:cxn>
                    <a:cxn ang="5400000">
                      <a:pos x="wd2" y="hd2"/>
                    </a:cxn>
                    <a:cxn ang="10800000">
                      <a:pos x="wd2" y="hd2"/>
                    </a:cxn>
                    <a:cxn ang="16200000">
                      <a:pos x="wd2" y="hd2"/>
                    </a:cxn>
                  </a:cxnLst>
                  <a:rect l="0" t="0" r="r" b="b"/>
                  <a:pathLst>
                    <a:path w="21438" h="21533" extrusionOk="0">
                      <a:moveTo>
                        <a:pt x="21396" y="4236"/>
                      </a:moveTo>
                      <a:cubicBezTo>
                        <a:pt x="21515" y="3940"/>
                        <a:pt x="21377" y="3525"/>
                        <a:pt x="21090" y="3311"/>
                      </a:cubicBezTo>
                      <a:lnTo>
                        <a:pt x="7737" y="0"/>
                      </a:lnTo>
                      <a:cubicBezTo>
                        <a:pt x="7346" y="45"/>
                        <a:pt x="6930" y="323"/>
                        <a:pt x="6812" y="619"/>
                      </a:cubicBezTo>
                      <a:lnTo>
                        <a:pt x="33" y="17521"/>
                      </a:lnTo>
                      <a:cubicBezTo>
                        <a:pt x="-85" y="17816"/>
                        <a:pt x="125" y="18135"/>
                        <a:pt x="501" y="18228"/>
                      </a:cubicBezTo>
                      <a:lnTo>
                        <a:pt x="6426" y="19698"/>
                      </a:lnTo>
                      <a:cubicBezTo>
                        <a:pt x="6802" y="19791"/>
                        <a:pt x="7418" y="19943"/>
                        <a:pt x="7794" y="20036"/>
                      </a:cubicBezTo>
                      <a:lnTo>
                        <a:pt x="13718" y="21506"/>
                      </a:lnTo>
                      <a:cubicBezTo>
                        <a:pt x="14094" y="21600"/>
                        <a:pt x="14499" y="21433"/>
                        <a:pt x="14618" y="21138"/>
                      </a:cubicBezTo>
                      <a:cubicBezTo>
                        <a:pt x="14618" y="21138"/>
                        <a:pt x="21396" y="4236"/>
                        <a:pt x="21396" y="4236"/>
                      </a:cubicBezTo>
                      <a:close/>
                    </a:path>
                  </a:pathLst>
                </a:custGeom>
                <a:solidFill>
                  <a:srgbClr val="E7BC29">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5" name="Shape 21">
                  <a:extLst>
                    <a:ext uri="{FF2B5EF4-FFF2-40B4-BE49-F238E27FC236}">
                      <a16:creationId xmlns:a16="http://schemas.microsoft.com/office/drawing/2014/main" id="{125E17A4-5D3D-41F3-A808-77F37CEE4595}"/>
                    </a:ext>
                  </a:extLst>
                </p:cNvPr>
                <p:cNvSpPr/>
                <p:nvPr/>
              </p:nvSpPr>
              <p:spPr>
                <a:xfrm>
                  <a:off x="10916029" y="1174827"/>
                  <a:ext cx="501282" cy="950526"/>
                </a:xfrm>
                <a:custGeom>
                  <a:avLst/>
                  <a:gdLst/>
                  <a:ahLst/>
                  <a:cxnLst>
                    <a:cxn ang="0">
                      <a:pos x="wd2" y="hd2"/>
                    </a:cxn>
                    <a:cxn ang="5400000">
                      <a:pos x="wd2" y="hd2"/>
                    </a:cxn>
                    <a:cxn ang="10800000">
                      <a:pos x="wd2" y="hd2"/>
                    </a:cxn>
                    <a:cxn ang="16200000">
                      <a:pos x="wd2" y="hd2"/>
                    </a:cxn>
                  </a:cxnLst>
                  <a:rect l="0" t="0" r="r" b="b"/>
                  <a:pathLst>
                    <a:path w="18328" h="20718" extrusionOk="0">
                      <a:moveTo>
                        <a:pt x="744" y="19155"/>
                      </a:moveTo>
                      <a:cubicBezTo>
                        <a:pt x="6743" y="17516"/>
                        <a:pt x="9050" y="14535"/>
                        <a:pt x="11545" y="11111"/>
                      </a:cubicBezTo>
                      <a:cubicBezTo>
                        <a:pt x="13397" y="8571"/>
                        <a:pt x="18083" y="3840"/>
                        <a:pt x="13772" y="1445"/>
                      </a:cubicBezTo>
                      <a:cubicBezTo>
                        <a:pt x="12416" y="692"/>
                        <a:pt x="14448" y="-513"/>
                        <a:pt x="15798" y="237"/>
                      </a:cubicBezTo>
                      <a:cubicBezTo>
                        <a:pt x="20666" y="2939"/>
                        <a:pt x="17407" y="7436"/>
                        <a:pt x="15162" y="10449"/>
                      </a:cubicBezTo>
                      <a:cubicBezTo>
                        <a:pt x="12065" y="14611"/>
                        <a:pt x="9557" y="18617"/>
                        <a:pt x="2191" y="20632"/>
                      </a:cubicBezTo>
                      <a:cubicBezTo>
                        <a:pt x="524" y="21087"/>
                        <a:pt x="-934" y="19614"/>
                        <a:pt x="744" y="19155"/>
                      </a:cubicBezTo>
                      <a:cubicBezTo>
                        <a:pt x="744" y="19155"/>
                        <a:pt x="744" y="19155"/>
                        <a:pt x="744" y="19155"/>
                      </a:cubicBezTo>
                      <a:close/>
                    </a:path>
                  </a:pathLst>
                </a:custGeom>
                <a:solidFill>
                  <a:srgbClr val="FEFAC9">
                    <a:lumMod val="40000"/>
                    <a:lumOff val="6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86" name="Shape 22">
                  <a:extLst>
                    <a:ext uri="{FF2B5EF4-FFF2-40B4-BE49-F238E27FC236}">
                      <a16:creationId xmlns:a16="http://schemas.microsoft.com/office/drawing/2014/main" id="{79C49614-012D-4177-92AF-087869541797}"/>
                    </a:ext>
                  </a:extLst>
                </p:cNvPr>
                <p:cNvSpPr/>
                <p:nvPr/>
              </p:nvSpPr>
              <p:spPr>
                <a:xfrm>
                  <a:off x="10377541" y="2561521"/>
                  <a:ext cx="484874" cy="771397"/>
                </a:xfrm>
                <a:custGeom>
                  <a:avLst/>
                  <a:gdLst/>
                  <a:ahLst/>
                  <a:cxnLst>
                    <a:cxn ang="0">
                      <a:pos x="wd2" y="hd2"/>
                    </a:cxn>
                    <a:cxn ang="5400000">
                      <a:pos x="wd2" y="hd2"/>
                    </a:cxn>
                    <a:cxn ang="10800000">
                      <a:pos x="wd2" y="hd2"/>
                    </a:cxn>
                    <a:cxn ang="16200000">
                      <a:pos x="wd2" y="hd2"/>
                    </a:cxn>
                  </a:cxnLst>
                  <a:rect l="0" t="0" r="r" b="b"/>
                  <a:pathLst>
                    <a:path w="21600" h="21600" extrusionOk="0">
                      <a:moveTo>
                        <a:pt x="4352" y="21077"/>
                      </a:moveTo>
                      <a:lnTo>
                        <a:pt x="5685" y="18476"/>
                      </a:lnTo>
                      <a:cubicBezTo>
                        <a:pt x="3323" y="17970"/>
                        <a:pt x="1105" y="17008"/>
                        <a:pt x="0" y="16074"/>
                      </a:cubicBezTo>
                      <a:lnTo>
                        <a:pt x="1867" y="14549"/>
                      </a:lnTo>
                      <a:cubicBezTo>
                        <a:pt x="3027" y="15465"/>
                        <a:pt x="4905" y="16386"/>
                        <a:pt x="7196" y="16852"/>
                      </a:cubicBezTo>
                      <a:cubicBezTo>
                        <a:pt x="10105" y="17441"/>
                        <a:pt x="12612" y="16784"/>
                        <a:pt x="13365" y="15316"/>
                      </a:cubicBezTo>
                      <a:cubicBezTo>
                        <a:pt x="14091" y="13900"/>
                        <a:pt x="12943" y="12701"/>
                        <a:pt x="10308" y="11315"/>
                      </a:cubicBezTo>
                      <a:cubicBezTo>
                        <a:pt x="6659" y="9438"/>
                        <a:pt x="4687" y="7731"/>
                        <a:pt x="5835" y="5491"/>
                      </a:cubicBezTo>
                      <a:cubicBezTo>
                        <a:pt x="6932" y="3355"/>
                        <a:pt x="10179" y="2223"/>
                        <a:pt x="14147" y="2601"/>
                      </a:cubicBezTo>
                      <a:lnTo>
                        <a:pt x="15482" y="0"/>
                      </a:lnTo>
                      <a:lnTo>
                        <a:pt x="18020" y="515"/>
                      </a:lnTo>
                      <a:lnTo>
                        <a:pt x="16739" y="3012"/>
                      </a:lnTo>
                      <a:cubicBezTo>
                        <a:pt x="19172" y="3562"/>
                        <a:pt x="20639" y="4315"/>
                        <a:pt x="21600" y="4993"/>
                      </a:cubicBezTo>
                      <a:lnTo>
                        <a:pt x="19707" y="6484"/>
                      </a:lnTo>
                      <a:cubicBezTo>
                        <a:pt x="19004" y="6001"/>
                        <a:pt x="17616" y="5094"/>
                        <a:pt x="14994" y="4563"/>
                      </a:cubicBezTo>
                      <a:cubicBezTo>
                        <a:pt x="11840" y="3923"/>
                        <a:pt x="10047" y="4866"/>
                        <a:pt x="9518" y="5896"/>
                      </a:cubicBezTo>
                      <a:cubicBezTo>
                        <a:pt x="8831" y="7235"/>
                        <a:pt x="10002" y="8210"/>
                        <a:pt x="13090" y="9860"/>
                      </a:cubicBezTo>
                      <a:cubicBezTo>
                        <a:pt x="16753" y="11796"/>
                        <a:pt x="18196" y="13567"/>
                        <a:pt x="17021" y="15858"/>
                      </a:cubicBezTo>
                      <a:cubicBezTo>
                        <a:pt x="15977" y="17892"/>
                        <a:pt x="12748" y="19341"/>
                        <a:pt x="8306" y="18922"/>
                      </a:cubicBezTo>
                      <a:lnTo>
                        <a:pt x="6932" y="21600"/>
                      </a:lnTo>
                      <a:cubicBezTo>
                        <a:pt x="6932" y="21600"/>
                        <a:pt x="4352" y="21077"/>
                        <a:pt x="4352" y="21077"/>
                      </a:cubicBezTo>
                      <a:close/>
                    </a:path>
                  </a:pathLst>
                </a:custGeom>
                <a:solidFill>
                  <a:sysClr val="windowText" lastClr="000000"/>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grpSp>
          <p:sp>
            <p:nvSpPr>
              <p:cNvPr id="59" name="Shape 6">
                <a:extLst>
                  <a:ext uri="{FF2B5EF4-FFF2-40B4-BE49-F238E27FC236}">
                    <a16:creationId xmlns:a16="http://schemas.microsoft.com/office/drawing/2014/main" id="{1A34486E-F8A6-4F79-AE6B-A2217C40E378}"/>
                  </a:ext>
                </a:extLst>
              </p:cNvPr>
              <p:cNvSpPr/>
              <p:nvPr/>
            </p:nvSpPr>
            <p:spPr>
              <a:xfrm>
                <a:off x="9075315" y="2336271"/>
                <a:ext cx="1047423" cy="11707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0"/>
                    </a:lnTo>
                    <a:lnTo>
                      <a:pt x="2297" y="20488"/>
                    </a:lnTo>
                    <a:lnTo>
                      <a:pt x="10800" y="21600"/>
                    </a:lnTo>
                    <a:lnTo>
                      <a:pt x="19303" y="20488"/>
                    </a:lnTo>
                    <a:lnTo>
                      <a:pt x="21600" y="0"/>
                    </a:lnTo>
                    <a:cubicBezTo>
                      <a:pt x="21600" y="0"/>
                      <a:pt x="10800" y="0"/>
                      <a:pt x="10800" y="0"/>
                    </a:cubicBezTo>
                    <a:close/>
                  </a:path>
                </a:pathLst>
              </a:custGeom>
              <a:solidFill>
                <a:srgbClr val="9C85C0">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0" name="Shape 7">
                <a:extLst>
                  <a:ext uri="{FF2B5EF4-FFF2-40B4-BE49-F238E27FC236}">
                    <a16:creationId xmlns:a16="http://schemas.microsoft.com/office/drawing/2014/main" id="{CA15ADF1-A43B-496A-A021-6DF2401D6082}"/>
                  </a:ext>
                </a:extLst>
              </p:cNvPr>
              <p:cNvSpPr/>
              <p:nvPr/>
            </p:nvSpPr>
            <p:spPr>
              <a:xfrm>
                <a:off x="9990393" y="2336271"/>
                <a:ext cx="130216" cy="111043"/>
              </a:xfrm>
              <a:custGeom>
                <a:avLst/>
                <a:gdLst/>
                <a:ahLst/>
                <a:cxnLst>
                  <a:cxn ang="0">
                    <a:pos x="wd2" y="hd2"/>
                  </a:cxn>
                  <a:cxn ang="5400000">
                    <a:pos x="wd2" y="hd2"/>
                  </a:cxn>
                  <a:cxn ang="10800000">
                    <a:pos x="wd2" y="hd2"/>
                  </a:cxn>
                  <a:cxn ang="16200000">
                    <a:pos x="wd2" y="hd2"/>
                  </a:cxn>
                </a:cxnLst>
                <a:rect l="0" t="0" r="r" b="b"/>
                <a:pathLst>
                  <a:path w="21600" h="21600" extrusionOk="0">
                    <a:moveTo>
                      <a:pt x="21600" y="14584"/>
                    </a:moveTo>
                    <a:lnTo>
                      <a:pt x="21600" y="0"/>
                    </a:lnTo>
                    <a:lnTo>
                      <a:pt x="0" y="7323"/>
                    </a:lnTo>
                    <a:lnTo>
                      <a:pt x="0" y="21600"/>
                    </a:lnTo>
                    <a:cubicBezTo>
                      <a:pt x="0" y="21600"/>
                      <a:pt x="21600" y="14584"/>
                      <a:pt x="21600" y="14584"/>
                    </a:cubicBezTo>
                    <a:close/>
                  </a:path>
                </a:pathLst>
              </a:custGeom>
              <a:solidFill>
                <a:srgbClr val="9C85C0"/>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1" name="Shape 8">
                <a:extLst>
                  <a:ext uri="{FF2B5EF4-FFF2-40B4-BE49-F238E27FC236}">
                    <a16:creationId xmlns:a16="http://schemas.microsoft.com/office/drawing/2014/main" id="{ADF5BBB4-D8BB-4A84-A7B6-52901D9DB591}"/>
                  </a:ext>
                </a:extLst>
              </p:cNvPr>
              <p:cNvSpPr/>
              <p:nvPr/>
            </p:nvSpPr>
            <p:spPr>
              <a:xfrm>
                <a:off x="9990393" y="2374987"/>
                <a:ext cx="156204" cy="639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10803"/>
                    </a:lnTo>
                    <a:cubicBezTo>
                      <a:pt x="21600" y="10803"/>
                      <a:pt x="0" y="0"/>
                      <a:pt x="0" y="0"/>
                    </a:cubicBezTo>
                    <a:close/>
                  </a:path>
                </a:pathLst>
              </a:custGeom>
              <a:solidFill>
                <a:srgbClr val="9C85C0">
                  <a:lumMod val="5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2" name="Shape 9">
                <a:extLst>
                  <a:ext uri="{FF2B5EF4-FFF2-40B4-BE49-F238E27FC236}">
                    <a16:creationId xmlns:a16="http://schemas.microsoft.com/office/drawing/2014/main" id="{525FE5D2-7A02-46AF-AB8E-5AB5AC3E6F5C}"/>
                  </a:ext>
                </a:extLst>
              </p:cNvPr>
              <p:cNvSpPr/>
              <p:nvPr/>
            </p:nvSpPr>
            <p:spPr>
              <a:xfrm>
                <a:off x="9075315" y="2336271"/>
                <a:ext cx="130216" cy="111043"/>
              </a:xfrm>
              <a:custGeom>
                <a:avLst/>
                <a:gdLst/>
                <a:ahLst/>
                <a:cxnLst>
                  <a:cxn ang="0">
                    <a:pos x="wd2" y="hd2"/>
                  </a:cxn>
                  <a:cxn ang="5400000">
                    <a:pos x="wd2" y="hd2"/>
                  </a:cxn>
                  <a:cxn ang="10800000">
                    <a:pos x="wd2" y="hd2"/>
                  </a:cxn>
                  <a:cxn ang="16200000">
                    <a:pos x="wd2" y="hd2"/>
                  </a:cxn>
                </a:cxnLst>
                <a:rect l="0" t="0" r="r" b="b"/>
                <a:pathLst>
                  <a:path w="21600" h="21600" extrusionOk="0">
                    <a:moveTo>
                      <a:pt x="0" y="14584"/>
                    </a:moveTo>
                    <a:lnTo>
                      <a:pt x="0" y="0"/>
                    </a:lnTo>
                    <a:lnTo>
                      <a:pt x="21600" y="7323"/>
                    </a:lnTo>
                    <a:lnTo>
                      <a:pt x="21600" y="21600"/>
                    </a:lnTo>
                    <a:cubicBezTo>
                      <a:pt x="21600" y="21600"/>
                      <a:pt x="0" y="14584"/>
                      <a:pt x="0" y="14584"/>
                    </a:cubicBezTo>
                    <a:close/>
                  </a:path>
                </a:pathLst>
              </a:custGeom>
              <a:solidFill>
                <a:srgbClr val="9C85C0"/>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3" name="Shape 10">
                <a:extLst>
                  <a:ext uri="{FF2B5EF4-FFF2-40B4-BE49-F238E27FC236}">
                    <a16:creationId xmlns:a16="http://schemas.microsoft.com/office/drawing/2014/main" id="{457ED95A-5D42-4D83-9701-2EDCCE4296F6}"/>
                  </a:ext>
                </a:extLst>
              </p:cNvPr>
              <p:cNvSpPr/>
              <p:nvPr/>
            </p:nvSpPr>
            <p:spPr>
              <a:xfrm>
                <a:off x="9047159" y="2374987"/>
                <a:ext cx="156206" cy="639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10803"/>
                    </a:lnTo>
                    <a:cubicBezTo>
                      <a:pt x="0" y="10803"/>
                      <a:pt x="21600" y="0"/>
                      <a:pt x="21600" y="0"/>
                    </a:cubicBezTo>
                    <a:close/>
                  </a:path>
                </a:pathLst>
              </a:custGeom>
              <a:solidFill>
                <a:srgbClr val="9C85C0">
                  <a:lumMod val="5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4" name="Shape 11">
                <a:extLst>
                  <a:ext uri="{FF2B5EF4-FFF2-40B4-BE49-F238E27FC236}">
                    <a16:creationId xmlns:a16="http://schemas.microsoft.com/office/drawing/2014/main" id="{05E885AC-6F2E-485A-B895-97FADFD7F589}"/>
                  </a:ext>
                </a:extLst>
              </p:cNvPr>
              <p:cNvSpPr/>
              <p:nvPr/>
            </p:nvSpPr>
            <p:spPr>
              <a:xfrm>
                <a:off x="9040120" y="2406662"/>
                <a:ext cx="1121039" cy="954181"/>
              </a:xfrm>
              <a:custGeom>
                <a:avLst/>
                <a:gdLst/>
                <a:ahLst/>
                <a:cxnLst>
                  <a:cxn ang="0">
                    <a:pos x="wd2" y="hd2"/>
                  </a:cxn>
                  <a:cxn ang="5400000">
                    <a:pos x="wd2" y="hd2"/>
                  </a:cxn>
                  <a:cxn ang="10800000">
                    <a:pos x="wd2" y="hd2"/>
                  </a:cxn>
                  <a:cxn ang="16200000">
                    <a:pos x="wd2" y="hd2"/>
                  </a:cxn>
                </a:cxnLst>
                <a:rect l="0" t="0" r="r" b="b"/>
                <a:pathLst>
                  <a:path w="21600" h="21600" extrusionOk="0">
                    <a:moveTo>
                      <a:pt x="21344" y="0"/>
                    </a:moveTo>
                    <a:lnTo>
                      <a:pt x="10753" y="0"/>
                    </a:lnTo>
                    <a:lnTo>
                      <a:pt x="161" y="0"/>
                    </a:lnTo>
                    <a:lnTo>
                      <a:pt x="0" y="21600"/>
                    </a:lnTo>
                    <a:lnTo>
                      <a:pt x="10753" y="21600"/>
                    </a:lnTo>
                    <a:lnTo>
                      <a:pt x="21600" y="21600"/>
                    </a:lnTo>
                    <a:cubicBezTo>
                      <a:pt x="21600" y="21600"/>
                      <a:pt x="21344" y="0"/>
                      <a:pt x="21344" y="0"/>
                    </a:cubicBezTo>
                    <a:close/>
                  </a:path>
                </a:pathLst>
              </a:custGeom>
              <a:solidFill>
                <a:srgbClr val="FEFAC9">
                  <a:lumMod val="5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5" name="Shape 12">
                <a:extLst>
                  <a:ext uri="{FF2B5EF4-FFF2-40B4-BE49-F238E27FC236}">
                    <a16:creationId xmlns:a16="http://schemas.microsoft.com/office/drawing/2014/main" id="{7D8821AF-B68F-4CA5-B727-668E4891ECDD}"/>
                  </a:ext>
                </a:extLst>
              </p:cNvPr>
              <p:cNvSpPr/>
              <p:nvPr/>
            </p:nvSpPr>
            <p:spPr>
              <a:xfrm>
                <a:off x="9789779" y="2424260"/>
                <a:ext cx="38182" cy="38148"/>
              </a:xfrm>
              <a:custGeom>
                <a:avLst/>
                <a:gdLst/>
                <a:ahLst/>
                <a:cxnLst>
                  <a:cxn ang="0">
                    <a:pos x="wd2" y="hd2"/>
                  </a:cxn>
                  <a:cxn ang="5400000">
                    <a:pos x="wd2" y="hd2"/>
                  </a:cxn>
                  <a:cxn ang="10800000">
                    <a:pos x="wd2" y="hd2"/>
                  </a:cxn>
                  <a:cxn ang="16200000">
                    <a:pos x="wd2" y="hd2"/>
                  </a:cxn>
                </a:cxnLst>
                <a:rect l="0" t="0" r="r" b="b"/>
                <a:pathLst>
                  <a:path w="21600" h="21600" extrusionOk="0">
                    <a:moveTo>
                      <a:pt x="0" y="10810"/>
                    </a:moveTo>
                    <a:cubicBezTo>
                      <a:pt x="0" y="16765"/>
                      <a:pt x="4850" y="21600"/>
                      <a:pt x="10800" y="21600"/>
                    </a:cubicBezTo>
                    <a:cubicBezTo>
                      <a:pt x="16769" y="21600"/>
                      <a:pt x="21600" y="16765"/>
                      <a:pt x="21600" y="10810"/>
                    </a:cubicBezTo>
                    <a:cubicBezTo>
                      <a:pt x="21600" y="4836"/>
                      <a:pt x="16769" y="0"/>
                      <a:pt x="10800" y="0"/>
                    </a:cubicBezTo>
                    <a:cubicBezTo>
                      <a:pt x="4850" y="0"/>
                      <a:pt x="0" y="4836"/>
                      <a:pt x="0" y="10810"/>
                    </a:cubicBezTo>
                    <a:close/>
                  </a:path>
                </a:pathLst>
              </a:custGeom>
              <a:solidFill>
                <a:srgbClr val="9C85C0">
                  <a:lumMod val="5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6" name="Shape 13">
                <a:extLst>
                  <a:ext uri="{FF2B5EF4-FFF2-40B4-BE49-F238E27FC236}">
                    <a16:creationId xmlns:a16="http://schemas.microsoft.com/office/drawing/2014/main" id="{61DFC7D0-8DE5-43AA-8890-B5224C0589BA}"/>
                  </a:ext>
                </a:extLst>
              </p:cNvPr>
              <p:cNvSpPr/>
              <p:nvPr/>
            </p:nvSpPr>
            <p:spPr>
              <a:xfrm>
                <a:off x="9367436" y="2424260"/>
                <a:ext cx="38148" cy="38148"/>
              </a:xfrm>
              <a:custGeom>
                <a:avLst/>
                <a:gdLst/>
                <a:ahLst/>
                <a:cxnLst>
                  <a:cxn ang="0">
                    <a:pos x="wd2" y="hd2"/>
                  </a:cxn>
                  <a:cxn ang="5400000">
                    <a:pos x="wd2" y="hd2"/>
                  </a:cxn>
                  <a:cxn ang="10800000">
                    <a:pos x="wd2" y="hd2"/>
                  </a:cxn>
                  <a:cxn ang="16200000">
                    <a:pos x="wd2" y="hd2"/>
                  </a:cxn>
                </a:cxnLst>
                <a:rect l="0" t="0" r="r" b="b"/>
                <a:pathLst>
                  <a:path w="21600" h="21600" extrusionOk="0">
                    <a:moveTo>
                      <a:pt x="21600" y="10810"/>
                    </a:moveTo>
                    <a:cubicBezTo>
                      <a:pt x="21600" y="16765"/>
                      <a:pt x="16764" y="21600"/>
                      <a:pt x="10810" y="21600"/>
                    </a:cubicBezTo>
                    <a:cubicBezTo>
                      <a:pt x="4835" y="21600"/>
                      <a:pt x="0" y="16765"/>
                      <a:pt x="0" y="10810"/>
                    </a:cubicBezTo>
                    <a:cubicBezTo>
                      <a:pt x="0" y="4836"/>
                      <a:pt x="4835" y="0"/>
                      <a:pt x="10810" y="0"/>
                    </a:cubicBezTo>
                    <a:cubicBezTo>
                      <a:pt x="16764" y="0"/>
                      <a:pt x="21600" y="4836"/>
                      <a:pt x="21600" y="10810"/>
                    </a:cubicBezTo>
                    <a:close/>
                  </a:path>
                </a:pathLst>
              </a:custGeom>
              <a:solidFill>
                <a:srgbClr val="9C85C0">
                  <a:lumMod val="5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7" name="Shape 14">
                <a:extLst>
                  <a:ext uri="{FF2B5EF4-FFF2-40B4-BE49-F238E27FC236}">
                    <a16:creationId xmlns:a16="http://schemas.microsoft.com/office/drawing/2014/main" id="{45398227-16B6-49DC-BC66-34A0AA9BC4D7}"/>
                  </a:ext>
                </a:extLst>
              </p:cNvPr>
              <p:cNvSpPr/>
              <p:nvPr/>
            </p:nvSpPr>
            <p:spPr>
              <a:xfrm>
                <a:off x="9374474" y="2434818"/>
                <a:ext cx="448314" cy="416840"/>
              </a:xfrm>
              <a:custGeom>
                <a:avLst/>
                <a:gdLst/>
                <a:ahLst/>
                <a:cxnLst>
                  <a:cxn ang="0">
                    <a:pos x="wd2" y="hd2"/>
                  </a:cxn>
                  <a:cxn ang="5400000">
                    <a:pos x="wd2" y="hd2"/>
                  </a:cxn>
                  <a:cxn ang="10800000">
                    <a:pos x="wd2" y="hd2"/>
                  </a:cxn>
                  <a:cxn ang="16200000">
                    <a:pos x="wd2" y="hd2"/>
                  </a:cxn>
                </a:cxnLst>
                <a:rect l="0" t="0" r="r" b="b"/>
                <a:pathLst>
                  <a:path w="21363" h="21600" extrusionOk="0">
                    <a:moveTo>
                      <a:pt x="16455" y="18904"/>
                    </a:moveTo>
                    <a:cubicBezTo>
                      <a:pt x="14863" y="20661"/>
                      <a:pt x="12921" y="21566"/>
                      <a:pt x="10682" y="21600"/>
                    </a:cubicBezTo>
                    <a:cubicBezTo>
                      <a:pt x="8443" y="21566"/>
                      <a:pt x="6502" y="20661"/>
                      <a:pt x="4911" y="18904"/>
                    </a:cubicBezTo>
                    <a:cubicBezTo>
                      <a:pt x="-118" y="13351"/>
                      <a:pt x="-6" y="1187"/>
                      <a:pt x="2" y="672"/>
                    </a:cubicBezTo>
                    <a:cubicBezTo>
                      <a:pt x="6" y="298"/>
                      <a:pt x="286" y="0"/>
                      <a:pt x="629" y="0"/>
                    </a:cubicBezTo>
                    <a:cubicBezTo>
                      <a:pt x="632" y="0"/>
                      <a:pt x="635" y="0"/>
                      <a:pt x="639" y="0"/>
                    </a:cubicBezTo>
                    <a:cubicBezTo>
                      <a:pt x="985" y="5"/>
                      <a:pt x="1263" y="316"/>
                      <a:pt x="1256" y="692"/>
                    </a:cubicBezTo>
                    <a:cubicBezTo>
                      <a:pt x="1256" y="813"/>
                      <a:pt x="1148" y="12804"/>
                      <a:pt x="5806" y="17947"/>
                    </a:cubicBezTo>
                    <a:cubicBezTo>
                      <a:pt x="7152" y="19433"/>
                      <a:pt x="8792" y="20201"/>
                      <a:pt x="10682" y="20234"/>
                    </a:cubicBezTo>
                    <a:cubicBezTo>
                      <a:pt x="12572" y="20201"/>
                      <a:pt x="14212" y="19433"/>
                      <a:pt x="15558" y="17947"/>
                    </a:cubicBezTo>
                    <a:cubicBezTo>
                      <a:pt x="20218" y="12804"/>
                      <a:pt x="20108" y="813"/>
                      <a:pt x="20106" y="692"/>
                    </a:cubicBezTo>
                    <a:cubicBezTo>
                      <a:pt x="20101" y="316"/>
                      <a:pt x="20379" y="5"/>
                      <a:pt x="20726" y="0"/>
                    </a:cubicBezTo>
                    <a:cubicBezTo>
                      <a:pt x="20729" y="0"/>
                      <a:pt x="20732" y="0"/>
                      <a:pt x="20735" y="0"/>
                    </a:cubicBezTo>
                    <a:cubicBezTo>
                      <a:pt x="21077" y="0"/>
                      <a:pt x="21358" y="298"/>
                      <a:pt x="21362" y="672"/>
                    </a:cubicBezTo>
                    <a:cubicBezTo>
                      <a:pt x="21370" y="1187"/>
                      <a:pt x="21482" y="13351"/>
                      <a:pt x="16455" y="18904"/>
                    </a:cubicBezTo>
                    <a:close/>
                  </a:path>
                </a:pathLst>
              </a:cu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8" name="Shape 15">
                <a:extLst>
                  <a:ext uri="{FF2B5EF4-FFF2-40B4-BE49-F238E27FC236}">
                    <a16:creationId xmlns:a16="http://schemas.microsoft.com/office/drawing/2014/main" id="{C80A4DE8-FE51-44E9-A118-C9A3A7A83F32}"/>
                  </a:ext>
                </a:extLst>
              </p:cNvPr>
              <p:cNvSpPr/>
              <p:nvPr/>
            </p:nvSpPr>
            <p:spPr>
              <a:xfrm>
                <a:off x="9029561" y="3300622"/>
                <a:ext cx="1148771" cy="234912"/>
              </a:xfrm>
              <a:custGeom>
                <a:avLst/>
                <a:gdLst/>
                <a:ahLst/>
                <a:cxnLst>
                  <a:cxn ang="0">
                    <a:pos x="wd2" y="hd2"/>
                  </a:cxn>
                  <a:cxn ang="5400000">
                    <a:pos x="wd2" y="hd2"/>
                  </a:cxn>
                  <a:cxn ang="10800000">
                    <a:pos x="wd2" y="hd2"/>
                  </a:cxn>
                  <a:cxn ang="16200000">
                    <a:pos x="wd2" y="hd2"/>
                  </a:cxn>
                </a:cxnLst>
                <a:rect l="0" t="0" r="r" b="b"/>
                <a:pathLst>
                  <a:path w="21584" h="21600" extrusionOk="0">
                    <a:moveTo>
                      <a:pt x="21242" y="0"/>
                    </a:moveTo>
                    <a:lnTo>
                      <a:pt x="10665" y="0"/>
                    </a:lnTo>
                    <a:lnTo>
                      <a:pt x="180" y="0"/>
                    </a:lnTo>
                    <a:cubicBezTo>
                      <a:pt x="180" y="0"/>
                      <a:pt x="26" y="16799"/>
                      <a:pt x="5" y="18573"/>
                    </a:cubicBezTo>
                    <a:cubicBezTo>
                      <a:pt x="-16" y="20348"/>
                      <a:pt x="22" y="21600"/>
                      <a:pt x="426" y="21600"/>
                    </a:cubicBezTo>
                    <a:cubicBezTo>
                      <a:pt x="1075" y="21600"/>
                      <a:pt x="10620" y="21600"/>
                      <a:pt x="10620" y="21600"/>
                    </a:cubicBezTo>
                    <a:lnTo>
                      <a:pt x="21584" y="21600"/>
                    </a:lnTo>
                    <a:cubicBezTo>
                      <a:pt x="21584" y="21600"/>
                      <a:pt x="21242" y="0"/>
                      <a:pt x="21242" y="0"/>
                    </a:cubicBezTo>
                    <a:close/>
                  </a:path>
                </a:pathLst>
              </a:custGeom>
              <a:solidFill>
                <a:srgbClr val="9C85C0">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69" name="Shape 23">
                <a:extLst>
                  <a:ext uri="{FF2B5EF4-FFF2-40B4-BE49-F238E27FC236}">
                    <a16:creationId xmlns:a16="http://schemas.microsoft.com/office/drawing/2014/main" id="{1BDC015B-3482-44B3-BFE6-74A013685C5C}"/>
                  </a:ext>
                </a:extLst>
              </p:cNvPr>
              <p:cNvSpPr/>
              <p:nvPr/>
            </p:nvSpPr>
            <p:spPr>
              <a:xfrm>
                <a:off x="9634919" y="2642470"/>
                <a:ext cx="1042283" cy="1085158"/>
              </a:xfrm>
              <a:custGeom>
                <a:avLst/>
                <a:gdLst/>
                <a:ahLst/>
                <a:cxnLst>
                  <a:cxn ang="0">
                    <a:pos x="wd2" y="hd2"/>
                  </a:cxn>
                  <a:cxn ang="5400000">
                    <a:pos x="wd2" y="hd2"/>
                  </a:cxn>
                  <a:cxn ang="10800000">
                    <a:pos x="wd2" y="hd2"/>
                  </a:cxn>
                  <a:cxn ang="16200000">
                    <a:pos x="wd2" y="hd2"/>
                  </a:cxn>
                </a:cxnLst>
                <a:rect l="0" t="0" r="r" b="b"/>
                <a:pathLst>
                  <a:path w="21584" h="21600" extrusionOk="0">
                    <a:moveTo>
                      <a:pt x="21242" y="17357"/>
                    </a:moveTo>
                    <a:lnTo>
                      <a:pt x="21226" y="17357"/>
                    </a:lnTo>
                    <a:lnTo>
                      <a:pt x="20993" y="1258"/>
                    </a:lnTo>
                    <a:lnTo>
                      <a:pt x="20505" y="1162"/>
                    </a:lnTo>
                    <a:lnTo>
                      <a:pt x="20505" y="0"/>
                    </a:lnTo>
                    <a:lnTo>
                      <a:pt x="10665" y="0"/>
                    </a:lnTo>
                    <a:lnTo>
                      <a:pt x="826" y="0"/>
                    </a:lnTo>
                    <a:lnTo>
                      <a:pt x="826" y="1161"/>
                    </a:lnTo>
                    <a:lnTo>
                      <a:pt x="337" y="1258"/>
                    </a:lnTo>
                    <a:lnTo>
                      <a:pt x="190" y="17357"/>
                    </a:lnTo>
                    <a:lnTo>
                      <a:pt x="180" y="17357"/>
                    </a:lnTo>
                    <a:cubicBezTo>
                      <a:pt x="180" y="17357"/>
                      <a:pt x="25" y="20657"/>
                      <a:pt x="5" y="21005"/>
                    </a:cubicBezTo>
                    <a:cubicBezTo>
                      <a:pt x="-16" y="21354"/>
                      <a:pt x="22" y="21600"/>
                      <a:pt x="426" y="21600"/>
                    </a:cubicBezTo>
                    <a:cubicBezTo>
                      <a:pt x="1075" y="21600"/>
                      <a:pt x="10619" y="21600"/>
                      <a:pt x="10619" y="21600"/>
                    </a:cubicBezTo>
                    <a:lnTo>
                      <a:pt x="21584" y="21600"/>
                    </a:lnTo>
                    <a:cubicBezTo>
                      <a:pt x="21584" y="21600"/>
                      <a:pt x="21242" y="17357"/>
                      <a:pt x="21242" y="17357"/>
                    </a:cubicBezTo>
                    <a:close/>
                  </a:path>
                </a:pathLst>
              </a:custGeom>
              <a:solidFill>
                <a:srgbClr val="010101">
                  <a:alpha val="3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0" name="Shape 24">
                <a:extLst>
                  <a:ext uri="{FF2B5EF4-FFF2-40B4-BE49-F238E27FC236}">
                    <a16:creationId xmlns:a16="http://schemas.microsoft.com/office/drawing/2014/main" id="{6A715F0C-B3BE-46D0-B9DD-FCAA572F92FB}"/>
                  </a:ext>
                </a:extLst>
              </p:cNvPr>
              <p:cNvSpPr/>
              <p:nvPr/>
            </p:nvSpPr>
            <p:spPr>
              <a:xfrm>
                <a:off x="9627881" y="2702302"/>
                <a:ext cx="950899" cy="10629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0"/>
                    </a:lnTo>
                    <a:lnTo>
                      <a:pt x="2296" y="20486"/>
                    </a:lnTo>
                    <a:lnTo>
                      <a:pt x="10800" y="21600"/>
                    </a:lnTo>
                    <a:lnTo>
                      <a:pt x="19303" y="20486"/>
                    </a:lnTo>
                    <a:lnTo>
                      <a:pt x="21600" y="0"/>
                    </a:lnTo>
                    <a:cubicBezTo>
                      <a:pt x="21600" y="0"/>
                      <a:pt x="10800" y="0"/>
                      <a:pt x="10800" y="0"/>
                    </a:cubicBezTo>
                    <a:close/>
                  </a:path>
                </a:pathLst>
              </a:custGeom>
              <a:solidFill>
                <a:srgbClr val="D092A7"/>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1" name="Shape 25">
                <a:extLst>
                  <a:ext uri="{FF2B5EF4-FFF2-40B4-BE49-F238E27FC236}">
                    <a16:creationId xmlns:a16="http://schemas.microsoft.com/office/drawing/2014/main" id="{A2CD5D2B-2D82-4074-AB58-AB6E72F6519E}"/>
                  </a:ext>
                </a:extLst>
              </p:cNvPr>
              <p:cNvSpPr/>
              <p:nvPr/>
            </p:nvSpPr>
            <p:spPr>
              <a:xfrm>
                <a:off x="10462010" y="2702302"/>
                <a:ext cx="118201" cy="100813"/>
              </a:xfrm>
              <a:custGeom>
                <a:avLst/>
                <a:gdLst/>
                <a:ahLst/>
                <a:cxnLst>
                  <a:cxn ang="0">
                    <a:pos x="wd2" y="hd2"/>
                  </a:cxn>
                  <a:cxn ang="5400000">
                    <a:pos x="wd2" y="hd2"/>
                  </a:cxn>
                  <a:cxn ang="10800000">
                    <a:pos x="wd2" y="hd2"/>
                  </a:cxn>
                  <a:cxn ang="16200000">
                    <a:pos x="wd2" y="hd2"/>
                  </a:cxn>
                </a:cxnLst>
                <a:rect l="0" t="0" r="r" b="b"/>
                <a:pathLst>
                  <a:path w="21600" h="21600" extrusionOk="0">
                    <a:moveTo>
                      <a:pt x="21600" y="14583"/>
                    </a:moveTo>
                    <a:lnTo>
                      <a:pt x="21600" y="0"/>
                    </a:lnTo>
                    <a:lnTo>
                      <a:pt x="0" y="7323"/>
                    </a:lnTo>
                    <a:lnTo>
                      <a:pt x="0" y="21600"/>
                    </a:lnTo>
                    <a:cubicBezTo>
                      <a:pt x="0" y="21600"/>
                      <a:pt x="21600" y="14583"/>
                      <a:pt x="21600" y="14583"/>
                    </a:cubicBezTo>
                    <a:close/>
                  </a:path>
                </a:pathLst>
              </a:custGeom>
              <a:solidFill>
                <a:srgbClr val="D092A7">
                  <a:lumMod val="60000"/>
                  <a:lumOff val="4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2" name="Shape 26">
                <a:extLst>
                  <a:ext uri="{FF2B5EF4-FFF2-40B4-BE49-F238E27FC236}">
                    <a16:creationId xmlns:a16="http://schemas.microsoft.com/office/drawing/2014/main" id="{2B32D4CB-A11C-44D5-BD39-C66FA9202CC0}"/>
                  </a:ext>
                </a:extLst>
              </p:cNvPr>
              <p:cNvSpPr/>
              <p:nvPr/>
            </p:nvSpPr>
            <p:spPr>
              <a:xfrm>
                <a:off x="10462010" y="2733978"/>
                <a:ext cx="141824" cy="581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10800"/>
                    </a:lnTo>
                    <a:cubicBezTo>
                      <a:pt x="21600" y="10800"/>
                      <a:pt x="0" y="0"/>
                      <a:pt x="0" y="0"/>
                    </a:cubicBezTo>
                    <a:close/>
                  </a:path>
                </a:pathLst>
              </a:custGeom>
              <a:solidFill>
                <a:srgbClr val="D092A7">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3" name="Shape 27">
                <a:extLst>
                  <a:ext uri="{FF2B5EF4-FFF2-40B4-BE49-F238E27FC236}">
                    <a16:creationId xmlns:a16="http://schemas.microsoft.com/office/drawing/2014/main" id="{E3708131-E080-434A-8F01-003AFF3F3F2D}"/>
                  </a:ext>
                </a:extLst>
              </p:cNvPr>
              <p:cNvSpPr/>
              <p:nvPr/>
            </p:nvSpPr>
            <p:spPr>
              <a:xfrm>
                <a:off x="9627881" y="2702302"/>
                <a:ext cx="118173" cy="100813"/>
              </a:xfrm>
              <a:custGeom>
                <a:avLst/>
                <a:gdLst/>
                <a:ahLst/>
                <a:cxnLst>
                  <a:cxn ang="0">
                    <a:pos x="wd2" y="hd2"/>
                  </a:cxn>
                  <a:cxn ang="5400000">
                    <a:pos x="wd2" y="hd2"/>
                  </a:cxn>
                  <a:cxn ang="10800000">
                    <a:pos x="wd2" y="hd2"/>
                  </a:cxn>
                  <a:cxn ang="16200000">
                    <a:pos x="wd2" y="hd2"/>
                  </a:cxn>
                </a:cxnLst>
                <a:rect l="0" t="0" r="r" b="b"/>
                <a:pathLst>
                  <a:path w="21600" h="21600" extrusionOk="0">
                    <a:moveTo>
                      <a:pt x="0" y="14583"/>
                    </a:moveTo>
                    <a:lnTo>
                      <a:pt x="0" y="0"/>
                    </a:lnTo>
                    <a:lnTo>
                      <a:pt x="21600" y="7323"/>
                    </a:lnTo>
                    <a:lnTo>
                      <a:pt x="21600" y="21600"/>
                    </a:lnTo>
                    <a:cubicBezTo>
                      <a:pt x="21600" y="21600"/>
                      <a:pt x="0" y="14583"/>
                      <a:pt x="0" y="14583"/>
                    </a:cubicBezTo>
                    <a:close/>
                  </a:path>
                </a:pathLst>
              </a:custGeom>
              <a:solidFill>
                <a:srgbClr val="D092A7">
                  <a:lumMod val="60000"/>
                  <a:lumOff val="4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4" name="Shape 28">
                <a:extLst>
                  <a:ext uri="{FF2B5EF4-FFF2-40B4-BE49-F238E27FC236}">
                    <a16:creationId xmlns:a16="http://schemas.microsoft.com/office/drawing/2014/main" id="{FC3CFE31-CE3B-45E6-8CAB-D44838136D1D}"/>
                  </a:ext>
                </a:extLst>
              </p:cNvPr>
              <p:cNvSpPr/>
              <p:nvPr/>
            </p:nvSpPr>
            <p:spPr>
              <a:xfrm>
                <a:off x="9603245" y="2733978"/>
                <a:ext cx="141824" cy="5810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10800"/>
                    </a:lnTo>
                    <a:cubicBezTo>
                      <a:pt x="0" y="10800"/>
                      <a:pt x="21600" y="0"/>
                      <a:pt x="21600" y="0"/>
                    </a:cubicBezTo>
                    <a:close/>
                  </a:path>
                </a:pathLst>
              </a:custGeom>
              <a:solidFill>
                <a:srgbClr val="D092A7">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5" name="Shape 29">
                <a:extLst>
                  <a:ext uri="{FF2B5EF4-FFF2-40B4-BE49-F238E27FC236}">
                    <a16:creationId xmlns:a16="http://schemas.microsoft.com/office/drawing/2014/main" id="{2A684659-294E-43C4-A0F4-5AC27304AACB}"/>
                  </a:ext>
                </a:extLst>
              </p:cNvPr>
              <p:cNvSpPr/>
              <p:nvPr/>
            </p:nvSpPr>
            <p:spPr>
              <a:xfrm>
                <a:off x="9596205" y="2765654"/>
                <a:ext cx="1017775" cy="866310"/>
              </a:xfrm>
              <a:custGeom>
                <a:avLst/>
                <a:gdLst/>
                <a:ahLst/>
                <a:cxnLst>
                  <a:cxn ang="0">
                    <a:pos x="wd2" y="hd2"/>
                  </a:cxn>
                  <a:cxn ang="5400000">
                    <a:pos x="wd2" y="hd2"/>
                  </a:cxn>
                  <a:cxn ang="10800000">
                    <a:pos x="wd2" y="hd2"/>
                  </a:cxn>
                  <a:cxn ang="16200000">
                    <a:pos x="wd2" y="hd2"/>
                  </a:cxn>
                </a:cxnLst>
                <a:rect l="0" t="0" r="r" b="b"/>
                <a:pathLst>
                  <a:path w="21600" h="21600" extrusionOk="0">
                    <a:moveTo>
                      <a:pt x="21345" y="0"/>
                    </a:moveTo>
                    <a:lnTo>
                      <a:pt x="10753" y="0"/>
                    </a:lnTo>
                    <a:lnTo>
                      <a:pt x="161" y="0"/>
                    </a:lnTo>
                    <a:lnTo>
                      <a:pt x="0" y="21600"/>
                    </a:lnTo>
                    <a:lnTo>
                      <a:pt x="10753" y="21600"/>
                    </a:lnTo>
                    <a:lnTo>
                      <a:pt x="21600" y="21600"/>
                    </a:lnTo>
                    <a:cubicBezTo>
                      <a:pt x="21600" y="21600"/>
                      <a:pt x="21345" y="0"/>
                      <a:pt x="21345" y="0"/>
                    </a:cubicBezTo>
                    <a:close/>
                  </a:path>
                </a:pathLst>
              </a:custGeom>
              <a:solidFill>
                <a:srgbClr val="D092A7">
                  <a:lumMod val="60000"/>
                  <a:lumOff val="4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6" name="Shape 30">
                <a:extLst>
                  <a:ext uri="{FF2B5EF4-FFF2-40B4-BE49-F238E27FC236}">
                    <a16:creationId xmlns:a16="http://schemas.microsoft.com/office/drawing/2014/main" id="{7247E944-808B-47DD-B557-757FF3FD5E68}"/>
                  </a:ext>
                </a:extLst>
              </p:cNvPr>
              <p:cNvSpPr/>
              <p:nvPr/>
            </p:nvSpPr>
            <p:spPr>
              <a:xfrm>
                <a:off x="10278995" y="2779732"/>
                <a:ext cx="34639" cy="3463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16760"/>
                      <a:pt x="4849" y="21600"/>
                      <a:pt x="10808" y="21600"/>
                    </a:cubicBezTo>
                    <a:cubicBezTo>
                      <a:pt x="16785" y="21600"/>
                      <a:pt x="21600" y="16760"/>
                      <a:pt x="21600" y="10800"/>
                    </a:cubicBezTo>
                    <a:cubicBezTo>
                      <a:pt x="21600" y="4831"/>
                      <a:pt x="16785" y="0"/>
                      <a:pt x="10808" y="0"/>
                    </a:cubicBezTo>
                    <a:cubicBezTo>
                      <a:pt x="4849" y="0"/>
                      <a:pt x="0" y="4831"/>
                      <a:pt x="0" y="10800"/>
                    </a:cubicBezTo>
                    <a:close/>
                  </a:path>
                </a:pathLst>
              </a:custGeom>
              <a:solidFill>
                <a:srgbClr val="BD8935"/>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7" name="Shape 31">
                <a:extLst>
                  <a:ext uri="{FF2B5EF4-FFF2-40B4-BE49-F238E27FC236}">
                    <a16:creationId xmlns:a16="http://schemas.microsoft.com/office/drawing/2014/main" id="{4423FBC9-F903-49D6-AFF2-1F6FCBB2092E}"/>
                  </a:ext>
                </a:extLst>
              </p:cNvPr>
              <p:cNvSpPr/>
              <p:nvPr/>
            </p:nvSpPr>
            <p:spPr>
              <a:xfrm>
                <a:off x="9895366" y="2779732"/>
                <a:ext cx="34639" cy="34638"/>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0"/>
                      <a:pt x="16769" y="21600"/>
                      <a:pt x="10809" y="21600"/>
                    </a:cubicBezTo>
                    <a:cubicBezTo>
                      <a:pt x="4832" y="21600"/>
                      <a:pt x="0" y="16760"/>
                      <a:pt x="0" y="10800"/>
                    </a:cubicBezTo>
                    <a:cubicBezTo>
                      <a:pt x="0" y="4831"/>
                      <a:pt x="4832" y="0"/>
                      <a:pt x="10809" y="0"/>
                    </a:cubicBezTo>
                    <a:cubicBezTo>
                      <a:pt x="16769" y="0"/>
                      <a:pt x="21600" y="4831"/>
                      <a:pt x="21600" y="10800"/>
                    </a:cubicBezTo>
                    <a:close/>
                  </a:path>
                </a:pathLst>
              </a:custGeom>
              <a:solidFill>
                <a:srgbClr val="BD8935"/>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8" name="Shape 32">
                <a:extLst>
                  <a:ext uri="{FF2B5EF4-FFF2-40B4-BE49-F238E27FC236}">
                    <a16:creationId xmlns:a16="http://schemas.microsoft.com/office/drawing/2014/main" id="{6A012E00-5414-4AD6-A4D8-809F8FD1B1EE}"/>
                  </a:ext>
                </a:extLst>
              </p:cNvPr>
              <p:cNvSpPr/>
              <p:nvPr/>
            </p:nvSpPr>
            <p:spPr>
              <a:xfrm>
                <a:off x="9902404" y="2790290"/>
                <a:ext cx="407025" cy="378427"/>
              </a:xfrm>
              <a:custGeom>
                <a:avLst/>
                <a:gdLst/>
                <a:ahLst/>
                <a:cxnLst>
                  <a:cxn ang="0">
                    <a:pos x="wd2" y="hd2"/>
                  </a:cxn>
                  <a:cxn ang="5400000">
                    <a:pos x="wd2" y="hd2"/>
                  </a:cxn>
                  <a:cxn ang="10800000">
                    <a:pos x="wd2" y="hd2"/>
                  </a:cxn>
                  <a:cxn ang="16200000">
                    <a:pos x="wd2" y="hd2"/>
                  </a:cxn>
                </a:cxnLst>
                <a:rect l="0" t="0" r="r" b="b"/>
                <a:pathLst>
                  <a:path w="21364" h="21600" extrusionOk="0">
                    <a:moveTo>
                      <a:pt x="16455" y="18905"/>
                    </a:moveTo>
                    <a:cubicBezTo>
                      <a:pt x="14863" y="20662"/>
                      <a:pt x="12921" y="21567"/>
                      <a:pt x="10683" y="21600"/>
                    </a:cubicBezTo>
                    <a:cubicBezTo>
                      <a:pt x="8443" y="21567"/>
                      <a:pt x="6501" y="20662"/>
                      <a:pt x="4910" y="18905"/>
                    </a:cubicBezTo>
                    <a:cubicBezTo>
                      <a:pt x="-118" y="13352"/>
                      <a:pt x="-5" y="1187"/>
                      <a:pt x="1" y="673"/>
                    </a:cubicBezTo>
                    <a:cubicBezTo>
                      <a:pt x="7" y="299"/>
                      <a:pt x="287" y="0"/>
                      <a:pt x="630" y="0"/>
                    </a:cubicBezTo>
                    <a:cubicBezTo>
                      <a:pt x="632" y="0"/>
                      <a:pt x="636" y="0"/>
                      <a:pt x="639" y="0"/>
                    </a:cubicBezTo>
                    <a:cubicBezTo>
                      <a:pt x="986" y="5"/>
                      <a:pt x="1262" y="316"/>
                      <a:pt x="1257" y="693"/>
                    </a:cubicBezTo>
                    <a:cubicBezTo>
                      <a:pt x="1257" y="813"/>
                      <a:pt x="1147" y="12805"/>
                      <a:pt x="5806" y="17948"/>
                    </a:cubicBezTo>
                    <a:cubicBezTo>
                      <a:pt x="7152" y="19435"/>
                      <a:pt x="8793" y="20202"/>
                      <a:pt x="10683" y="20235"/>
                    </a:cubicBezTo>
                    <a:cubicBezTo>
                      <a:pt x="12572" y="20202"/>
                      <a:pt x="14212" y="19435"/>
                      <a:pt x="15558" y="17948"/>
                    </a:cubicBezTo>
                    <a:cubicBezTo>
                      <a:pt x="20218" y="12805"/>
                      <a:pt x="20109" y="813"/>
                      <a:pt x="20107" y="693"/>
                    </a:cubicBezTo>
                    <a:cubicBezTo>
                      <a:pt x="20102" y="316"/>
                      <a:pt x="20378" y="5"/>
                      <a:pt x="20727" y="0"/>
                    </a:cubicBezTo>
                    <a:cubicBezTo>
                      <a:pt x="20728" y="0"/>
                      <a:pt x="20732" y="0"/>
                      <a:pt x="20735" y="0"/>
                    </a:cubicBezTo>
                    <a:cubicBezTo>
                      <a:pt x="21078" y="0"/>
                      <a:pt x="21357" y="299"/>
                      <a:pt x="21363" y="673"/>
                    </a:cubicBezTo>
                    <a:cubicBezTo>
                      <a:pt x="21370" y="1187"/>
                      <a:pt x="21482" y="13352"/>
                      <a:pt x="16455" y="18905"/>
                    </a:cubicBezTo>
                    <a:close/>
                  </a:path>
                </a:pathLst>
              </a:custGeom>
              <a:solidFill>
                <a:srgbClr val="FFFFF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79" name="Shape 33">
                <a:extLst>
                  <a:ext uri="{FF2B5EF4-FFF2-40B4-BE49-F238E27FC236}">
                    <a16:creationId xmlns:a16="http://schemas.microsoft.com/office/drawing/2014/main" id="{583203B9-D760-4371-8451-7C5B7BB8CD7F}"/>
                  </a:ext>
                </a:extLst>
              </p:cNvPr>
              <p:cNvSpPr/>
              <p:nvPr/>
            </p:nvSpPr>
            <p:spPr>
              <a:xfrm>
                <a:off x="9589167" y="3575145"/>
                <a:ext cx="1042961" cy="213291"/>
              </a:xfrm>
              <a:custGeom>
                <a:avLst/>
                <a:gdLst/>
                <a:ahLst/>
                <a:cxnLst>
                  <a:cxn ang="0">
                    <a:pos x="wd2" y="hd2"/>
                  </a:cxn>
                  <a:cxn ang="5400000">
                    <a:pos x="wd2" y="hd2"/>
                  </a:cxn>
                  <a:cxn ang="10800000">
                    <a:pos x="wd2" y="hd2"/>
                  </a:cxn>
                  <a:cxn ang="16200000">
                    <a:pos x="wd2" y="hd2"/>
                  </a:cxn>
                </a:cxnLst>
                <a:rect l="0" t="0" r="r" b="b"/>
                <a:pathLst>
                  <a:path w="21584" h="21600" extrusionOk="0">
                    <a:moveTo>
                      <a:pt x="21242" y="0"/>
                    </a:moveTo>
                    <a:lnTo>
                      <a:pt x="10665" y="0"/>
                    </a:lnTo>
                    <a:lnTo>
                      <a:pt x="180" y="0"/>
                    </a:lnTo>
                    <a:cubicBezTo>
                      <a:pt x="180" y="0"/>
                      <a:pt x="25" y="16799"/>
                      <a:pt x="5" y="18572"/>
                    </a:cubicBezTo>
                    <a:cubicBezTo>
                      <a:pt x="-16" y="20348"/>
                      <a:pt x="22" y="21600"/>
                      <a:pt x="426" y="21600"/>
                    </a:cubicBezTo>
                    <a:cubicBezTo>
                      <a:pt x="1075" y="21600"/>
                      <a:pt x="10619" y="21600"/>
                      <a:pt x="10619" y="21600"/>
                    </a:cubicBezTo>
                    <a:lnTo>
                      <a:pt x="21584" y="21600"/>
                    </a:lnTo>
                    <a:cubicBezTo>
                      <a:pt x="21584" y="21600"/>
                      <a:pt x="21242" y="0"/>
                      <a:pt x="21242" y="0"/>
                    </a:cubicBezTo>
                    <a:close/>
                  </a:path>
                </a:pathLst>
              </a:custGeom>
              <a:solidFill>
                <a:srgbClr val="D092A7"/>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grpSp>
        <p:grpSp>
          <p:nvGrpSpPr>
            <p:cNvPr id="15" name="Group 35">
              <a:extLst>
                <a:ext uri="{FF2B5EF4-FFF2-40B4-BE49-F238E27FC236}">
                  <a16:creationId xmlns:a16="http://schemas.microsoft.com/office/drawing/2014/main" id="{E3CC7FD3-3822-4E90-A6F9-0961D6E1D48B}"/>
                </a:ext>
              </a:extLst>
            </p:cNvPr>
            <p:cNvGrpSpPr/>
            <p:nvPr/>
          </p:nvGrpSpPr>
          <p:grpSpPr>
            <a:xfrm>
              <a:off x="3036272" y="2216405"/>
              <a:ext cx="3717800" cy="3717800"/>
              <a:chOff x="3850249" y="1668544"/>
              <a:chExt cx="4173636" cy="4173636"/>
            </a:xfrm>
          </p:grpSpPr>
          <p:sp>
            <p:nvSpPr>
              <p:cNvPr id="55" name="Oval 30">
                <a:extLst>
                  <a:ext uri="{FF2B5EF4-FFF2-40B4-BE49-F238E27FC236}">
                    <a16:creationId xmlns:a16="http://schemas.microsoft.com/office/drawing/2014/main" id="{462023A8-99BE-4923-83FF-A91ED5598ED9}"/>
                  </a:ext>
                </a:extLst>
              </p:cNvPr>
              <p:cNvSpPr/>
              <p:nvPr/>
            </p:nvSpPr>
            <p:spPr>
              <a:xfrm>
                <a:off x="4108267" y="1926562"/>
                <a:ext cx="3657600" cy="3657600"/>
              </a:xfrm>
              <a:prstGeom prst="ellipse">
                <a:avLst/>
              </a:prstGeom>
              <a:noFill/>
              <a:ln w="50800" cap="flat" cmpd="sng" algn="ctr">
                <a:solidFill>
                  <a:srgbClr val="A5B592">
                    <a:alpha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56" name="Oval 31">
                <a:extLst>
                  <a:ext uri="{FF2B5EF4-FFF2-40B4-BE49-F238E27FC236}">
                    <a16:creationId xmlns:a16="http://schemas.microsoft.com/office/drawing/2014/main" id="{038AE76C-832E-4589-8ECC-BCE614714F01}"/>
                  </a:ext>
                </a:extLst>
              </p:cNvPr>
              <p:cNvSpPr/>
              <p:nvPr/>
            </p:nvSpPr>
            <p:spPr>
              <a:xfrm>
                <a:off x="4426959" y="2245254"/>
                <a:ext cx="3020216" cy="3020216"/>
              </a:xfrm>
              <a:prstGeom prst="ellipse">
                <a:avLst/>
              </a:prstGeom>
              <a:noFill/>
              <a:ln w="190500" cap="flat" cmpd="sng" algn="ctr">
                <a:solidFill>
                  <a:srgbClr val="444D26">
                    <a:alpha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57" name="Oval 32">
                <a:extLst>
                  <a:ext uri="{FF2B5EF4-FFF2-40B4-BE49-F238E27FC236}">
                    <a16:creationId xmlns:a16="http://schemas.microsoft.com/office/drawing/2014/main" id="{2EFFBE9A-5881-4A5A-95F8-06BB7D6EB1C2}"/>
                  </a:ext>
                </a:extLst>
              </p:cNvPr>
              <p:cNvSpPr/>
              <p:nvPr/>
            </p:nvSpPr>
            <p:spPr>
              <a:xfrm>
                <a:off x="3850249" y="1668544"/>
                <a:ext cx="4173636" cy="4173636"/>
              </a:xfrm>
              <a:prstGeom prst="ellipse">
                <a:avLst/>
              </a:prstGeom>
              <a:noFill/>
              <a:ln w="19050" cap="flat" cmpd="sng" algn="ctr">
                <a:solidFill>
                  <a:srgbClr val="F3A447">
                    <a:alpha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grpSp>
        <p:grpSp>
          <p:nvGrpSpPr>
            <p:cNvPr id="16" name="Group 71">
              <a:extLst>
                <a:ext uri="{FF2B5EF4-FFF2-40B4-BE49-F238E27FC236}">
                  <a16:creationId xmlns:a16="http://schemas.microsoft.com/office/drawing/2014/main" id="{363836E3-B0AC-48D3-B15A-1E672CB40A17}"/>
                </a:ext>
              </a:extLst>
            </p:cNvPr>
            <p:cNvGrpSpPr/>
            <p:nvPr/>
          </p:nvGrpSpPr>
          <p:grpSpPr>
            <a:xfrm rot="20774189">
              <a:off x="1725554" y="2892556"/>
              <a:ext cx="1578856" cy="2191237"/>
              <a:chOff x="8003477" y="3679757"/>
              <a:chExt cx="1879091" cy="2607922"/>
            </a:xfrm>
          </p:grpSpPr>
          <p:sp>
            <p:nvSpPr>
              <p:cNvPr id="51" name="Block Arc 67">
                <a:extLst>
                  <a:ext uri="{FF2B5EF4-FFF2-40B4-BE49-F238E27FC236}">
                    <a16:creationId xmlns:a16="http://schemas.microsoft.com/office/drawing/2014/main" id="{1F02ED38-D0EA-4DE2-A8AA-387C7957CCD0}"/>
                  </a:ext>
                </a:extLst>
              </p:cNvPr>
              <p:cNvSpPr/>
              <p:nvPr/>
            </p:nvSpPr>
            <p:spPr>
              <a:xfrm>
                <a:off x="8317949" y="3679757"/>
                <a:ext cx="1100836" cy="1100836"/>
              </a:xfrm>
              <a:prstGeom prst="blockArc">
                <a:avLst>
                  <a:gd name="adj1" fmla="val 10800000"/>
                  <a:gd name="adj2" fmla="val 21554286"/>
                  <a:gd name="adj3" fmla="val 3228"/>
                </a:avLst>
              </a:prstGeom>
              <a:solidFill>
                <a:srgbClr val="F3A447"/>
              </a:solidFill>
              <a:ln w="6350" cap="flat" cmpd="sng" algn="ctr">
                <a:solidFill>
                  <a:srgbClr val="F3A447">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Lato Light"/>
                  <a:ea typeface="+mn-ea"/>
                  <a:cs typeface="+mn-cs"/>
                </a:endParaRPr>
              </a:p>
            </p:txBody>
          </p:sp>
          <p:sp>
            <p:nvSpPr>
              <p:cNvPr id="52" name="Block Arc 68">
                <a:extLst>
                  <a:ext uri="{FF2B5EF4-FFF2-40B4-BE49-F238E27FC236}">
                    <a16:creationId xmlns:a16="http://schemas.microsoft.com/office/drawing/2014/main" id="{87E79289-5580-48CE-9CEE-CC6AB151BF51}"/>
                  </a:ext>
                </a:extLst>
              </p:cNvPr>
              <p:cNvSpPr/>
              <p:nvPr/>
            </p:nvSpPr>
            <p:spPr>
              <a:xfrm>
                <a:off x="8440497" y="3679757"/>
                <a:ext cx="1100836" cy="1100836"/>
              </a:xfrm>
              <a:prstGeom prst="blockArc">
                <a:avLst>
                  <a:gd name="adj1" fmla="val 10800000"/>
                  <a:gd name="adj2" fmla="val 21554286"/>
                  <a:gd name="adj3" fmla="val 3228"/>
                </a:avLst>
              </a:prstGeom>
              <a:solidFill>
                <a:srgbClr val="F3A447">
                  <a:lumMod val="60000"/>
                  <a:lumOff val="40000"/>
                </a:srgbClr>
              </a:solidFill>
              <a:ln w="6350" cap="flat" cmpd="sng" algn="ctr">
                <a:solidFill>
                  <a:srgbClr val="F3A447">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Lato Light"/>
                  <a:ea typeface="+mn-ea"/>
                  <a:cs typeface="+mn-cs"/>
                </a:endParaRPr>
              </a:p>
            </p:txBody>
          </p:sp>
          <p:sp>
            <p:nvSpPr>
              <p:cNvPr id="53" name="Rounded Rectangle 66">
                <a:extLst>
                  <a:ext uri="{FF2B5EF4-FFF2-40B4-BE49-F238E27FC236}">
                    <a16:creationId xmlns:a16="http://schemas.microsoft.com/office/drawing/2014/main" id="{385C7F32-30C3-4E5A-8DFA-EABA8DDA946B}"/>
                  </a:ext>
                </a:extLst>
              </p:cNvPr>
              <p:cNvSpPr/>
              <p:nvPr/>
            </p:nvSpPr>
            <p:spPr>
              <a:xfrm>
                <a:off x="8003477" y="4220749"/>
                <a:ext cx="1879091" cy="2066930"/>
              </a:xfrm>
              <a:prstGeom prst="roundRect">
                <a:avLst>
                  <a:gd name="adj" fmla="val 4627"/>
                </a:avLst>
              </a:prstGeom>
              <a:solidFill>
                <a:srgbClr val="FFC000"/>
              </a:solidFill>
              <a:ln w="6350" cap="flat" cmpd="sng" algn="ctr">
                <a:solidFill>
                  <a:srgbClr val="ED9C2D"/>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54" name="Heart 69">
                <a:extLst>
                  <a:ext uri="{FF2B5EF4-FFF2-40B4-BE49-F238E27FC236}">
                    <a16:creationId xmlns:a16="http://schemas.microsoft.com/office/drawing/2014/main" id="{FE9BE44E-4C3A-43A4-B2CE-6064E2836AF4}"/>
                  </a:ext>
                </a:extLst>
              </p:cNvPr>
              <p:cNvSpPr/>
              <p:nvPr/>
            </p:nvSpPr>
            <p:spPr>
              <a:xfrm>
                <a:off x="8221055" y="4629734"/>
                <a:ext cx="1469700" cy="1248960"/>
              </a:xfrm>
              <a:prstGeom prst="heart">
                <a:avLst/>
              </a:prstGeom>
              <a:solidFill>
                <a:srgbClr val="ED9C2D"/>
              </a:solidFill>
              <a:ln w="12700" cap="flat" cmpd="sng" algn="ctr">
                <a:noFill/>
                <a:prstDash val="solid"/>
                <a:miter lim="800000"/>
              </a:ln>
              <a:effectLst>
                <a:innerShdw blurRad="63500" dist="50800" dir="13500000">
                  <a:prstClr val="black">
                    <a:alpha val="50000"/>
                  </a:prstClr>
                </a:inn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grpSp>
        <p:sp>
          <p:nvSpPr>
            <p:cNvPr id="17" name="Smiley Face 70">
              <a:extLst>
                <a:ext uri="{FF2B5EF4-FFF2-40B4-BE49-F238E27FC236}">
                  <a16:creationId xmlns:a16="http://schemas.microsoft.com/office/drawing/2014/main" id="{FE380F49-E2CD-40C2-B59B-3B2F8325F6D7}"/>
                </a:ext>
              </a:extLst>
            </p:cNvPr>
            <p:cNvSpPr/>
            <p:nvPr/>
          </p:nvSpPr>
          <p:spPr>
            <a:xfrm>
              <a:off x="1175182" y="2887437"/>
              <a:ext cx="475517" cy="475517"/>
            </a:xfrm>
            <a:prstGeom prst="smileyFace">
              <a:avLst/>
            </a:prstGeom>
            <a:solidFill>
              <a:srgbClr val="E7BC29">
                <a:alpha val="40000"/>
              </a:srgbClr>
            </a:solidFill>
            <a:ln w="25400" cap="flat" cmpd="sng" algn="ctr">
              <a:solidFill>
                <a:srgbClr val="E7BC29">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18" name="Shape 6">
              <a:extLst>
                <a:ext uri="{FF2B5EF4-FFF2-40B4-BE49-F238E27FC236}">
                  <a16:creationId xmlns:a16="http://schemas.microsoft.com/office/drawing/2014/main" id="{5ABC0B4D-836B-4BAE-8E29-6B115A54E43A}"/>
                </a:ext>
              </a:extLst>
            </p:cNvPr>
            <p:cNvSpPr/>
            <p:nvPr/>
          </p:nvSpPr>
          <p:spPr>
            <a:xfrm>
              <a:off x="1025621" y="3548208"/>
              <a:ext cx="3159880" cy="2555600"/>
            </a:xfrm>
            <a:custGeom>
              <a:avLst/>
              <a:gdLst/>
              <a:ahLst/>
              <a:cxnLst>
                <a:cxn ang="0">
                  <a:pos x="wd2" y="hd2"/>
                </a:cxn>
                <a:cxn ang="5400000">
                  <a:pos x="wd2" y="hd2"/>
                </a:cxn>
                <a:cxn ang="10800000">
                  <a:pos x="wd2" y="hd2"/>
                </a:cxn>
                <a:cxn ang="16200000">
                  <a:pos x="wd2" y="hd2"/>
                </a:cxn>
              </a:cxnLst>
              <a:rect l="0" t="0" r="r" b="b"/>
              <a:pathLst>
                <a:path w="21540" h="21600" extrusionOk="0">
                  <a:moveTo>
                    <a:pt x="5953" y="4341"/>
                  </a:moveTo>
                  <a:lnTo>
                    <a:pt x="5953" y="11051"/>
                  </a:lnTo>
                  <a:lnTo>
                    <a:pt x="4850" y="4341"/>
                  </a:lnTo>
                  <a:cubicBezTo>
                    <a:pt x="4850" y="4341"/>
                    <a:pt x="5953" y="4341"/>
                    <a:pt x="5953" y="4341"/>
                  </a:cubicBezTo>
                  <a:close/>
                  <a:moveTo>
                    <a:pt x="14622" y="4341"/>
                  </a:moveTo>
                  <a:lnTo>
                    <a:pt x="15955" y="4341"/>
                  </a:lnTo>
                  <a:lnTo>
                    <a:pt x="15955" y="11155"/>
                  </a:lnTo>
                  <a:lnTo>
                    <a:pt x="14622" y="11558"/>
                  </a:lnTo>
                  <a:cubicBezTo>
                    <a:pt x="14622" y="11558"/>
                    <a:pt x="14622" y="4341"/>
                    <a:pt x="14622" y="4341"/>
                  </a:cubicBezTo>
                  <a:close/>
                  <a:moveTo>
                    <a:pt x="12121" y="4341"/>
                  </a:moveTo>
                  <a:lnTo>
                    <a:pt x="13455" y="4341"/>
                  </a:lnTo>
                  <a:lnTo>
                    <a:pt x="13455" y="11782"/>
                  </a:lnTo>
                  <a:cubicBezTo>
                    <a:pt x="13455" y="11825"/>
                    <a:pt x="13458" y="11867"/>
                    <a:pt x="13464" y="11908"/>
                  </a:cubicBezTo>
                  <a:lnTo>
                    <a:pt x="12121" y="12315"/>
                  </a:lnTo>
                  <a:cubicBezTo>
                    <a:pt x="12121" y="12315"/>
                    <a:pt x="12121" y="4341"/>
                    <a:pt x="12121" y="4341"/>
                  </a:cubicBezTo>
                  <a:close/>
                  <a:moveTo>
                    <a:pt x="8454" y="13424"/>
                  </a:moveTo>
                  <a:lnTo>
                    <a:pt x="7120" y="13827"/>
                  </a:lnTo>
                  <a:lnTo>
                    <a:pt x="7120" y="4341"/>
                  </a:lnTo>
                  <a:lnTo>
                    <a:pt x="8454" y="4341"/>
                  </a:lnTo>
                  <a:cubicBezTo>
                    <a:pt x="8454" y="4341"/>
                    <a:pt x="8454" y="13424"/>
                    <a:pt x="8454" y="13424"/>
                  </a:cubicBezTo>
                  <a:close/>
                  <a:moveTo>
                    <a:pt x="9621" y="4341"/>
                  </a:moveTo>
                  <a:lnTo>
                    <a:pt x="10954" y="4341"/>
                  </a:lnTo>
                  <a:lnTo>
                    <a:pt x="10954" y="12609"/>
                  </a:lnTo>
                  <a:cubicBezTo>
                    <a:pt x="10954" y="12628"/>
                    <a:pt x="10955" y="12648"/>
                    <a:pt x="10957" y="12667"/>
                  </a:cubicBezTo>
                  <a:lnTo>
                    <a:pt x="9621" y="13071"/>
                  </a:lnTo>
                  <a:cubicBezTo>
                    <a:pt x="9621" y="13071"/>
                    <a:pt x="9621" y="4341"/>
                    <a:pt x="9621" y="4341"/>
                  </a:cubicBezTo>
                  <a:close/>
                  <a:moveTo>
                    <a:pt x="18459" y="10398"/>
                  </a:moveTo>
                  <a:lnTo>
                    <a:pt x="17122" y="10802"/>
                  </a:lnTo>
                  <a:lnTo>
                    <a:pt x="17122" y="4341"/>
                  </a:lnTo>
                  <a:lnTo>
                    <a:pt x="18456" y="4341"/>
                  </a:lnTo>
                  <a:lnTo>
                    <a:pt x="18456" y="10335"/>
                  </a:lnTo>
                  <a:cubicBezTo>
                    <a:pt x="18456" y="10356"/>
                    <a:pt x="18457" y="10377"/>
                    <a:pt x="18459" y="10398"/>
                  </a:cubicBezTo>
                  <a:close/>
                  <a:moveTo>
                    <a:pt x="14538" y="19662"/>
                  </a:moveTo>
                  <a:cubicBezTo>
                    <a:pt x="14538" y="19933"/>
                    <a:pt x="14361" y="20153"/>
                    <a:pt x="14143" y="20153"/>
                  </a:cubicBezTo>
                  <a:cubicBezTo>
                    <a:pt x="13924" y="20153"/>
                    <a:pt x="13747" y="19933"/>
                    <a:pt x="13747" y="19662"/>
                  </a:cubicBezTo>
                  <a:cubicBezTo>
                    <a:pt x="13747" y="19392"/>
                    <a:pt x="13924" y="19171"/>
                    <a:pt x="14143" y="19171"/>
                  </a:cubicBezTo>
                  <a:cubicBezTo>
                    <a:pt x="14361" y="19171"/>
                    <a:pt x="14538" y="19392"/>
                    <a:pt x="14538" y="19662"/>
                  </a:cubicBezTo>
                  <a:close/>
                  <a:moveTo>
                    <a:pt x="8224" y="19662"/>
                  </a:moveTo>
                  <a:cubicBezTo>
                    <a:pt x="8224" y="19933"/>
                    <a:pt x="8047" y="20153"/>
                    <a:pt x="7828" y="20153"/>
                  </a:cubicBezTo>
                  <a:cubicBezTo>
                    <a:pt x="7610" y="20153"/>
                    <a:pt x="7432" y="19933"/>
                    <a:pt x="7432" y="19662"/>
                  </a:cubicBezTo>
                  <a:cubicBezTo>
                    <a:pt x="7432" y="19392"/>
                    <a:pt x="7610" y="19171"/>
                    <a:pt x="7828" y="19171"/>
                  </a:cubicBezTo>
                  <a:cubicBezTo>
                    <a:pt x="8047" y="19171"/>
                    <a:pt x="8224" y="19392"/>
                    <a:pt x="8224" y="19662"/>
                  </a:cubicBezTo>
                  <a:close/>
                  <a:moveTo>
                    <a:pt x="21524" y="10215"/>
                  </a:moveTo>
                  <a:cubicBezTo>
                    <a:pt x="21447" y="9827"/>
                    <a:pt x="21131" y="9589"/>
                    <a:pt x="20818" y="9684"/>
                  </a:cubicBezTo>
                  <a:lnTo>
                    <a:pt x="19623" y="10045"/>
                  </a:lnTo>
                  <a:lnTo>
                    <a:pt x="19623" y="4341"/>
                  </a:lnTo>
                  <a:lnTo>
                    <a:pt x="20332" y="4341"/>
                  </a:lnTo>
                  <a:cubicBezTo>
                    <a:pt x="20654" y="4341"/>
                    <a:pt x="20915" y="4017"/>
                    <a:pt x="20915" y="3617"/>
                  </a:cubicBezTo>
                  <a:cubicBezTo>
                    <a:pt x="20915" y="3218"/>
                    <a:pt x="20654" y="2894"/>
                    <a:pt x="20332" y="2894"/>
                  </a:cubicBezTo>
                  <a:lnTo>
                    <a:pt x="4613" y="2894"/>
                  </a:lnTo>
                  <a:lnTo>
                    <a:pt x="4137" y="0"/>
                  </a:lnTo>
                  <a:lnTo>
                    <a:pt x="583" y="0"/>
                  </a:lnTo>
                  <a:cubicBezTo>
                    <a:pt x="261" y="0"/>
                    <a:pt x="0" y="324"/>
                    <a:pt x="0" y="723"/>
                  </a:cubicBezTo>
                  <a:cubicBezTo>
                    <a:pt x="0" y="1123"/>
                    <a:pt x="261" y="1447"/>
                    <a:pt x="583" y="1447"/>
                  </a:cubicBezTo>
                  <a:lnTo>
                    <a:pt x="3184" y="1447"/>
                  </a:lnTo>
                  <a:lnTo>
                    <a:pt x="5308" y="14375"/>
                  </a:lnTo>
                  <a:lnTo>
                    <a:pt x="5296" y="14379"/>
                  </a:lnTo>
                  <a:cubicBezTo>
                    <a:pt x="4141" y="14617"/>
                    <a:pt x="3606" y="15870"/>
                    <a:pt x="3675" y="16993"/>
                  </a:cubicBezTo>
                  <a:cubicBezTo>
                    <a:pt x="3755" y="18276"/>
                    <a:pt x="4520" y="19171"/>
                    <a:pt x="5536" y="19171"/>
                  </a:cubicBezTo>
                  <a:lnTo>
                    <a:pt x="6318" y="19171"/>
                  </a:lnTo>
                  <a:cubicBezTo>
                    <a:pt x="6285" y="19328"/>
                    <a:pt x="6266" y="19492"/>
                    <a:pt x="6266" y="19662"/>
                  </a:cubicBezTo>
                  <a:cubicBezTo>
                    <a:pt x="6266" y="20731"/>
                    <a:pt x="6967" y="21600"/>
                    <a:pt x="7828" y="21600"/>
                  </a:cubicBezTo>
                  <a:cubicBezTo>
                    <a:pt x="8690" y="21600"/>
                    <a:pt x="9391" y="20731"/>
                    <a:pt x="9391" y="19662"/>
                  </a:cubicBezTo>
                  <a:cubicBezTo>
                    <a:pt x="9391" y="19492"/>
                    <a:pt x="9372" y="19328"/>
                    <a:pt x="9339" y="19171"/>
                  </a:cubicBezTo>
                  <a:lnTo>
                    <a:pt x="12632" y="19171"/>
                  </a:lnTo>
                  <a:cubicBezTo>
                    <a:pt x="12599" y="19328"/>
                    <a:pt x="12580" y="19492"/>
                    <a:pt x="12580" y="19662"/>
                  </a:cubicBezTo>
                  <a:cubicBezTo>
                    <a:pt x="12580" y="20731"/>
                    <a:pt x="13281" y="21600"/>
                    <a:pt x="14143" y="21600"/>
                  </a:cubicBezTo>
                  <a:cubicBezTo>
                    <a:pt x="15004" y="21600"/>
                    <a:pt x="15705" y="20731"/>
                    <a:pt x="15705" y="19662"/>
                  </a:cubicBezTo>
                  <a:cubicBezTo>
                    <a:pt x="15705" y="19492"/>
                    <a:pt x="15686" y="19328"/>
                    <a:pt x="15653" y="19171"/>
                  </a:cubicBezTo>
                  <a:lnTo>
                    <a:pt x="17060" y="19171"/>
                  </a:lnTo>
                  <a:cubicBezTo>
                    <a:pt x="17382" y="19171"/>
                    <a:pt x="17643" y="18847"/>
                    <a:pt x="17643" y="18448"/>
                  </a:cubicBezTo>
                  <a:cubicBezTo>
                    <a:pt x="17643" y="18048"/>
                    <a:pt x="17382" y="17724"/>
                    <a:pt x="17060" y="17724"/>
                  </a:cubicBezTo>
                  <a:lnTo>
                    <a:pt x="5536" y="17724"/>
                  </a:lnTo>
                  <a:cubicBezTo>
                    <a:pt x="4937" y="17724"/>
                    <a:pt x="4851" y="17080"/>
                    <a:pt x="4839" y="16883"/>
                  </a:cubicBezTo>
                  <a:cubicBezTo>
                    <a:pt x="4812" y="16448"/>
                    <a:pt x="4969" y="15905"/>
                    <a:pt x="5500" y="15804"/>
                  </a:cubicBezTo>
                  <a:lnTo>
                    <a:pt x="5525" y="15799"/>
                  </a:lnTo>
                  <a:lnTo>
                    <a:pt x="8936" y="14767"/>
                  </a:lnTo>
                  <a:cubicBezTo>
                    <a:pt x="8969" y="14775"/>
                    <a:pt x="9003" y="14779"/>
                    <a:pt x="9037" y="14779"/>
                  </a:cubicBezTo>
                  <a:cubicBezTo>
                    <a:pt x="9170" y="14779"/>
                    <a:pt x="9293" y="14723"/>
                    <a:pt x="9391" y="14630"/>
                  </a:cubicBezTo>
                  <a:lnTo>
                    <a:pt x="21095" y="11089"/>
                  </a:lnTo>
                  <a:cubicBezTo>
                    <a:pt x="21408" y="10995"/>
                    <a:pt x="21600" y="10603"/>
                    <a:pt x="21524" y="10215"/>
                  </a:cubicBezTo>
                  <a:close/>
                </a:path>
              </a:pathLst>
            </a:custGeom>
            <a:solidFill>
              <a:srgbClr val="444D26">
                <a:lumMod val="75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grpSp>
          <p:nvGrpSpPr>
            <p:cNvPr id="19" name="Group 34">
              <a:extLst>
                <a:ext uri="{FF2B5EF4-FFF2-40B4-BE49-F238E27FC236}">
                  <a16:creationId xmlns:a16="http://schemas.microsoft.com/office/drawing/2014/main" id="{7DB827D3-06C8-463F-B2DE-324B7026AD32}"/>
                </a:ext>
              </a:extLst>
            </p:cNvPr>
            <p:cNvGrpSpPr/>
            <p:nvPr/>
          </p:nvGrpSpPr>
          <p:grpSpPr>
            <a:xfrm rot="20847123">
              <a:off x="3762715" y="2283704"/>
              <a:ext cx="1871440" cy="3788695"/>
              <a:chOff x="5306442" y="2562294"/>
              <a:chExt cx="1933344" cy="3914018"/>
            </a:xfrm>
          </p:grpSpPr>
          <p:sp>
            <p:nvSpPr>
              <p:cNvPr id="25" name="Rectangle 33">
                <a:extLst>
                  <a:ext uri="{FF2B5EF4-FFF2-40B4-BE49-F238E27FC236}">
                    <a16:creationId xmlns:a16="http://schemas.microsoft.com/office/drawing/2014/main" id="{3B0E6728-E06A-4FB3-99FE-510096DA064F}"/>
                  </a:ext>
                </a:extLst>
              </p:cNvPr>
              <p:cNvSpPr/>
              <p:nvPr/>
            </p:nvSpPr>
            <p:spPr>
              <a:xfrm>
                <a:off x="5377458" y="2997724"/>
                <a:ext cx="1786913" cy="3035431"/>
              </a:xfrm>
              <a:prstGeom prst="rect">
                <a:avLst/>
              </a:prstGeom>
              <a:gradFill>
                <a:gsLst>
                  <a:gs pos="0">
                    <a:srgbClr val="A5B592"/>
                  </a:gs>
                  <a:gs pos="100000">
                    <a:srgbClr val="444D26"/>
                  </a:gs>
                </a:gsLst>
                <a:lin ang="27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grpSp>
            <p:nvGrpSpPr>
              <p:cNvPr id="26" name="Group 5">
                <a:extLst>
                  <a:ext uri="{FF2B5EF4-FFF2-40B4-BE49-F238E27FC236}">
                    <a16:creationId xmlns:a16="http://schemas.microsoft.com/office/drawing/2014/main" id="{B1FADF9B-82F1-42DD-B936-DF00B53780A9}"/>
                  </a:ext>
                </a:extLst>
              </p:cNvPr>
              <p:cNvGrpSpPr/>
              <p:nvPr/>
            </p:nvGrpSpPr>
            <p:grpSpPr>
              <a:xfrm>
                <a:off x="5306442" y="2562294"/>
                <a:ext cx="1933344" cy="3914018"/>
                <a:chOff x="18223908" y="3214668"/>
                <a:chExt cx="7266425" cy="14710811"/>
              </a:xfrm>
              <a:effectLst>
                <a:reflection blurRad="6350" stA="25000" endPos="15000" dir="5400000" sy="-100000" algn="bl" rotWithShape="0"/>
              </a:effectLst>
            </p:grpSpPr>
            <p:sp>
              <p:nvSpPr>
                <p:cNvPr id="27" name="Shape 6">
                  <a:extLst>
                    <a:ext uri="{FF2B5EF4-FFF2-40B4-BE49-F238E27FC236}">
                      <a16:creationId xmlns:a16="http://schemas.microsoft.com/office/drawing/2014/main" id="{92888E47-4085-405E-9137-A2A5723D4BD0}"/>
                    </a:ext>
                  </a:extLst>
                </p:cNvPr>
                <p:cNvSpPr/>
                <p:nvPr/>
              </p:nvSpPr>
              <p:spPr>
                <a:xfrm>
                  <a:off x="18287967" y="3225345"/>
                  <a:ext cx="7127581" cy="14691957"/>
                </a:xfrm>
                <a:custGeom>
                  <a:avLst/>
                  <a:gdLst/>
                  <a:ahLst/>
                  <a:cxnLst>
                    <a:cxn ang="0">
                      <a:pos x="wd2" y="hd2"/>
                    </a:cxn>
                    <a:cxn ang="5400000">
                      <a:pos x="wd2" y="hd2"/>
                    </a:cxn>
                    <a:cxn ang="10800000">
                      <a:pos x="wd2" y="hd2"/>
                    </a:cxn>
                    <a:cxn ang="16200000">
                      <a:pos x="wd2" y="hd2"/>
                    </a:cxn>
                  </a:cxnLst>
                  <a:rect l="0" t="0" r="r" b="b"/>
                  <a:pathLst>
                    <a:path w="21600" h="21600" extrusionOk="0">
                      <a:moveTo>
                        <a:pt x="20214" y="18917"/>
                      </a:moveTo>
                      <a:lnTo>
                        <a:pt x="1239" y="18917"/>
                      </a:lnTo>
                      <a:lnTo>
                        <a:pt x="1239" y="2586"/>
                      </a:lnTo>
                      <a:lnTo>
                        <a:pt x="20214" y="2586"/>
                      </a:lnTo>
                      <a:cubicBezTo>
                        <a:pt x="20214" y="2586"/>
                        <a:pt x="20214" y="18917"/>
                        <a:pt x="20214" y="18917"/>
                      </a:cubicBezTo>
                      <a:close/>
                      <a:moveTo>
                        <a:pt x="18332" y="0"/>
                      </a:moveTo>
                      <a:lnTo>
                        <a:pt x="3268" y="0"/>
                      </a:lnTo>
                      <a:cubicBezTo>
                        <a:pt x="1466" y="0"/>
                        <a:pt x="0" y="711"/>
                        <a:pt x="0" y="1586"/>
                      </a:cubicBezTo>
                      <a:lnTo>
                        <a:pt x="0" y="20014"/>
                      </a:lnTo>
                      <a:cubicBezTo>
                        <a:pt x="0" y="20889"/>
                        <a:pt x="1466" y="21600"/>
                        <a:pt x="3268" y="21600"/>
                      </a:cubicBezTo>
                      <a:lnTo>
                        <a:pt x="18332" y="21600"/>
                      </a:lnTo>
                      <a:cubicBezTo>
                        <a:pt x="20134" y="21600"/>
                        <a:pt x="21600" y="20889"/>
                        <a:pt x="21600" y="20014"/>
                      </a:cubicBezTo>
                      <a:lnTo>
                        <a:pt x="21600" y="1586"/>
                      </a:lnTo>
                      <a:cubicBezTo>
                        <a:pt x="21600" y="711"/>
                        <a:pt x="20134" y="0"/>
                        <a:pt x="18332" y="0"/>
                      </a:cubicBezTo>
                      <a:close/>
                    </a:path>
                  </a:pathLst>
                </a:custGeom>
                <a:solidFill>
                  <a:srgbClr val="F3DCBF"/>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28" name="Shape 7">
                  <a:extLst>
                    <a:ext uri="{FF2B5EF4-FFF2-40B4-BE49-F238E27FC236}">
                      <a16:creationId xmlns:a16="http://schemas.microsoft.com/office/drawing/2014/main" id="{3F453F10-698E-43D4-9E11-66B674CF815B}"/>
                    </a:ext>
                  </a:extLst>
                </p:cNvPr>
                <p:cNvSpPr/>
                <p:nvPr/>
              </p:nvSpPr>
              <p:spPr>
                <a:xfrm>
                  <a:off x="18405409" y="3342786"/>
                  <a:ext cx="6893836" cy="14458167"/>
                </a:xfrm>
                <a:custGeom>
                  <a:avLst/>
                  <a:gdLst/>
                  <a:ahLst/>
                  <a:cxnLst>
                    <a:cxn ang="0">
                      <a:pos x="wd2" y="hd2"/>
                    </a:cxn>
                    <a:cxn ang="5400000">
                      <a:pos x="wd2" y="hd2"/>
                    </a:cxn>
                    <a:cxn ang="10800000">
                      <a:pos x="wd2" y="hd2"/>
                    </a:cxn>
                    <a:cxn ang="16200000">
                      <a:pos x="wd2" y="hd2"/>
                    </a:cxn>
                  </a:cxnLst>
                  <a:rect l="0" t="0" r="r" b="b"/>
                  <a:pathLst>
                    <a:path w="21600" h="21600" extrusionOk="0">
                      <a:moveTo>
                        <a:pt x="20533" y="19049"/>
                      </a:moveTo>
                      <a:lnTo>
                        <a:pt x="914" y="19049"/>
                      </a:lnTo>
                      <a:lnTo>
                        <a:pt x="914" y="2453"/>
                      </a:lnTo>
                      <a:lnTo>
                        <a:pt x="20533" y="2453"/>
                      </a:lnTo>
                      <a:cubicBezTo>
                        <a:pt x="20533" y="2453"/>
                        <a:pt x="20533" y="19049"/>
                        <a:pt x="20533" y="19049"/>
                      </a:cubicBezTo>
                      <a:close/>
                      <a:moveTo>
                        <a:pt x="18587" y="0"/>
                      </a:moveTo>
                      <a:lnTo>
                        <a:pt x="3013" y="0"/>
                      </a:lnTo>
                      <a:cubicBezTo>
                        <a:pt x="1349" y="0"/>
                        <a:pt x="0" y="643"/>
                        <a:pt x="0" y="1437"/>
                      </a:cubicBezTo>
                      <a:lnTo>
                        <a:pt x="0" y="20163"/>
                      </a:lnTo>
                      <a:cubicBezTo>
                        <a:pt x="0" y="20957"/>
                        <a:pt x="1349" y="21600"/>
                        <a:pt x="3013" y="21600"/>
                      </a:cubicBezTo>
                      <a:lnTo>
                        <a:pt x="18587" y="21600"/>
                      </a:lnTo>
                      <a:cubicBezTo>
                        <a:pt x="20251" y="21600"/>
                        <a:pt x="21600" y="20957"/>
                        <a:pt x="21600" y="20163"/>
                      </a:cubicBezTo>
                      <a:lnTo>
                        <a:pt x="21600" y="1437"/>
                      </a:lnTo>
                      <a:cubicBezTo>
                        <a:pt x="21600" y="643"/>
                        <a:pt x="20251" y="0"/>
                        <a:pt x="18587" y="0"/>
                      </a:cubicBezTo>
                      <a:close/>
                    </a:path>
                  </a:pathLst>
                </a:custGeom>
                <a:solidFill>
                  <a:srgbClr val="F5F6F7"/>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29" name="Shape 8">
                  <a:extLst>
                    <a:ext uri="{FF2B5EF4-FFF2-40B4-BE49-F238E27FC236}">
                      <a16:creationId xmlns:a16="http://schemas.microsoft.com/office/drawing/2014/main" id="{86ECEDA1-0860-462B-841E-6FA1B6502EB0}"/>
                    </a:ext>
                  </a:extLst>
                </p:cNvPr>
                <p:cNvSpPr/>
                <p:nvPr/>
              </p:nvSpPr>
              <p:spPr>
                <a:xfrm>
                  <a:off x="18490821" y="3428198"/>
                  <a:ext cx="6726856" cy="14291214"/>
                </a:xfrm>
                <a:custGeom>
                  <a:avLst/>
                  <a:gdLst/>
                  <a:ahLst/>
                  <a:cxnLst>
                    <a:cxn ang="0">
                      <a:pos x="wd2" y="hd2"/>
                    </a:cxn>
                    <a:cxn ang="5400000">
                      <a:pos x="wd2" y="hd2"/>
                    </a:cxn>
                    <a:cxn ang="10800000">
                      <a:pos x="wd2" y="hd2"/>
                    </a:cxn>
                    <a:cxn ang="16200000">
                      <a:pos x="wd2" y="hd2"/>
                    </a:cxn>
                  </a:cxnLst>
                  <a:rect l="0" t="0" r="r" b="b"/>
                  <a:pathLst>
                    <a:path w="21600" h="21600" extrusionOk="0">
                      <a:moveTo>
                        <a:pt x="21278" y="20273"/>
                      </a:moveTo>
                      <a:cubicBezTo>
                        <a:pt x="21278" y="20921"/>
                        <a:pt x="20158" y="21449"/>
                        <a:pt x="18780" y="21449"/>
                      </a:cubicBezTo>
                      <a:lnTo>
                        <a:pt x="2820" y="21449"/>
                      </a:lnTo>
                      <a:cubicBezTo>
                        <a:pt x="1442" y="21449"/>
                        <a:pt x="322" y="20921"/>
                        <a:pt x="322" y="20273"/>
                      </a:cubicBezTo>
                      <a:lnTo>
                        <a:pt x="322" y="1327"/>
                      </a:lnTo>
                      <a:cubicBezTo>
                        <a:pt x="322" y="679"/>
                        <a:pt x="1442" y="151"/>
                        <a:pt x="2820" y="151"/>
                      </a:cubicBezTo>
                      <a:lnTo>
                        <a:pt x="18780" y="151"/>
                      </a:lnTo>
                      <a:cubicBezTo>
                        <a:pt x="20158" y="151"/>
                        <a:pt x="21278" y="679"/>
                        <a:pt x="21278" y="1327"/>
                      </a:cubicBezTo>
                      <a:cubicBezTo>
                        <a:pt x="21278" y="1327"/>
                        <a:pt x="21278" y="20273"/>
                        <a:pt x="21278" y="20273"/>
                      </a:cubicBezTo>
                      <a:close/>
                      <a:moveTo>
                        <a:pt x="18780" y="0"/>
                      </a:moveTo>
                      <a:lnTo>
                        <a:pt x="2820" y="0"/>
                      </a:lnTo>
                      <a:cubicBezTo>
                        <a:pt x="1265" y="0"/>
                        <a:pt x="0" y="595"/>
                        <a:pt x="0" y="1327"/>
                      </a:cubicBezTo>
                      <a:lnTo>
                        <a:pt x="0" y="20273"/>
                      </a:lnTo>
                      <a:cubicBezTo>
                        <a:pt x="0" y="21005"/>
                        <a:pt x="1265" y="21600"/>
                        <a:pt x="2820" y="21600"/>
                      </a:cubicBezTo>
                      <a:lnTo>
                        <a:pt x="18780" y="21600"/>
                      </a:lnTo>
                      <a:cubicBezTo>
                        <a:pt x="20335" y="21600"/>
                        <a:pt x="21600" y="21005"/>
                        <a:pt x="21600" y="20273"/>
                      </a:cubicBezTo>
                      <a:lnTo>
                        <a:pt x="21600" y="1327"/>
                      </a:lnTo>
                      <a:cubicBezTo>
                        <a:pt x="21600" y="595"/>
                        <a:pt x="20335" y="0"/>
                        <a:pt x="18780" y="0"/>
                      </a:cubicBezTo>
                      <a:close/>
                    </a:path>
                  </a:pathLst>
                </a:custGeom>
                <a:gradFill>
                  <a:gsLst>
                    <a:gs pos="4000">
                      <a:srgbClr val="EDE6D8"/>
                    </a:gs>
                    <a:gs pos="24000">
                      <a:srgbClr val="F5F0E8"/>
                    </a:gs>
                  </a:gsLst>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0" name="Shape 9">
                  <a:extLst>
                    <a:ext uri="{FF2B5EF4-FFF2-40B4-BE49-F238E27FC236}">
                      <a16:creationId xmlns:a16="http://schemas.microsoft.com/office/drawing/2014/main" id="{70FB5D2B-F23A-458E-B57B-5E8C2249780F}"/>
                    </a:ext>
                  </a:extLst>
                </p:cNvPr>
                <p:cNvSpPr/>
                <p:nvPr/>
              </p:nvSpPr>
              <p:spPr>
                <a:xfrm>
                  <a:off x="21298748" y="16421528"/>
                  <a:ext cx="1118365" cy="1118365"/>
                </a:xfrm>
                <a:custGeom>
                  <a:avLst/>
                  <a:gdLst/>
                  <a:ahLst/>
                  <a:cxnLst>
                    <a:cxn ang="0">
                      <a:pos x="wd2" y="hd2"/>
                    </a:cxn>
                    <a:cxn ang="5400000">
                      <a:pos x="wd2" y="hd2"/>
                    </a:cxn>
                    <a:cxn ang="10800000">
                      <a:pos x="wd2" y="hd2"/>
                    </a:cxn>
                    <a:cxn ang="16200000">
                      <a:pos x="wd2" y="hd2"/>
                    </a:cxn>
                  </a:cxnLst>
                  <a:rect l="0" t="0" r="r" b="b"/>
                  <a:pathLst>
                    <a:path w="21600" h="21600" extrusionOk="0">
                      <a:moveTo>
                        <a:pt x="10800" y="20564"/>
                      </a:moveTo>
                      <a:cubicBezTo>
                        <a:pt x="5408" y="20564"/>
                        <a:pt x="1036" y="16193"/>
                        <a:pt x="1036" y="10800"/>
                      </a:cubicBezTo>
                      <a:cubicBezTo>
                        <a:pt x="1036" y="5408"/>
                        <a:pt x="5408" y="1036"/>
                        <a:pt x="10800" y="1036"/>
                      </a:cubicBezTo>
                      <a:cubicBezTo>
                        <a:pt x="16193" y="1036"/>
                        <a:pt x="20564" y="5408"/>
                        <a:pt x="20564" y="10800"/>
                      </a:cubicBezTo>
                      <a:cubicBezTo>
                        <a:pt x="20564" y="16193"/>
                        <a:pt x="16193" y="20564"/>
                        <a:pt x="10800" y="20564"/>
                      </a:cubicBezTo>
                      <a:close/>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close/>
                    </a:path>
                  </a:pathLst>
                </a:custGeom>
                <a:solidFill>
                  <a:srgbClr val="A38A5C"/>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1" name="Shape 10">
                  <a:extLst>
                    <a:ext uri="{FF2B5EF4-FFF2-40B4-BE49-F238E27FC236}">
                      <a16:creationId xmlns:a16="http://schemas.microsoft.com/office/drawing/2014/main" id="{7645BE38-71A5-4C05-BAD6-90CD7065E0BF}"/>
                    </a:ext>
                  </a:extLst>
                </p:cNvPr>
                <p:cNvSpPr/>
                <p:nvPr/>
              </p:nvSpPr>
              <p:spPr>
                <a:xfrm>
                  <a:off x="21341454" y="16421528"/>
                  <a:ext cx="914946" cy="363826"/>
                </a:xfrm>
                <a:custGeom>
                  <a:avLst/>
                  <a:gdLst/>
                  <a:ahLst/>
                  <a:cxnLst>
                    <a:cxn ang="0">
                      <a:pos x="wd2" y="hd2"/>
                    </a:cxn>
                    <a:cxn ang="5400000">
                      <a:pos x="wd2" y="hd2"/>
                    </a:cxn>
                    <a:cxn ang="10800000">
                      <a:pos x="wd2" y="hd2"/>
                    </a:cxn>
                    <a:cxn ang="16200000">
                      <a:pos x="wd2" y="hd2"/>
                    </a:cxn>
                  </a:cxnLst>
                  <a:rect l="0" t="0" r="r" b="b"/>
                  <a:pathLst>
                    <a:path w="21600" h="21600" extrusionOk="0">
                      <a:moveTo>
                        <a:pt x="1173" y="21600"/>
                      </a:moveTo>
                      <a:cubicBezTo>
                        <a:pt x="2977" y="10785"/>
                        <a:pt x="7227" y="3185"/>
                        <a:pt x="12183" y="3185"/>
                      </a:cubicBezTo>
                      <a:cubicBezTo>
                        <a:pt x="15317" y="3185"/>
                        <a:pt x="18168" y="6227"/>
                        <a:pt x="20297" y="11195"/>
                      </a:cubicBezTo>
                      <a:lnTo>
                        <a:pt x="21600" y="9940"/>
                      </a:lnTo>
                      <a:cubicBezTo>
                        <a:pt x="19205" y="3808"/>
                        <a:pt x="15872" y="0"/>
                        <a:pt x="12183" y="0"/>
                      </a:cubicBezTo>
                      <a:cubicBezTo>
                        <a:pt x="6697" y="0"/>
                        <a:pt x="1993" y="8418"/>
                        <a:pt x="0" y="20398"/>
                      </a:cubicBezTo>
                      <a:cubicBezTo>
                        <a:pt x="0" y="20398"/>
                        <a:pt x="1173" y="21600"/>
                        <a:pt x="1173" y="21600"/>
                      </a:cubicBezTo>
                      <a:close/>
                    </a:path>
                  </a:pathLst>
                </a:custGeom>
                <a:gradFill>
                  <a:gsLst>
                    <a:gs pos="4000">
                      <a:srgbClr val="A38A5C"/>
                    </a:gs>
                    <a:gs pos="58000">
                      <a:srgbClr val="ECDCAA"/>
                    </a:gs>
                  </a:gsLst>
                  <a:lin ang="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2" name="Shape 11">
                  <a:extLst>
                    <a:ext uri="{FF2B5EF4-FFF2-40B4-BE49-F238E27FC236}">
                      <a16:creationId xmlns:a16="http://schemas.microsoft.com/office/drawing/2014/main" id="{E6FF415E-73CA-4719-B79E-483EC6499339}"/>
                    </a:ext>
                  </a:extLst>
                </p:cNvPr>
                <p:cNvSpPr/>
                <p:nvPr/>
              </p:nvSpPr>
              <p:spPr>
                <a:xfrm>
                  <a:off x="21715132" y="17435797"/>
                  <a:ext cx="392475" cy="107914"/>
                </a:xfrm>
                <a:custGeom>
                  <a:avLst/>
                  <a:gdLst/>
                  <a:ahLst/>
                  <a:cxnLst>
                    <a:cxn ang="0">
                      <a:pos x="wd2" y="hd2"/>
                    </a:cxn>
                    <a:cxn ang="5400000">
                      <a:pos x="wd2" y="hd2"/>
                    </a:cxn>
                    <a:cxn ang="10800000">
                      <a:pos x="wd2" y="hd2"/>
                    </a:cxn>
                    <a:cxn ang="16200000">
                      <a:pos x="wd2" y="hd2"/>
                    </a:cxn>
                  </a:cxnLst>
                  <a:rect l="0" t="0" r="r" b="b"/>
                  <a:pathLst>
                    <a:path w="21600" h="21600" extrusionOk="0">
                      <a:moveTo>
                        <a:pt x="20124" y="0"/>
                      </a:moveTo>
                      <a:cubicBezTo>
                        <a:pt x="16358" y="6931"/>
                        <a:pt x="12100" y="10861"/>
                        <a:pt x="7589" y="10861"/>
                      </a:cubicBezTo>
                      <a:cubicBezTo>
                        <a:pt x="5232" y="10861"/>
                        <a:pt x="2944" y="9787"/>
                        <a:pt x="759" y="7778"/>
                      </a:cubicBezTo>
                      <a:lnTo>
                        <a:pt x="0" y="18164"/>
                      </a:lnTo>
                      <a:cubicBezTo>
                        <a:pt x="2428" y="20403"/>
                        <a:pt x="4971" y="21600"/>
                        <a:pt x="7589" y="21600"/>
                      </a:cubicBezTo>
                      <a:cubicBezTo>
                        <a:pt x="12639" y="21600"/>
                        <a:pt x="17397" y="17153"/>
                        <a:pt x="21600" y="9315"/>
                      </a:cubicBezTo>
                      <a:cubicBezTo>
                        <a:pt x="21600" y="9315"/>
                        <a:pt x="20124" y="0"/>
                        <a:pt x="20124" y="0"/>
                      </a:cubicBezTo>
                      <a:close/>
                    </a:path>
                  </a:pathLst>
                </a:custGeom>
                <a:gradFill>
                  <a:gsLst>
                    <a:gs pos="4000">
                      <a:srgbClr val="A38A5C"/>
                    </a:gs>
                    <a:gs pos="58000">
                      <a:srgbClr val="ECDCAA"/>
                    </a:gs>
                  </a:gsLst>
                  <a:lin ang="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3" name="Shape 12">
                  <a:extLst>
                    <a:ext uri="{FF2B5EF4-FFF2-40B4-BE49-F238E27FC236}">
                      <a16:creationId xmlns:a16="http://schemas.microsoft.com/office/drawing/2014/main" id="{41F5ECEF-6434-4CF0-B549-7CC278A13F84}"/>
                    </a:ext>
                  </a:extLst>
                </p:cNvPr>
                <p:cNvSpPr/>
                <p:nvPr/>
              </p:nvSpPr>
              <p:spPr>
                <a:xfrm>
                  <a:off x="18277291" y="3214668"/>
                  <a:ext cx="7146526" cy="14710811"/>
                </a:xfrm>
                <a:custGeom>
                  <a:avLst/>
                  <a:gdLst/>
                  <a:ahLst/>
                  <a:cxnLst>
                    <a:cxn ang="0">
                      <a:pos x="wd2" y="hd2"/>
                    </a:cxn>
                    <a:cxn ang="5400000">
                      <a:pos x="wd2" y="hd2"/>
                    </a:cxn>
                    <a:cxn ang="10800000">
                      <a:pos x="wd2" y="hd2"/>
                    </a:cxn>
                    <a:cxn ang="16200000">
                      <a:pos x="wd2" y="hd2"/>
                    </a:cxn>
                  </a:cxnLst>
                  <a:rect l="0" t="0" r="r" b="b"/>
                  <a:pathLst>
                    <a:path w="21600" h="21600" extrusionOk="0">
                      <a:moveTo>
                        <a:pt x="3288" y="199"/>
                      </a:moveTo>
                      <a:cubicBezTo>
                        <a:pt x="1702" y="199"/>
                        <a:pt x="411" y="827"/>
                        <a:pt x="411" y="1597"/>
                      </a:cubicBezTo>
                      <a:lnTo>
                        <a:pt x="411" y="20003"/>
                      </a:lnTo>
                      <a:cubicBezTo>
                        <a:pt x="411" y="20774"/>
                        <a:pt x="1702" y="21401"/>
                        <a:pt x="3288" y="21401"/>
                      </a:cubicBezTo>
                      <a:lnTo>
                        <a:pt x="18312" y="21401"/>
                      </a:lnTo>
                      <a:cubicBezTo>
                        <a:pt x="19899" y="21401"/>
                        <a:pt x="21190" y="20774"/>
                        <a:pt x="21190" y="20003"/>
                      </a:cubicBezTo>
                      <a:lnTo>
                        <a:pt x="21190" y="1597"/>
                      </a:lnTo>
                      <a:cubicBezTo>
                        <a:pt x="21190" y="827"/>
                        <a:pt x="19899" y="199"/>
                        <a:pt x="18312" y="199"/>
                      </a:cubicBezTo>
                      <a:cubicBezTo>
                        <a:pt x="18312" y="199"/>
                        <a:pt x="3288" y="199"/>
                        <a:pt x="3288" y="199"/>
                      </a:cubicBezTo>
                      <a:close/>
                      <a:moveTo>
                        <a:pt x="18312" y="21428"/>
                      </a:moveTo>
                      <a:lnTo>
                        <a:pt x="3288" y="21428"/>
                      </a:lnTo>
                      <a:cubicBezTo>
                        <a:pt x="1670" y="21428"/>
                        <a:pt x="353" y="20789"/>
                        <a:pt x="353" y="20003"/>
                      </a:cubicBezTo>
                      <a:lnTo>
                        <a:pt x="353" y="1597"/>
                      </a:lnTo>
                      <a:cubicBezTo>
                        <a:pt x="353" y="811"/>
                        <a:pt x="1670" y="172"/>
                        <a:pt x="3288" y="172"/>
                      </a:cubicBezTo>
                      <a:lnTo>
                        <a:pt x="18312" y="172"/>
                      </a:lnTo>
                      <a:cubicBezTo>
                        <a:pt x="19930" y="172"/>
                        <a:pt x="21247" y="811"/>
                        <a:pt x="21247" y="1597"/>
                      </a:cubicBezTo>
                      <a:lnTo>
                        <a:pt x="21247" y="20003"/>
                      </a:lnTo>
                      <a:cubicBezTo>
                        <a:pt x="21247" y="20789"/>
                        <a:pt x="19930" y="21428"/>
                        <a:pt x="18312" y="21428"/>
                      </a:cubicBezTo>
                      <a:close/>
                      <a:moveTo>
                        <a:pt x="3288" y="28"/>
                      </a:moveTo>
                      <a:cubicBezTo>
                        <a:pt x="1507" y="28"/>
                        <a:pt x="57" y="732"/>
                        <a:pt x="57" y="1597"/>
                      </a:cubicBezTo>
                      <a:lnTo>
                        <a:pt x="57" y="20003"/>
                      </a:lnTo>
                      <a:cubicBezTo>
                        <a:pt x="57" y="20868"/>
                        <a:pt x="1507" y="21572"/>
                        <a:pt x="3288" y="21572"/>
                      </a:cubicBezTo>
                      <a:lnTo>
                        <a:pt x="18312" y="21572"/>
                      </a:lnTo>
                      <a:cubicBezTo>
                        <a:pt x="20093" y="21572"/>
                        <a:pt x="21543" y="20868"/>
                        <a:pt x="21543" y="20003"/>
                      </a:cubicBezTo>
                      <a:lnTo>
                        <a:pt x="21543" y="1597"/>
                      </a:lnTo>
                      <a:cubicBezTo>
                        <a:pt x="21543" y="732"/>
                        <a:pt x="20093" y="28"/>
                        <a:pt x="18312" y="28"/>
                      </a:cubicBezTo>
                      <a:cubicBezTo>
                        <a:pt x="18312" y="28"/>
                        <a:pt x="3288" y="28"/>
                        <a:pt x="3288" y="28"/>
                      </a:cubicBezTo>
                      <a:close/>
                      <a:moveTo>
                        <a:pt x="18312" y="21600"/>
                      </a:moveTo>
                      <a:lnTo>
                        <a:pt x="3288" y="21600"/>
                      </a:lnTo>
                      <a:cubicBezTo>
                        <a:pt x="1475" y="21600"/>
                        <a:pt x="0" y="20883"/>
                        <a:pt x="0" y="20003"/>
                      </a:cubicBezTo>
                      <a:lnTo>
                        <a:pt x="0" y="1597"/>
                      </a:lnTo>
                      <a:cubicBezTo>
                        <a:pt x="0" y="717"/>
                        <a:pt x="1475" y="0"/>
                        <a:pt x="3288" y="0"/>
                      </a:cubicBezTo>
                      <a:lnTo>
                        <a:pt x="18312" y="0"/>
                      </a:lnTo>
                      <a:cubicBezTo>
                        <a:pt x="20125" y="0"/>
                        <a:pt x="21600" y="717"/>
                        <a:pt x="21600" y="1597"/>
                      </a:cubicBezTo>
                      <a:lnTo>
                        <a:pt x="21600" y="20003"/>
                      </a:lnTo>
                      <a:cubicBezTo>
                        <a:pt x="21600" y="20883"/>
                        <a:pt x="20125" y="21600"/>
                        <a:pt x="18312" y="21600"/>
                      </a:cubicBezTo>
                      <a:close/>
                    </a:path>
                  </a:pathLst>
                </a:custGeom>
                <a:solidFill>
                  <a:srgbClr val="D6B992">
                    <a:alpha val="60000"/>
                  </a:srgbClr>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4" name="Freeform 13">
                  <a:extLst>
                    <a:ext uri="{FF2B5EF4-FFF2-40B4-BE49-F238E27FC236}">
                      <a16:creationId xmlns:a16="http://schemas.microsoft.com/office/drawing/2014/main" id="{2F13A48A-230A-45BF-B671-12A21A248345}"/>
                    </a:ext>
                  </a:extLst>
                </p:cNvPr>
                <p:cNvSpPr/>
                <p:nvPr/>
              </p:nvSpPr>
              <p:spPr>
                <a:xfrm>
                  <a:off x="18832469" y="5104412"/>
                  <a:ext cx="6069982" cy="169787"/>
                </a:xfrm>
                <a:custGeom>
                  <a:avLst/>
                  <a:gdLst>
                    <a:gd name="connsiteX0" fmla="*/ 884246 w 7220398"/>
                    <a:gd name="connsiteY0" fmla="*/ 101599 h 201966"/>
                    <a:gd name="connsiteX1" fmla="*/ 932171 w 7220398"/>
                    <a:gd name="connsiteY1" fmla="*/ 121452 h 201966"/>
                    <a:gd name="connsiteX2" fmla="*/ 884273 w 7220398"/>
                    <a:gd name="connsiteY2" fmla="*/ 169391 h 201966"/>
                    <a:gd name="connsiteX3" fmla="*/ 836321 w 7220398"/>
                    <a:gd name="connsiteY3" fmla="*/ 121452 h 201966"/>
                    <a:gd name="connsiteX4" fmla="*/ 884246 w 7220398"/>
                    <a:gd name="connsiteY4" fmla="*/ 101599 h 201966"/>
                    <a:gd name="connsiteX5" fmla="*/ 628020 w 7220398"/>
                    <a:gd name="connsiteY5" fmla="*/ 50800 h 201966"/>
                    <a:gd name="connsiteX6" fmla="*/ 684541 w 7220398"/>
                    <a:gd name="connsiteY6" fmla="*/ 107306 h 201966"/>
                    <a:gd name="connsiteX7" fmla="*/ 628020 w 7220398"/>
                    <a:gd name="connsiteY7" fmla="*/ 163823 h 201966"/>
                    <a:gd name="connsiteX8" fmla="*/ 571500 w 7220398"/>
                    <a:gd name="connsiteY8" fmla="*/ 107306 h 201966"/>
                    <a:gd name="connsiteX9" fmla="*/ 628020 w 7220398"/>
                    <a:gd name="connsiteY9" fmla="*/ 50800 h 201966"/>
                    <a:gd name="connsiteX10" fmla="*/ 488318 w 7220398"/>
                    <a:gd name="connsiteY10" fmla="*/ 50800 h 201966"/>
                    <a:gd name="connsiteX11" fmla="*/ 544837 w 7220398"/>
                    <a:gd name="connsiteY11" fmla="*/ 107306 h 201966"/>
                    <a:gd name="connsiteX12" fmla="*/ 488318 w 7220398"/>
                    <a:gd name="connsiteY12" fmla="*/ 163823 h 201966"/>
                    <a:gd name="connsiteX13" fmla="*/ 431800 w 7220398"/>
                    <a:gd name="connsiteY13" fmla="*/ 107306 h 201966"/>
                    <a:gd name="connsiteX14" fmla="*/ 488318 w 7220398"/>
                    <a:gd name="connsiteY14" fmla="*/ 50800 h 201966"/>
                    <a:gd name="connsiteX15" fmla="*/ 348620 w 7220398"/>
                    <a:gd name="connsiteY15" fmla="*/ 50800 h 201966"/>
                    <a:gd name="connsiteX16" fmla="*/ 405141 w 7220398"/>
                    <a:gd name="connsiteY16" fmla="*/ 107306 h 201966"/>
                    <a:gd name="connsiteX17" fmla="*/ 348620 w 7220398"/>
                    <a:gd name="connsiteY17" fmla="*/ 163823 h 201966"/>
                    <a:gd name="connsiteX18" fmla="*/ 292100 w 7220398"/>
                    <a:gd name="connsiteY18" fmla="*/ 107306 h 201966"/>
                    <a:gd name="connsiteX19" fmla="*/ 348620 w 7220398"/>
                    <a:gd name="connsiteY19" fmla="*/ 50800 h 201966"/>
                    <a:gd name="connsiteX20" fmla="*/ 196222 w 7220398"/>
                    <a:gd name="connsiteY20" fmla="*/ 50800 h 201966"/>
                    <a:gd name="connsiteX21" fmla="*/ 252713 w 7220398"/>
                    <a:gd name="connsiteY21" fmla="*/ 107306 h 201966"/>
                    <a:gd name="connsiteX22" fmla="*/ 196222 w 7220398"/>
                    <a:gd name="connsiteY22" fmla="*/ 163823 h 201966"/>
                    <a:gd name="connsiteX23" fmla="*/ 139700 w 7220398"/>
                    <a:gd name="connsiteY23" fmla="*/ 107306 h 201966"/>
                    <a:gd name="connsiteX24" fmla="*/ 196222 w 7220398"/>
                    <a:gd name="connsiteY24" fmla="*/ 50800 h 201966"/>
                    <a:gd name="connsiteX25" fmla="*/ 56517 w 7220398"/>
                    <a:gd name="connsiteY25" fmla="*/ 50800 h 201966"/>
                    <a:gd name="connsiteX26" fmla="*/ 113013 w 7220398"/>
                    <a:gd name="connsiteY26" fmla="*/ 107306 h 201966"/>
                    <a:gd name="connsiteX27" fmla="*/ 56517 w 7220398"/>
                    <a:gd name="connsiteY27" fmla="*/ 163823 h 201966"/>
                    <a:gd name="connsiteX28" fmla="*/ 0 w 7220398"/>
                    <a:gd name="connsiteY28" fmla="*/ 107306 h 201966"/>
                    <a:gd name="connsiteX29" fmla="*/ 56517 w 7220398"/>
                    <a:gd name="connsiteY29" fmla="*/ 50800 h 201966"/>
                    <a:gd name="connsiteX30" fmla="*/ 884231 w 7220398"/>
                    <a:gd name="connsiteY30" fmla="*/ 50799 h 201966"/>
                    <a:gd name="connsiteX31" fmla="*/ 968363 w 7220398"/>
                    <a:gd name="connsiteY31" fmla="*/ 85665 h 201966"/>
                    <a:gd name="connsiteX32" fmla="*/ 949994 w 7220398"/>
                    <a:gd name="connsiteY32" fmla="*/ 104064 h 201966"/>
                    <a:gd name="connsiteX33" fmla="*/ 818500 w 7220398"/>
                    <a:gd name="connsiteY33" fmla="*/ 104064 h 201966"/>
                    <a:gd name="connsiteX34" fmla="*/ 800100 w 7220398"/>
                    <a:gd name="connsiteY34" fmla="*/ 85665 h 201966"/>
                    <a:gd name="connsiteX35" fmla="*/ 884231 w 7220398"/>
                    <a:gd name="connsiteY35" fmla="*/ 50799 h 201966"/>
                    <a:gd name="connsiteX36" fmla="*/ 6760660 w 7220398"/>
                    <a:gd name="connsiteY36" fmla="*/ 36283 h 201966"/>
                    <a:gd name="connsiteX37" fmla="*/ 7080614 w 7220398"/>
                    <a:gd name="connsiteY37" fmla="*/ 36283 h 201966"/>
                    <a:gd name="connsiteX38" fmla="*/ 7088316 w 7220398"/>
                    <a:gd name="connsiteY38" fmla="*/ 43991 h 201966"/>
                    <a:gd name="connsiteX39" fmla="*/ 7088316 w 7220398"/>
                    <a:gd name="connsiteY39" fmla="*/ 153938 h 201966"/>
                    <a:gd name="connsiteX40" fmla="*/ 7080614 w 7220398"/>
                    <a:gd name="connsiteY40" fmla="*/ 161645 h 201966"/>
                    <a:gd name="connsiteX41" fmla="*/ 6760660 w 7220398"/>
                    <a:gd name="connsiteY41" fmla="*/ 161645 h 201966"/>
                    <a:gd name="connsiteX42" fmla="*/ 6752944 w 7220398"/>
                    <a:gd name="connsiteY42" fmla="*/ 153938 h 201966"/>
                    <a:gd name="connsiteX43" fmla="*/ 6752944 w 7220398"/>
                    <a:gd name="connsiteY43" fmla="*/ 43991 h 201966"/>
                    <a:gd name="connsiteX44" fmla="*/ 6760660 w 7220398"/>
                    <a:gd name="connsiteY44" fmla="*/ 36283 h 201966"/>
                    <a:gd name="connsiteX45" fmla="*/ 6750030 w 7220398"/>
                    <a:gd name="connsiteY45" fmla="*/ 8275 h 201966"/>
                    <a:gd name="connsiteX46" fmla="*/ 6726576 w 7220398"/>
                    <a:gd name="connsiteY46" fmla="*/ 31726 h 201966"/>
                    <a:gd name="connsiteX47" fmla="*/ 6726576 w 7220398"/>
                    <a:gd name="connsiteY47" fmla="*/ 170241 h 201966"/>
                    <a:gd name="connsiteX48" fmla="*/ 6750030 w 7220398"/>
                    <a:gd name="connsiteY48" fmla="*/ 193691 h 201966"/>
                    <a:gd name="connsiteX49" fmla="*/ 7153150 w 7220398"/>
                    <a:gd name="connsiteY49" fmla="*/ 193691 h 201966"/>
                    <a:gd name="connsiteX50" fmla="*/ 7176604 w 7220398"/>
                    <a:gd name="connsiteY50" fmla="*/ 170241 h 201966"/>
                    <a:gd name="connsiteX51" fmla="*/ 7176604 w 7220398"/>
                    <a:gd name="connsiteY51" fmla="*/ 31726 h 201966"/>
                    <a:gd name="connsiteX52" fmla="*/ 7153150 w 7220398"/>
                    <a:gd name="connsiteY52" fmla="*/ 8275 h 201966"/>
                    <a:gd name="connsiteX53" fmla="*/ 6750030 w 7220398"/>
                    <a:gd name="connsiteY53" fmla="*/ 0 h 201966"/>
                    <a:gd name="connsiteX54" fmla="*/ 7153150 w 7220398"/>
                    <a:gd name="connsiteY54" fmla="*/ 0 h 201966"/>
                    <a:gd name="connsiteX55" fmla="*/ 7184856 w 7220398"/>
                    <a:gd name="connsiteY55" fmla="*/ 31726 h 201966"/>
                    <a:gd name="connsiteX56" fmla="*/ 7184856 w 7220398"/>
                    <a:gd name="connsiteY56" fmla="*/ 64134 h 201966"/>
                    <a:gd name="connsiteX57" fmla="*/ 7220398 w 7220398"/>
                    <a:gd name="connsiteY57" fmla="*/ 100983 h 201966"/>
                    <a:gd name="connsiteX58" fmla="*/ 7184856 w 7220398"/>
                    <a:gd name="connsiteY58" fmla="*/ 137833 h 201966"/>
                    <a:gd name="connsiteX59" fmla="*/ 7184856 w 7220398"/>
                    <a:gd name="connsiteY59" fmla="*/ 170241 h 201966"/>
                    <a:gd name="connsiteX60" fmla="*/ 7153150 w 7220398"/>
                    <a:gd name="connsiteY60" fmla="*/ 201966 h 201966"/>
                    <a:gd name="connsiteX61" fmla="*/ 6750030 w 7220398"/>
                    <a:gd name="connsiteY61" fmla="*/ 201966 h 201966"/>
                    <a:gd name="connsiteX62" fmla="*/ 6718300 w 7220398"/>
                    <a:gd name="connsiteY62" fmla="*/ 170241 h 201966"/>
                    <a:gd name="connsiteX63" fmla="*/ 6718300 w 7220398"/>
                    <a:gd name="connsiteY63" fmla="*/ 31726 h 201966"/>
                    <a:gd name="connsiteX64" fmla="*/ 6750030 w 7220398"/>
                    <a:gd name="connsiteY64" fmla="*/ 0 h 201966"/>
                    <a:gd name="connsiteX65" fmla="*/ 881329 w 7220398"/>
                    <a:gd name="connsiteY65" fmla="*/ 0 h 201966"/>
                    <a:gd name="connsiteX66" fmla="*/ 1000659 w 7220398"/>
                    <a:gd name="connsiteY66" fmla="*/ 49421 h 201966"/>
                    <a:gd name="connsiteX67" fmla="*/ 982307 w 7220398"/>
                    <a:gd name="connsiteY67" fmla="*/ 67782 h 201966"/>
                    <a:gd name="connsiteX68" fmla="*/ 780319 w 7220398"/>
                    <a:gd name="connsiteY68" fmla="*/ 67770 h 201966"/>
                    <a:gd name="connsiteX69" fmla="*/ 762000 w 7220398"/>
                    <a:gd name="connsiteY69" fmla="*/ 49421 h 201966"/>
                    <a:gd name="connsiteX70" fmla="*/ 881329 w 7220398"/>
                    <a:gd name="connsiteY70" fmla="*/ 0 h 20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20398" h="201966">
                      <a:moveTo>
                        <a:pt x="884246" y="101599"/>
                      </a:moveTo>
                      <a:cubicBezTo>
                        <a:pt x="901595" y="101599"/>
                        <a:pt x="918943" y="108217"/>
                        <a:pt x="932171" y="121452"/>
                      </a:cubicBezTo>
                      <a:lnTo>
                        <a:pt x="884273" y="169391"/>
                      </a:lnTo>
                      <a:lnTo>
                        <a:pt x="836321" y="121452"/>
                      </a:lnTo>
                      <a:cubicBezTo>
                        <a:pt x="849549" y="108217"/>
                        <a:pt x="866897" y="101599"/>
                        <a:pt x="884246" y="101599"/>
                      </a:cubicBezTo>
                      <a:close/>
                      <a:moveTo>
                        <a:pt x="628020" y="50800"/>
                      </a:moveTo>
                      <a:cubicBezTo>
                        <a:pt x="659217" y="50800"/>
                        <a:pt x="684541" y="76094"/>
                        <a:pt x="684541" y="107306"/>
                      </a:cubicBezTo>
                      <a:cubicBezTo>
                        <a:pt x="684541" y="138529"/>
                        <a:pt x="659217" y="163823"/>
                        <a:pt x="628020" y="163823"/>
                      </a:cubicBezTo>
                      <a:cubicBezTo>
                        <a:pt x="596798" y="163823"/>
                        <a:pt x="571500" y="138529"/>
                        <a:pt x="571500" y="107306"/>
                      </a:cubicBezTo>
                      <a:cubicBezTo>
                        <a:pt x="571500" y="76094"/>
                        <a:pt x="596798" y="50800"/>
                        <a:pt x="628020" y="50800"/>
                      </a:cubicBezTo>
                      <a:close/>
                      <a:moveTo>
                        <a:pt x="488318" y="50800"/>
                      </a:moveTo>
                      <a:cubicBezTo>
                        <a:pt x="519540" y="50800"/>
                        <a:pt x="544837" y="76094"/>
                        <a:pt x="544837" y="107306"/>
                      </a:cubicBezTo>
                      <a:cubicBezTo>
                        <a:pt x="544837" y="138529"/>
                        <a:pt x="519540" y="163823"/>
                        <a:pt x="488318" y="163823"/>
                      </a:cubicBezTo>
                      <a:cubicBezTo>
                        <a:pt x="457123" y="163823"/>
                        <a:pt x="431800" y="138529"/>
                        <a:pt x="431800" y="107306"/>
                      </a:cubicBezTo>
                      <a:cubicBezTo>
                        <a:pt x="431800" y="76094"/>
                        <a:pt x="457123" y="50800"/>
                        <a:pt x="488318" y="50800"/>
                      </a:cubicBezTo>
                      <a:close/>
                      <a:moveTo>
                        <a:pt x="348620" y="50800"/>
                      </a:moveTo>
                      <a:cubicBezTo>
                        <a:pt x="379817" y="50800"/>
                        <a:pt x="405141" y="76094"/>
                        <a:pt x="405141" y="107306"/>
                      </a:cubicBezTo>
                      <a:cubicBezTo>
                        <a:pt x="405141" y="138529"/>
                        <a:pt x="379817" y="163823"/>
                        <a:pt x="348620" y="163823"/>
                      </a:cubicBezTo>
                      <a:cubicBezTo>
                        <a:pt x="317398" y="163823"/>
                        <a:pt x="292100" y="138529"/>
                        <a:pt x="292100" y="107306"/>
                      </a:cubicBezTo>
                      <a:cubicBezTo>
                        <a:pt x="292100" y="76094"/>
                        <a:pt x="317398" y="50800"/>
                        <a:pt x="348620" y="50800"/>
                      </a:cubicBezTo>
                      <a:close/>
                      <a:moveTo>
                        <a:pt x="196222" y="50800"/>
                      </a:moveTo>
                      <a:cubicBezTo>
                        <a:pt x="227416" y="50800"/>
                        <a:pt x="252713" y="76094"/>
                        <a:pt x="252713" y="107306"/>
                      </a:cubicBezTo>
                      <a:cubicBezTo>
                        <a:pt x="252713" y="138529"/>
                        <a:pt x="227416" y="163823"/>
                        <a:pt x="196222" y="163823"/>
                      </a:cubicBezTo>
                      <a:cubicBezTo>
                        <a:pt x="164971" y="163823"/>
                        <a:pt x="139700" y="138529"/>
                        <a:pt x="139700" y="107306"/>
                      </a:cubicBezTo>
                      <a:cubicBezTo>
                        <a:pt x="139700" y="76094"/>
                        <a:pt x="164971" y="50800"/>
                        <a:pt x="196222" y="50800"/>
                      </a:cubicBezTo>
                      <a:close/>
                      <a:moveTo>
                        <a:pt x="56517" y="50800"/>
                      </a:moveTo>
                      <a:cubicBezTo>
                        <a:pt x="87742" y="50800"/>
                        <a:pt x="113013" y="76094"/>
                        <a:pt x="113013" y="107306"/>
                      </a:cubicBezTo>
                      <a:cubicBezTo>
                        <a:pt x="113013" y="138529"/>
                        <a:pt x="87742" y="163823"/>
                        <a:pt x="56517" y="163823"/>
                      </a:cubicBezTo>
                      <a:cubicBezTo>
                        <a:pt x="25297" y="163823"/>
                        <a:pt x="0" y="138529"/>
                        <a:pt x="0" y="107306"/>
                      </a:cubicBezTo>
                      <a:cubicBezTo>
                        <a:pt x="0" y="76094"/>
                        <a:pt x="25297" y="50800"/>
                        <a:pt x="56517" y="50800"/>
                      </a:cubicBezTo>
                      <a:close/>
                      <a:moveTo>
                        <a:pt x="884231" y="50799"/>
                      </a:moveTo>
                      <a:cubicBezTo>
                        <a:pt x="914686" y="50799"/>
                        <a:pt x="945141" y="62421"/>
                        <a:pt x="968363" y="85665"/>
                      </a:cubicBezTo>
                      <a:lnTo>
                        <a:pt x="949994" y="104064"/>
                      </a:lnTo>
                      <a:cubicBezTo>
                        <a:pt x="913678" y="67746"/>
                        <a:pt x="854785" y="67746"/>
                        <a:pt x="818500" y="104064"/>
                      </a:cubicBezTo>
                      <a:lnTo>
                        <a:pt x="800100" y="85665"/>
                      </a:lnTo>
                      <a:cubicBezTo>
                        <a:pt x="823322" y="62421"/>
                        <a:pt x="853777" y="50799"/>
                        <a:pt x="884231" y="50799"/>
                      </a:cubicBezTo>
                      <a:close/>
                      <a:moveTo>
                        <a:pt x="6760660" y="36283"/>
                      </a:moveTo>
                      <a:lnTo>
                        <a:pt x="7080614" y="36283"/>
                      </a:lnTo>
                      <a:cubicBezTo>
                        <a:pt x="7084854" y="36283"/>
                        <a:pt x="7088316" y="39748"/>
                        <a:pt x="7088316" y="43991"/>
                      </a:cubicBezTo>
                      <a:lnTo>
                        <a:pt x="7088316" y="153938"/>
                      </a:lnTo>
                      <a:cubicBezTo>
                        <a:pt x="7088316" y="158180"/>
                        <a:pt x="7084854" y="161645"/>
                        <a:pt x="7080614" y="161645"/>
                      </a:cubicBezTo>
                      <a:cubicBezTo>
                        <a:pt x="7080614" y="161645"/>
                        <a:pt x="6760660" y="161645"/>
                        <a:pt x="6760660" y="161645"/>
                      </a:cubicBezTo>
                      <a:cubicBezTo>
                        <a:pt x="6756406" y="161645"/>
                        <a:pt x="6752944" y="158180"/>
                        <a:pt x="6752944" y="153938"/>
                      </a:cubicBezTo>
                      <a:lnTo>
                        <a:pt x="6752944" y="43991"/>
                      </a:lnTo>
                      <a:cubicBezTo>
                        <a:pt x="6752944" y="39748"/>
                        <a:pt x="6756406" y="36283"/>
                        <a:pt x="6760660" y="36283"/>
                      </a:cubicBezTo>
                      <a:close/>
                      <a:moveTo>
                        <a:pt x="6750030" y="8275"/>
                      </a:moveTo>
                      <a:cubicBezTo>
                        <a:pt x="6737106" y="8275"/>
                        <a:pt x="6726576" y="18785"/>
                        <a:pt x="6726576" y="31726"/>
                      </a:cubicBezTo>
                      <a:lnTo>
                        <a:pt x="6726576" y="170241"/>
                      </a:lnTo>
                      <a:cubicBezTo>
                        <a:pt x="6726576" y="183172"/>
                        <a:pt x="6737106" y="193691"/>
                        <a:pt x="6750030" y="193691"/>
                      </a:cubicBezTo>
                      <a:lnTo>
                        <a:pt x="7153150" y="193691"/>
                      </a:lnTo>
                      <a:cubicBezTo>
                        <a:pt x="7166098" y="193691"/>
                        <a:pt x="7176604" y="183172"/>
                        <a:pt x="7176604" y="170241"/>
                      </a:cubicBezTo>
                      <a:cubicBezTo>
                        <a:pt x="7176604" y="170241"/>
                        <a:pt x="7176604" y="31726"/>
                        <a:pt x="7176604" y="31726"/>
                      </a:cubicBezTo>
                      <a:cubicBezTo>
                        <a:pt x="7176604" y="18785"/>
                        <a:pt x="7166098" y="8275"/>
                        <a:pt x="7153150" y="8275"/>
                      </a:cubicBezTo>
                      <a:close/>
                      <a:moveTo>
                        <a:pt x="6750030" y="0"/>
                      </a:moveTo>
                      <a:lnTo>
                        <a:pt x="7153150" y="0"/>
                      </a:lnTo>
                      <a:cubicBezTo>
                        <a:pt x="7170630" y="0"/>
                        <a:pt x="7184856" y="14222"/>
                        <a:pt x="7184856" y="31726"/>
                      </a:cubicBezTo>
                      <a:lnTo>
                        <a:pt x="7184856" y="64134"/>
                      </a:lnTo>
                      <a:cubicBezTo>
                        <a:pt x="7204614" y="65031"/>
                        <a:pt x="7220398" y="81030"/>
                        <a:pt x="7220398" y="100983"/>
                      </a:cubicBezTo>
                      <a:cubicBezTo>
                        <a:pt x="7220398" y="120927"/>
                        <a:pt x="7204614" y="136935"/>
                        <a:pt x="7184856" y="137833"/>
                      </a:cubicBezTo>
                      <a:lnTo>
                        <a:pt x="7184856" y="170241"/>
                      </a:lnTo>
                      <a:cubicBezTo>
                        <a:pt x="7184856" y="187744"/>
                        <a:pt x="7170630" y="201966"/>
                        <a:pt x="7153150" y="201966"/>
                      </a:cubicBezTo>
                      <a:lnTo>
                        <a:pt x="6750030" y="201966"/>
                      </a:lnTo>
                      <a:cubicBezTo>
                        <a:pt x="6732526" y="201966"/>
                        <a:pt x="6718300" y="187744"/>
                        <a:pt x="6718300" y="170241"/>
                      </a:cubicBezTo>
                      <a:lnTo>
                        <a:pt x="6718300" y="31726"/>
                      </a:lnTo>
                      <a:cubicBezTo>
                        <a:pt x="6718300" y="14222"/>
                        <a:pt x="6732526" y="0"/>
                        <a:pt x="6750030" y="0"/>
                      </a:cubicBezTo>
                      <a:close/>
                      <a:moveTo>
                        <a:pt x="881329" y="0"/>
                      </a:moveTo>
                      <a:cubicBezTo>
                        <a:pt x="924520" y="0"/>
                        <a:pt x="967711" y="16474"/>
                        <a:pt x="1000659" y="49421"/>
                      </a:cubicBezTo>
                      <a:lnTo>
                        <a:pt x="982307" y="67782"/>
                      </a:lnTo>
                      <a:cubicBezTo>
                        <a:pt x="926553" y="12002"/>
                        <a:pt x="836106" y="12002"/>
                        <a:pt x="780319" y="67770"/>
                      </a:cubicBezTo>
                      <a:cubicBezTo>
                        <a:pt x="780319" y="67770"/>
                        <a:pt x="762000" y="49421"/>
                        <a:pt x="762000" y="49421"/>
                      </a:cubicBezTo>
                      <a:cubicBezTo>
                        <a:pt x="794948" y="16474"/>
                        <a:pt x="838139" y="0"/>
                        <a:pt x="881329" y="0"/>
                      </a:cubicBezTo>
                      <a:close/>
                    </a:path>
                  </a:pathLst>
                </a:custGeom>
                <a:solidFill>
                  <a:srgbClr val="000000"/>
                </a:solidFill>
                <a:ln w="12700">
                  <a:miter lim="400000"/>
                </a:ln>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5" name="Shape 23">
                  <a:extLst>
                    <a:ext uri="{FF2B5EF4-FFF2-40B4-BE49-F238E27FC236}">
                      <a16:creationId xmlns:a16="http://schemas.microsoft.com/office/drawing/2014/main" id="{05C7A8BF-BCF9-493E-B6C2-D5DFD1B54852}"/>
                    </a:ext>
                  </a:extLst>
                </p:cNvPr>
                <p:cNvSpPr/>
                <p:nvPr/>
              </p:nvSpPr>
              <p:spPr>
                <a:xfrm>
                  <a:off x="18245261" y="6353566"/>
                  <a:ext cx="46382" cy="108996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cubicBezTo>
                        <a:pt x="0" y="0"/>
                        <a:pt x="21600" y="0"/>
                        <a:pt x="21600" y="0"/>
                      </a:cubicBezTo>
                      <a:close/>
                    </a:path>
                  </a:pathLst>
                </a:custGeom>
                <a:gradFill>
                  <a:gsLst>
                    <a:gs pos="18000">
                      <a:srgbClr val="D6B992"/>
                    </a:gs>
                    <a:gs pos="71000">
                      <a:srgbClr val="D6B992"/>
                    </a:gs>
                    <a:gs pos="3000">
                      <a:srgbClr val="9D7F5B"/>
                    </a:gs>
                    <a:gs pos="90000">
                      <a:srgbClr val="9D7F5B"/>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6" name="Shape 24">
                  <a:extLst>
                    <a:ext uri="{FF2B5EF4-FFF2-40B4-BE49-F238E27FC236}">
                      <a16:creationId xmlns:a16="http://schemas.microsoft.com/office/drawing/2014/main" id="{CEC83279-4A44-4AA4-8536-397D261FED18}"/>
                    </a:ext>
                  </a:extLst>
                </p:cNvPr>
                <p:cNvSpPr/>
                <p:nvPr/>
              </p:nvSpPr>
              <p:spPr>
                <a:xfrm>
                  <a:off x="18223908" y="6353566"/>
                  <a:ext cx="23191" cy="10895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041"/>
                      </a:lnTo>
                      <a:lnTo>
                        <a:pt x="0" y="559"/>
                      </a:lnTo>
                      <a:cubicBezTo>
                        <a:pt x="0" y="559"/>
                        <a:pt x="21600" y="0"/>
                        <a:pt x="21600" y="0"/>
                      </a:cubicBezTo>
                      <a:close/>
                    </a:path>
                  </a:pathLst>
                </a:custGeom>
                <a:gradFill>
                  <a:gsLst>
                    <a:gs pos="0">
                      <a:srgbClr val="9D7F5B"/>
                    </a:gs>
                    <a:gs pos="100000">
                      <a:srgbClr val="9D7F5B"/>
                    </a:gs>
                    <a:gs pos="49000">
                      <a:srgbClr val="ECDCAA"/>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7" name="Shape 25">
                  <a:extLst>
                    <a:ext uri="{FF2B5EF4-FFF2-40B4-BE49-F238E27FC236}">
                      <a16:creationId xmlns:a16="http://schemas.microsoft.com/office/drawing/2014/main" id="{058709CA-A8A7-4DB1-AFF1-2DE63EBED625}"/>
                    </a:ext>
                  </a:extLst>
                </p:cNvPr>
                <p:cNvSpPr/>
                <p:nvPr/>
              </p:nvSpPr>
              <p:spPr>
                <a:xfrm>
                  <a:off x="18266614" y="5093736"/>
                  <a:ext cx="26590" cy="57825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cubicBezTo>
                        <a:pt x="0" y="0"/>
                        <a:pt x="21600" y="0"/>
                        <a:pt x="21600" y="0"/>
                      </a:cubicBezTo>
                      <a:close/>
                    </a:path>
                  </a:pathLst>
                </a:custGeom>
                <a:gradFill>
                  <a:gsLst>
                    <a:gs pos="18000">
                      <a:srgbClr val="D6B992"/>
                    </a:gs>
                    <a:gs pos="71000">
                      <a:srgbClr val="D6B992"/>
                    </a:gs>
                    <a:gs pos="3000">
                      <a:srgbClr val="9D7F5B"/>
                    </a:gs>
                    <a:gs pos="90000">
                      <a:srgbClr val="9D7F5B"/>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8" name="Shape 26">
                  <a:extLst>
                    <a:ext uri="{FF2B5EF4-FFF2-40B4-BE49-F238E27FC236}">
                      <a16:creationId xmlns:a16="http://schemas.microsoft.com/office/drawing/2014/main" id="{83CF9F01-990E-456E-A93F-2E5405EDF1FB}"/>
                    </a:ext>
                  </a:extLst>
                </p:cNvPr>
                <p:cNvSpPr/>
                <p:nvPr/>
              </p:nvSpPr>
              <p:spPr>
                <a:xfrm>
                  <a:off x="18255938" y="5093736"/>
                  <a:ext cx="13295" cy="57797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0997"/>
                      </a:lnTo>
                      <a:lnTo>
                        <a:pt x="0" y="604"/>
                      </a:lnTo>
                      <a:cubicBezTo>
                        <a:pt x="0" y="604"/>
                        <a:pt x="21600" y="0"/>
                        <a:pt x="21600" y="0"/>
                      </a:cubicBezTo>
                      <a:close/>
                    </a:path>
                  </a:pathLst>
                </a:custGeom>
                <a:gradFill>
                  <a:gsLst>
                    <a:gs pos="0">
                      <a:srgbClr val="9D7F5B"/>
                    </a:gs>
                    <a:gs pos="100000">
                      <a:srgbClr val="9D7F5B"/>
                    </a:gs>
                    <a:gs pos="49000">
                      <a:srgbClr val="ECDCAA"/>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39" name="Shape 27">
                  <a:extLst>
                    <a:ext uri="{FF2B5EF4-FFF2-40B4-BE49-F238E27FC236}">
                      <a16:creationId xmlns:a16="http://schemas.microsoft.com/office/drawing/2014/main" id="{69F336D2-0444-44C1-AAB9-6A5A62013562}"/>
                    </a:ext>
                  </a:extLst>
                </p:cNvPr>
                <p:cNvSpPr/>
                <p:nvPr/>
              </p:nvSpPr>
              <p:spPr>
                <a:xfrm>
                  <a:off x="18245261" y="7698808"/>
                  <a:ext cx="46382" cy="108996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cubicBezTo>
                        <a:pt x="0" y="0"/>
                        <a:pt x="21600" y="0"/>
                        <a:pt x="21600" y="0"/>
                      </a:cubicBezTo>
                      <a:close/>
                    </a:path>
                  </a:pathLst>
                </a:custGeom>
                <a:gradFill>
                  <a:gsLst>
                    <a:gs pos="18000">
                      <a:srgbClr val="D6B992"/>
                    </a:gs>
                    <a:gs pos="71000">
                      <a:srgbClr val="D6B992"/>
                    </a:gs>
                    <a:gs pos="3000">
                      <a:srgbClr val="9D7F5B"/>
                    </a:gs>
                    <a:gs pos="90000">
                      <a:srgbClr val="9D7F5B"/>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0" name="Shape 28">
                  <a:extLst>
                    <a:ext uri="{FF2B5EF4-FFF2-40B4-BE49-F238E27FC236}">
                      <a16:creationId xmlns:a16="http://schemas.microsoft.com/office/drawing/2014/main" id="{561FEE81-0624-43C3-9AF1-FA3B7C26CE73}"/>
                    </a:ext>
                  </a:extLst>
                </p:cNvPr>
                <p:cNvSpPr/>
                <p:nvPr/>
              </p:nvSpPr>
              <p:spPr>
                <a:xfrm>
                  <a:off x="18223908" y="7698808"/>
                  <a:ext cx="23191" cy="10895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041"/>
                      </a:lnTo>
                      <a:lnTo>
                        <a:pt x="0" y="559"/>
                      </a:lnTo>
                      <a:cubicBezTo>
                        <a:pt x="0" y="559"/>
                        <a:pt x="21600" y="0"/>
                        <a:pt x="21600" y="0"/>
                      </a:cubicBezTo>
                      <a:close/>
                    </a:path>
                  </a:pathLst>
                </a:custGeom>
                <a:gradFill>
                  <a:gsLst>
                    <a:gs pos="0">
                      <a:srgbClr val="9D7F5B"/>
                    </a:gs>
                    <a:gs pos="100000">
                      <a:srgbClr val="9D7F5B"/>
                    </a:gs>
                    <a:gs pos="49000">
                      <a:srgbClr val="ECDCAA"/>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1" name="Shape 29">
                  <a:extLst>
                    <a:ext uri="{FF2B5EF4-FFF2-40B4-BE49-F238E27FC236}">
                      <a16:creationId xmlns:a16="http://schemas.microsoft.com/office/drawing/2014/main" id="{F137B43E-56A0-41B5-AAB1-897A2335A159}"/>
                    </a:ext>
                  </a:extLst>
                </p:cNvPr>
                <p:cNvSpPr/>
                <p:nvPr/>
              </p:nvSpPr>
              <p:spPr>
                <a:xfrm>
                  <a:off x="25419887" y="6353566"/>
                  <a:ext cx="46382" cy="108996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lnTo>
                        <a:pt x="21600" y="21600"/>
                      </a:lnTo>
                      <a:cubicBezTo>
                        <a:pt x="21600" y="21600"/>
                        <a:pt x="0" y="21600"/>
                        <a:pt x="0" y="21600"/>
                      </a:cubicBezTo>
                      <a:close/>
                    </a:path>
                  </a:pathLst>
                </a:custGeom>
                <a:gradFill>
                  <a:gsLst>
                    <a:gs pos="18000">
                      <a:srgbClr val="D6B992"/>
                    </a:gs>
                    <a:gs pos="71000">
                      <a:srgbClr val="D6B992"/>
                    </a:gs>
                    <a:gs pos="3000">
                      <a:srgbClr val="9D7F5B"/>
                    </a:gs>
                    <a:gs pos="90000">
                      <a:srgbClr val="9D7F5B"/>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2" name="Shape 30">
                  <a:extLst>
                    <a:ext uri="{FF2B5EF4-FFF2-40B4-BE49-F238E27FC236}">
                      <a16:creationId xmlns:a16="http://schemas.microsoft.com/office/drawing/2014/main" id="{2C92F05B-838D-48B5-ACF7-AA0A0826ED7F}"/>
                    </a:ext>
                  </a:extLst>
                </p:cNvPr>
                <p:cNvSpPr/>
                <p:nvPr/>
              </p:nvSpPr>
              <p:spPr>
                <a:xfrm>
                  <a:off x="25467142" y="6355146"/>
                  <a:ext cx="23191" cy="10895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559"/>
                      </a:lnTo>
                      <a:lnTo>
                        <a:pt x="21600" y="21041"/>
                      </a:lnTo>
                      <a:cubicBezTo>
                        <a:pt x="21600" y="21041"/>
                        <a:pt x="0" y="21600"/>
                        <a:pt x="0" y="21600"/>
                      </a:cubicBezTo>
                      <a:close/>
                    </a:path>
                  </a:pathLst>
                </a:custGeom>
                <a:gradFill>
                  <a:gsLst>
                    <a:gs pos="0">
                      <a:srgbClr val="9D7F5B"/>
                    </a:gs>
                    <a:gs pos="100000">
                      <a:srgbClr val="9D7F5B"/>
                    </a:gs>
                    <a:gs pos="49000">
                      <a:srgbClr val="ECDCAA"/>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3" name="Shape 31">
                  <a:extLst>
                    <a:ext uri="{FF2B5EF4-FFF2-40B4-BE49-F238E27FC236}">
                      <a16:creationId xmlns:a16="http://schemas.microsoft.com/office/drawing/2014/main" id="{1ABB192A-B312-4ABD-B34A-911BA3FB7644}"/>
                    </a:ext>
                  </a:extLst>
                </p:cNvPr>
                <p:cNvSpPr/>
                <p:nvPr/>
              </p:nvSpPr>
              <p:spPr>
                <a:xfrm>
                  <a:off x="20594097" y="4036760"/>
                  <a:ext cx="241079" cy="241091"/>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7" y="21600"/>
                        <a:pt x="10801" y="21600"/>
                      </a:cubicBezTo>
                      <a:cubicBezTo>
                        <a:pt x="4836" y="21600"/>
                        <a:pt x="0" y="16765"/>
                        <a:pt x="0" y="10800"/>
                      </a:cubicBezTo>
                      <a:cubicBezTo>
                        <a:pt x="0" y="4835"/>
                        <a:pt x="4836" y="0"/>
                        <a:pt x="10801" y="0"/>
                      </a:cubicBezTo>
                      <a:cubicBezTo>
                        <a:pt x="16767" y="0"/>
                        <a:pt x="21600" y="4835"/>
                        <a:pt x="21600" y="10800"/>
                      </a:cubicBezTo>
                      <a:close/>
                    </a:path>
                  </a:pathLst>
                </a:custGeom>
                <a:gradFill>
                  <a:gsLst>
                    <a:gs pos="5000">
                      <a:srgbClr val="222729"/>
                    </a:gs>
                    <a:gs pos="96010">
                      <a:srgbClr val="7D7F7F"/>
                    </a:gs>
                  </a:gsLst>
                  <a:lin ang="3265368"/>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4" name="Shape 32">
                  <a:extLst>
                    <a:ext uri="{FF2B5EF4-FFF2-40B4-BE49-F238E27FC236}">
                      <a16:creationId xmlns:a16="http://schemas.microsoft.com/office/drawing/2014/main" id="{BCF47C54-FE28-45C1-AB71-9DA8322A03FB}"/>
                    </a:ext>
                  </a:extLst>
                </p:cNvPr>
                <p:cNvSpPr/>
                <p:nvPr/>
              </p:nvSpPr>
              <p:spPr>
                <a:xfrm>
                  <a:off x="20658156" y="4090143"/>
                  <a:ext cx="129247" cy="129237"/>
                </a:xfrm>
                <a:custGeom>
                  <a:avLst/>
                  <a:gdLst/>
                  <a:ahLst/>
                  <a:cxnLst>
                    <a:cxn ang="0">
                      <a:pos x="wd2" y="hd2"/>
                    </a:cxn>
                    <a:cxn ang="5400000">
                      <a:pos x="wd2" y="hd2"/>
                    </a:cxn>
                    <a:cxn ang="10800000">
                      <a:pos x="wd2" y="hd2"/>
                    </a:cxn>
                    <a:cxn ang="16200000">
                      <a:pos x="wd2" y="hd2"/>
                    </a:cxn>
                  </a:cxnLst>
                  <a:rect l="0" t="0" r="r" b="b"/>
                  <a:pathLst>
                    <a:path w="21600" h="21600" extrusionOk="0">
                      <a:moveTo>
                        <a:pt x="21600" y="10801"/>
                      </a:moveTo>
                      <a:cubicBezTo>
                        <a:pt x="21600" y="16764"/>
                        <a:pt x="16767" y="21600"/>
                        <a:pt x="10802" y="21600"/>
                      </a:cubicBezTo>
                      <a:cubicBezTo>
                        <a:pt x="4837" y="21600"/>
                        <a:pt x="0" y="16764"/>
                        <a:pt x="0" y="10801"/>
                      </a:cubicBezTo>
                      <a:cubicBezTo>
                        <a:pt x="0" y="4836"/>
                        <a:pt x="4837" y="0"/>
                        <a:pt x="10802" y="0"/>
                      </a:cubicBezTo>
                      <a:cubicBezTo>
                        <a:pt x="16767" y="0"/>
                        <a:pt x="21600" y="4836"/>
                        <a:pt x="21600" y="10801"/>
                      </a:cubicBezTo>
                      <a:close/>
                    </a:path>
                  </a:pathLst>
                </a:custGeom>
                <a:solidFill>
                  <a:srgbClr val="080A0A"/>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5" name="Shape 33">
                  <a:extLst>
                    <a:ext uri="{FF2B5EF4-FFF2-40B4-BE49-F238E27FC236}">
                      <a16:creationId xmlns:a16="http://schemas.microsoft.com/office/drawing/2014/main" id="{DE8869DD-28B0-4B69-8FE6-8D45BE64F055}"/>
                    </a:ext>
                  </a:extLst>
                </p:cNvPr>
                <p:cNvSpPr/>
                <p:nvPr/>
              </p:nvSpPr>
              <p:spPr>
                <a:xfrm>
                  <a:off x="20668833" y="4100819"/>
                  <a:ext cx="111876" cy="111877"/>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4"/>
                        <a:pt x="16764" y="21600"/>
                        <a:pt x="10800" y="21600"/>
                      </a:cubicBezTo>
                      <a:cubicBezTo>
                        <a:pt x="4836" y="21600"/>
                        <a:pt x="0" y="16764"/>
                        <a:pt x="0" y="10800"/>
                      </a:cubicBezTo>
                      <a:cubicBezTo>
                        <a:pt x="0" y="4836"/>
                        <a:pt x="4836" y="0"/>
                        <a:pt x="10800" y="0"/>
                      </a:cubicBezTo>
                      <a:cubicBezTo>
                        <a:pt x="16764" y="0"/>
                        <a:pt x="21600" y="4836"/>
                        <a:pt x="21600" y="10800"/>
                      </a:cubicBezTo>
                      <a:close/>
                    </a:path>
                  </a:pathLst>
                </a:custGeom>
                <a:gradFill>
                  <a:gsLst>
                    <a:gs pos="7000">
                      <a:srgbClr val="39669E"/>
                    </a:gs>
                    <a:gs pos="90979">
                      <a:srgbClr val="294C7E"/>
                    </a:gs>
                  </a:gsLst>
                  <a:lin ang="270000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6" name="Shape 34">
                  <a:extLst>
                    <a:ext uri="{FF2B5EF4-FFF2-40B4-BE49-F238E27FC236}">
                      <a16:creationId xmlns:a16="http://schemas.microsoft.com/office/drawing/2014/main" id="{F798F024-7479-4895-B678-97428908F4FC}"/>
                    </a:ext>
                  </a:extLst>
                </p:cNvPr>
                <p:cNvSpPr/>
                <p:nvPr/>
              </p:nvSpPr>
              <p:spPr>
                <a:xfrm>
                  <a:off x="21277395" y="4090143"/>
                  <a:ext cx="1159539" cy="133347"/>
                </a:xfrm>
                <a:custGeom>
                  <a:avLst/>
                  <a:gdLst/>
                  <a:ahLst/>
                  <a:cxnLst>
                    <a:cxn ang="0">
                      <a:pos x="wd2" y="hd2"/>
                    </a:cxn>
                    <a:cxn ang="5400000">
                      <a:pos x="wd2" y="hd2"/>
                    </a:cxn>
                    <a:cxn ang="10800000">
                      <a:pos x="wd2" y="hd2"/>
                    </a:cxn>
                    <a:cxn ang="16200000">
                      <a:pos x="wd2" y="hd2"/>
                    </a:cxn>
                  </a:cxnLst>
                  <a:rect l="0" t="0" r="r" b="b"/>
                  <a:pathLst>
                    <a:path w="21600" h="21600" extrusionOk="0">
                      <a:moveTo>
                        <a:pt x="20358" y="0"/>
                      </a:moveTo>
                      <a:lnTo>
                        <a:pt x="1242" y="0"/>
                      </a:lnTo>
                      <a:cubicBezTo>
                        <a:pt x="556" y="0"/>
                        <a:pt x="0" y="4835"/>
                        <a:pt x="0" y="10800"/>
                      </a:cubicBezTo>
                      <a:cubicBezTo>
                        <a:pt x="0" y="16765"/>
                        <a:pt x="556" y="21600"/>
                        <a:pt x="1242" y="21600"/>
                      </a:cubicBezTo>
                      <a:lnTo>
                        <a:pt x="20358" y="21600"/>
                      </a:lnTo>
                      <a:cubicBezTo>
                        <a:pt x="21044" y="21600"/>
                        <a:pt x="21600" y="16765"/>
                        <a:pt x="21600" y="10800"/>
                      </a:cubicBezTo>
                      <a:cubicBezTo>
                        <a:pt x="21600" y="4835"/>
                        <a:pt x="21044" y="0"/>
                        <a:pt x="20358" y="0"/>
                      </a:cubicBezTo>
                      <a:close/>
                    </a:path>
                  </a:pathLst>
                </a:custGeom>
                <a:solidFill>
                  <a:srgbClr val="000000"/>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7" name="Shape 35">
                  <a:extLst>
                    <a:ext uri="{FF2B5EF4-FFF2-40B4-BE49-F238E27FC236}">
                      <a16:creationId xmlns:a16="http://schemas.microsoft.com/office/drawing/2014/main" id="{EB6A834F-6100-408C-9FF1-E64A1028108A}"/>
                    </a:ext>
                  </a:extLst>
                </p:cNvPr>
                <p:cNvSpPr/>
                <p:nvPr/>
              </p:nvSpPr>
              <p:spPr>
                <a:xfrm>
                  <a:off x="21277395" y="4100819"/>
                  <a:ext cx="1159539" cy="116724"/>
                </a:xfrm>
                <a:custGeom>
                  <a:avLst/>
                  <a:gdLst/>
                  <a:ahLst/>
                  <a:cxnLst>
                    <a:cxn ang="0">
                      <a:pos x="wd2" y="hd2"/>
                    </a:cxn>
                    <a:cxn ang="5400000">
                      <a:pos x="wd2" y="hd2"/>
                    </a:cxn>
                    <a:cxn ang="10800000">
                      <a:pos x="wd2" y="hd2"/>
                    </a:cxn>
                    <a:cxn ang="16200000">
                      <a:pos x="wd2" y="hd2"/>
                    </a:cxn>
                  </a:cxnLst>
                  <a:rect l="0" t="0" r="r" b="b"/>
                  <a:pathLst>
                    <a:path w="21600" h="21600" extrusionOk="0">
                      <a:moveTo>
                        <a:pt x="20358" y="18895"/>
                      </a:moveTo>
                      <a:lnTo>
                        <a:pt x="1242" y="18895"/>
                      </a:lnTo>
                      <a:cubicBezTo>
                        <a:pt x="729" y="18895"/>
                        <a:pt x="311" y="15264"/>
                        <a:pt x="311" y="10800"/>
                      </a:cubicBezTo>
                      <a:cubicBezTo>
                        <a:pt x="311" y="6337"/>
                        <a:pt x="729" y="2705"/>
                        <a:pt x="1242" y="2705"/>
                      </a:cubicBezTo>
                      <a:lnTo>
                        <a:pt x="20358" y="2705"/>
                      </a:lnTo>
                      <a:cubicBezTo>
                        <a:pt x="20871" y="2705"/>
                        <a:pt x="21289" y="6337"/>
                        <a:pt x="21289" y="10800"/>
                      </a:cubicBezTo>
                      <a:cubicBezTo>
                        <a:pt x="21289" y="15264"/>
                        <a:pt x="20871" y="18895"/>
                        <a:pt x="20358" y="18895"/>
                      </a:cubicBezTo>
                      <a:close/>
                      <a:moveTo>
                        <a:pt x="20358" y="0"/>
                      </a:moveTo>
                      <a:lnTo>
                        <a:pt x="1242" y="0"/>
                      </a:lnTo>
                      <a:cubicBezTo>
                        <a:pt x="556" y="0"/>
                        <a:pt x="0" y="4834"/>
                        <a:pt x="0" y="10800"/>
                      </a:cubicBezTo>
                      <a:cubicBezTo>
                        <a:pt x="0" y="16766"/>
                        <a:pt x="556" y="21600"/>
                        <a:pt x="1242" y="21600"/>
                      </a:cubicBezTo>
                      <a:lnTo>
                        <a:pt x="20358" y="21600"/>
                      </a:lnTo>
                      <a:cubicBezTo>
                        <a:pt x="21044" y="21600"/>
                        <a:pt x="21600" y="16766"/>
                        <a:pt x="21600" y="10800"/>
                      </a:cubicBezTo>
                      <a:cubicBezTo>
                        <a:pt x="21600" y="4834"/>
                        <a:pt x="21044" y="0"/>
                        <a:pt x="20358" y="0"/>
                      </a:cubicBezTo>
                      <a:close/>
                    </a:path>
                  </a:pathLst>
                </a:custGeom>
                <a:gradFill>
                  <a:gsLst>
                    <a:gs pos="18000">
                      <a:srgbClr val="A38A5C"/>
                    </a:gs>
                    <a:gs pos="58000">
                      <a:srgbClr val="D6B992"/>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8" name="Shape 36">
                  <a:extLst>
                    <a:ext uri="{FF2B5EF4-FFF2-40B4-BE49-F238E27FC236}">
                      <a16:creationId xmlns:a16="http://schemas.microsoft.com/office/drawing/2014/main" id="{D855C7F4-F188-4B83-B9EB-5FF3F9AEAC11}"/>
                    </a:ext>
                  </a:extLst>
                </p:cNvPr>
                <p:cNvSpPr/>
                <p:nvPr/>
              </p:nvSpPr>
              <p:spPr>
                <a:xfrm>
                  <a:off x="21277395" y="4090143"/>
                  <a:ext cx="1159539" cy="133347"/>
                </a:xfrm>
                <a:custGeom>
                  <a:avLst/>
                  <a:gdLst/>
                  <a:ahLst/>
                  <a:cxnLst>
                    <a:cxn ang="0">
                      <a:pos x="wd2" y="hd2"/>
                    </a:cxn>
                    <a:cxn ang="5400000">
                      <a:pos x="wd2" y="hd2"/>
                    </a:cxn>
                    <a:cxn ang="10800000">
                      <a:pos x="wd2" y="hd2"/>
                    </a:cxn>
                    <a:cxn ang="16200000">
                      <a:pos x="wd2" y="hd2"/>
                    </a:cxn>
                  </a:cxnLst>
                  <a:rect l="0" t="0" r="r" b="b"/>
                  <a:pathLst>
                    <a:path w="21600" h="21600" extrusionOk="0">
                      <a:moveTo>
                        <a:pt x="20358" y="18895"/>
                      </a:moveTo>
                      <a:lnTo>
                        <a:pt x="1242" y="18895"/>
                      </a:lnTo>
                      <a:cubicBezTo>
                        <a:pt x="729" y="18895"/>
                        <a:pt x="311" y="15265"/>
                        <a:pt x="311" y="10800"/>
                      </a:cubicBezTo>
                      <a:cubicBezTo>
                        <a:pt x="311" y="6335"/>
                        <a:pt x="729" y="2705"/>
                        <a:pt x="1242" y="2705"/>
                      </a:cubicBezTo>
                      <a:lnTo>
                        <a:pt x="20358" y="2705"/>
                      </a:lnTo>
                      <a:cubicBezTo>
                        <a:pt x="20871" y="2705"/>
                        <a:pt x="21289" y="6335"/>
                        <a:pt x="21289" y="10800"/>
                      </a:cubicBezTo>
                      <a:cubicBezTo>
                        <a:pt x="21289" y="15265"/>
                        <a:pt x="20871" y="18895"/>
                        <a:pt x="20358" y="18895"/>
                      </a:cubicBezTo>
                      <a:close/>
                      <a:moveTo>
                        <a:pt x="20358" y="0"/>
                      </a:moveTo>
                      <a:lnTo>
                        <a:pt x="1242" y="0"/>
                      </a:lnTo>
                      <a:cubicBezTo>
                        <a:pt x="556" y="0"/>
                        <a:pt x="0" y="4835"/>
                        <a:pt x="0" y="10800"/>
                      </a:cubicBezTo>
                      <a:cubicBezTo>
                        <a:pt x="0" y="16765"/>
                        <a:pt x="556" y="21600"/>
                        <a:pt x="1242" y="21600"/>
                      </a:cubicBezTo>
                      <a:lnTo>
                        <a:pt x="20358" y="21600"/>
                      </a:lnTo>
                      <a:cubicBezTo>
                        <a:pt x="21044" y="21600"/>
                        <a:pt x="21600" y="16765"/>
                        <a:pt x="21600" y="10800"/>
                      </a:cubicBezTo>
                      <a:cubicBezTo>
                        <a:pt x="21600" y="4835"/>
                        <a:pt x="21044" y="0"/>
                        <a:pt x="20358" y="0"/>
                      </a:cubicBezTo>
                      <a:close/>
                    </a:path>
                  </a:pathLst>
                </a:custGeom>
                <a:gradFill>
                  <a:gsLst>
                    <a:gs pos="18000">
                      <a:srgbClr val="A38A5C"/>
                    </a:gs>
                    <a:gs pos="58000">
                      <a:srgbClr val="D6B992"/>
                    </a:gs>
                  </a:gsLst>
                  <a:lin ang="5400000" scaled="0"/>
                </a:gra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49" name="Shape 37">
                  <a:extLst>
                    <a:ext uri="{FF2B5EF4-FFF2-40B4-BE49-F238E27FC236}">
                      <a16:creationId xmlns:a16="http://schemas.microsoft.com/office/drawing/2014/main" id="{07E22D64-482A-4F69-A7B2-E3E2CEC1972A}"/>
                    </a:ext>
                  </a:extLst>
                </p:cNvPr>
                <p:cNvSpPr/>
                <p:nvPr/>
              </p:nvSpPr>
              <p:spPr>
                <a:xfrm>
                  <a:off x="18287967" y="16528293"/>
                  <a:ext cx="116882" cy="21243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rgbClr val="D6B992"/>
                </a:solidFill>
                <a:ln w="12700">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endParaRPr>
                </a:p>
              </p:txBody>
            </p:sp>
            <p:sp>
              <p:nvSpPr>
                <p:cNvPr id="50" name="Oval 29">
                  <a:extLst>
                    <a:ext uri="{FF2B5EF4-FFF2-40B4-BE49-F238E27FC236}">
                      <a16:creationId xmlns:a16="http://schemas.microsoft.com/office/drawing/2014/main" id="{08D58641-EDE7-4A04-B9EA-1FA6C4749D17}"/>
                    </a:ext>
                  </a:extLst>
                </p:cNvPr>
                <p:cNvSpPr/>
                <p:nvPr/>
              </p:nvSpPr>
              <p:spPr>
                <a:xfrm>
                  <a:off x="21720541" y="3713462"/>
                  <a:ext cx="146946" cy="146946"/>
                </a:xfrm>
                <a:prstGeom prst="ellipse">
                  <a:avLst/>
                </a:prstGeom>
                <a:solidFill>
                  <a:srgbClr val="000000"/>
                </a:solidFill>
                <a:ln w="25400" cap="flat">
                  <a:noFill/>
                  <a:prstDash val="solid"/>
                  <a:miter lim="400000"/>
                </a:ln>
                <a:effectLst/>
              </p:spPr>
              <p:txBody>
                <a:bodyPr rot="0" spcFirstLastPara="1" vertOverflow="overflow" horzOverflow="overflow" vert="horz" wrap="square" lIns="38100" tIns="38100" rIns="38100" bIns="38100" numCol="1" spcCol="38100" rtlCol="0" anchor="ctr">
                  <a:spAutoFit/>
                </a:bodyPr>
                <a:lstStyle/>
                <a:p>
                  <a:pPr marL="0" marR="0" lvl="0" indent="0" algn="ctr" defTabSz="457200" rtl="0" eaLnBrk="1" fontAlgn="auto" latinLnBrk="1" hangingPunct="0">
                    <a:lnSpc>
                      <a:spcPct val="100000"/>
                    </a:lnSpc>
                    <a:spcBef>
                      <a:spcPts val="0"/>
                    </a:spcBef>
                    <a:spcAft>
                      <a:spcPts val="0"/>
                    </a:spcAft>
                    <a:buClrTx/>
                    <a:buSzTx/>
                    <a:buFontTx/>
                    <a:buNone/>
                    <a:tabLst/>
                    <a:defRPr/>
                  </a:pPr>
                  <a:endParaRPr kumimoji="0" lang="fr-FR"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Light"/>
                    <a:sym typeface="Gill Sans"/>
                  </a:endParaRPr>
                </a:p>
              </p:txBody>
            </p:sp>
          </p:grpSp>
        </p:grpSp>
        <p:grpSp>
          <p:nvGrpSpPr>
            <p:cNvPr id="20" name="Group 86">
              <a:extLst>
                <a:ext uri="{FF2B5EF4-FFF2-40B4-BE49-F238E27FC236}">
                  <a16:creationId xmlns:a16="http://schemas.microsoft.com/office/drawing/2014/main" id="{DC3EAEC4-65EB-4A7B-AEC3-DA1C86B36917}"/>
                </a:ext>
              </a:extLst>
            </p:cNvPr>
            <p:cNvGrpSpPr/>
            <p:nvPr/>
          </p:nvGrpSpPr>
          <p:grpSpPr>
            <a:xfrm rot="607306">
              <a:off x="4154147" y="3030275"/>
              <a:ext cx="908720" cy="1331028"/>
              <a:chOff x="9308479" y="1349344"/>
              <a:chExt cx="2748824" cy="4026285"/>
            </a:xfrm>
          </p:grpSpPr>
          <p:sp>
            <p:nvSpPr>
              <p:cNvPr id="22" name="Freeform 75">
                <a:extLst>
                  <a:ext uri="{FF2B5EF4-FFF2-40B4-BE49-F238E27FC236}">
                    <a16:creationId xmlns:a16="http://schemas.microsoft.com/office/drawing/2014/main" id="{33B963A5-691D-4D86-A752-EDD5EEC68A55}"/>
                  </a:ext>
                </a:extLst>
              </p:cNvPr>
              <p:cNvSpPr/>
              <p:nvPr/>
            </p:nvSpPr>
            <p:spPr>
              <a:xfrm>
                <a:off x="9308479" y="1349344"/>
                <a:ext cx="2748824" cy="4026285"/>
              </a:xfrm>
              <a:custGeom>
                <a:avLst/>
                <a:gdLst>
                  <a:gd name="connsiteX0" fmla="*/ 508000 w 2448560"/>
                  <a:gd name="connsiteY0" fmla="*/ 0 h 3586480"/>
                  <a:gd name="connsiteX1" fmla="*/ 1940560 w 2448560"/>
                  <a:gd name="connsiteY1" fmla="*/ 0 h 3586480"/>
                  <a:gd name="connsiteX2" fmla="*/ 2387600 w 2448560"/>
                  <a:gd name="connsiteY2" fmla="*/ 447040 h 3586480"/>
                  <a:gd name="connsiteX3" fmla="*/ 2448560 w 2448560"/>
                  <a:gd name="connsiteY3" fmla="*/ 440895 h 3586480"/>
                  <a:gd name="connsiteX4" fmla="*/ 2448560 w 2448560"/>
                  <a:gd name="connsiteY4" fmla="*/ 3586480 h 3586480"/>
                  <a:gd name="connsiteX5" fmla="*/ 0 w 2448560"/>
                  <a:gd name="connsiteY5" fmla="*/ 3586480 h 3586480"/>
                  <a:gd name="connsiteX6" fmla="*/ 0 w 2448560"/>
                  <a:gd name="connsiteY6" fmla="*/ 440895 h 3586480"/>
                  <a:gd name="connsiteX7" fmla="*/ 60960 w 2448560"/>
                  <a:gd name="connsiteY7" fmla="*/ 447040 h 3586480"/>
                  <a:gd name="connsiteX8" fmla="*/ 508000 w 2448560"/>
                  <a:gd name="connsiteY8" fmla="*/ 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8560" h="3586480">
                    <a:moveTo>
                      <a:pt x="508000" y="0"/>
                    </a:moveTo>
                    <a:lnTo>
                      <a:pt x="1940560" y="0"/>
                    </a:lnTo>
                    <a:cubicBezTo>
                      <a:pt x="1940560" y="246893"/>
                      <a:pt x="2140707" y="447040"/>
                      <a:pt x="2387600" y="447040"/>
                    </a:cubicBezTo>
                    <a:lnTo>
                      <a:pt x="2448560" y="440895"/>
                    </a:lnTo>
                    <a:lnTo>
                      <a:pt x="2448560" y="3586480"/>
                    </a:lnTo>
                    <a:lnTo>
                      <a:pt x="0" y="3586480"/>
                    </a:lnTo>
                    <a:lnTo>
                      <a:pt x="0" y="440895"/>
                    </a:lnTo>
                    <a:lnTo>
                      <a:pt x="60960" y="447040"/>
                    </a:lnTo>
                    <a:cubicBezTo>
                      <a:pt x="307853" y="447040"/>
                      <a:pt x="508000" y="246893"/>
                      <a:pt x="508000" y="0"/>
                    </a:cubicBezTo>
                    <a:close/>
                  </a:path>
                </a:pathLst>
              </a:custGeom>
              <a:solidFill>
                <a:srgbClr val="D092A7"/>
              </a:solidFill>
              <a:ln w="25400" cap="flat" cmpd="sng" algn="ctr">
                <a:solidFill>
                  <a:srgbClr val="0B141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23" name="Freeform 76">
                <a:extLst>
                  <a:ext uri="{FF2B5EF4-FFF2-40B4-BE49-F238E27FC236}">
                    <a16:creationId xmlns:a16="http://schemas.microsoft.com/office/drawing/2014/main" id="{06E7B614-67CD-4447-9B55-5BCB20A4E187}"/>
                  </a:ext>
                </a:extLst>
              </p:cNvPr>
              <p:cNvSpPr/>
              <p:nvPr/>
            </p:nvSpPr>
            <p:spPr>
              <a:xfrm>
                <a:off x="9440858" y="1486215"/>
                <a:ext cx="2484066" cy="3741137"/>
              </a:xfrm>
              <a:custGeom>
                <a:avLst/>
                <a:gdLst>
                  <a:gd name="connsiteX0" fmla="*/ 508000 w 2448560"/>
                  <a:gd name="connsiteY0" fmla="*/ 0 h 3586480"/>
                  <a:gd name="connsiteX1" fmla="*/ 1940560 w 2448560"/>
                  <a:gd name="connsiteY1" fmla="*/ 0 h 3586480"/>
                  <a:gd name="connsiteX2" fmla="*/ 2387600 w 2448560"/>
                  <a:gd name="connsiteY2" fmla="*/ 447040 h 3586480"/>
                  <a:gd name="connsiteX3" fmla="*/ 2448560 w 2448560"/>
                  <a:gd name="connsiteY3" fmla="*/ 440895 h 3586480"/>
                  <a:gd name="connsiteX4" fmla="*/ 2448560 w 2448560"/>
                  <a:gd name="connsiteY4" fmla="*/ 3586480 h 3586480"/>
                  <a:gd name="connsiteX5" fmla="*/ 0 w 2448560"/>
                  <a:gd name="connsiteY5" fmla="*/ 3586480 h 3586480"/>
                  <a:gd name="connsiteX6" fmla="*/ 0 w 2448560"/>
                  <a:gd name="connsiteY6" fmla="*/ 440895 h 3586480"/>
                  <a:gd name="connsiteX7" fmla="*/ 60960 w 2448560"/>
                  <a:gd name="connsiteY7" fmla="*/ 447040 h 3586480"/>
                  <a:gd name="connsiteX8" fmla="*/ 508000 w 2448560"/>
                  <a:gd name="connsiteY8" fmla="*/ 0 h 3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8560" h="3586480">
                    <a:moveTo>
                      <a:pt x="508000" y="0"/>
                    </a:moveTo>
                    <a:lnTo>
                      <a:pt x="1940560" y="0"/>
                    </a:lnTo>
                    <a:cubicBezTo>
                      <a:pt x="1940560" y="246893"/>
                      <a:pt x="2140707" y="447040"/>
                      <a:pt x="2387600" y="447040"/>
                    </a:cubicBezTo>
                    <a:lnTo>
                      <a:pt x="2448560" y="440895"/>
                    </a:lnTo>
                    <a:lnTo>
                      <a:pt x="2448560" y="3586480"/>
                    </a:lnTo>
                    <a:lnTo>
                      <a:pt x="0" y="3586480"/>
                    </a:lnTo>
                    <a:lnTo>
                      <a:pt x="0" y="440895"/>
                    </a:lnTo>
                    <a:lnTo>
                      <a:pt x="60960" y="447040"/>
                    </a:lnTo>
                    <a:cubicBezTo>
                      <a:pt x="307853" y="447040"/>
                      <a:pt x="508000" y="246893"/>
                      <a:pt x="508000" y="0"/>
                    </a:cubicBezTo>
                    <a:close/>
                  </a:path>
                </a:pathLst>
              </a:custGeom>
              <a:noFill/>
              <a:ln w="19050" cap="flat" cmpd="sng" algn="ctr">
                <a:solidFill>
                  <a:srgbClr val="0B1412"/>
                </a:solidFill>
                <a:prstDash val="sysDot"/>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sp>
            <p:nvSpPr>
              <p:cNvPr id="24" name="Oval 77">
                <a:extLst>
                  <a:ext uri="{FF2B5EF4-FFF2-40B4-BE49-F238E27FC236}">
                    <a16:creationId xmlns:a16="http://schemas.microsoft.com/office/drawing/2014/main" id="{069AB3DC-698D-4F2B-ABB8-DDF10954ABF5}"/>
                  </a:ext>
                </a:extLst>
              </p:cNvPr>
              <p:cNvSpPr/>
              <p:nvPr/>
            </p:nvSpPr>
            <p:spPr>
              <a:xfrm>
                <a:off x="10391561" y="1599315"/>
                <a:ext cx="582660" cy="582660"/>
              </a:xfrm>
              <a:prstGeom prst="ellipse">
                <a:avLst/>
              </a:prstGeom>
              <a:solidFill>
                <a:sysClr val="window" lastClr="FFFFFF"/>
              </a:solidFill>
              <a:ln w="19050" cap="flat" cmpd="sng" algn="ctr">
                <a:solidFill>
                  <a:srgbClr val="0B141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latin typeface="Lato Light"/>
                  <a:ea typeface="+mn-ea"/>
                  <a:cs typeface="+mn-cs"/>
                </a:endParaRPr>
              </a:p>
            </p:txBody>
          </p:sp>
        </p:grpSp>
        <p:sp>
          <p:nvSpPr>
            <p:cNvPr id="21" name="TextBox 85">
              <a:extLst>
                <a:ext uri="{FF2B5EF4-FFF2-40B4-BE49-F238E27FC236}">
                  <a16:creationId xmlns:a16="http://schemas.microsoft.com/office/drawing/2014/main" id="{F84AA1C9-8F40-4EBF-AE97-A42F457E0FCC}"/>
                </a:ext>
              </a:extLst>
            </p:cNvPr>
            <p:cNvSpPr txBox="1"/>
            <p:nvPr/>
          </p:nvSpPr>
          <p:spPr>
            <a:xfrm rot="663266">
              <a:off x="4175788" y="3376541"/>
              <a:ext cx="785531" cy="964367"/>
            </a:xfrm>
            <a:prstGeom prst="rect">
              <a:avLst/>
            </a:prstGeom>
            <a:noFill/>
          </p:spPr>
          <p:txBody>
            <a:bodyPr wrap="square" rtlCol="0">
              <a:sp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fr-FR" sz="4000" b="1" i="0" u="none" strike="noStrike" kern="0" cap="none" spc="0" normalizeH="0" baseline="0">
                  <a:ln>
                    <a:noFill/>
                  </a:ln>
                  <a:solidFill>
                    <a:srgbClr val="0B1412"/>
                  </a:solidFill>
                  <a:effectLst/>
                  <a:uLnTx/>
                  <a:uFillTx/>
                  <a:latin typeface="Montserrat" charset="0"/>
                  <a:ea typeface="Montserrat" charset="0"/>
                  <a:cs typeface="Montserrat" charset="0"/>
                </a:rPr>
                <a:t>33</a:t>
              </a:r>
            </a:p>
            <a:p>
              <a:pPr marL="0" marR="0" lvl="0" indent="0" algn="ctr" defTabSz="914400" rtl="0" eaLnBrk="1" fontAlgn="auto" latinLnBrk="0" hangingPunct="1">
                <a:lnSpc>
                  <a:spcPts val="3400"/>
                </a:lnSpc>
                <a:spcBef>
                  <a:spcPts val="0"/>
                </a:spcBef>
                <a:spcAft>
                  <a:spcPts val="0"/>
                </a:spcAft>
                <a:buClrTx/>
                <a:buSzTx/>
                <a:buFontTx/>
                <a:buNone/>
                <a:tabLst/>
                <a:defRPr/>
              </a:pPr>
              <a:r>
                <a:rPr kumimoji="0" lang="fr-FR" sz="4000" b="1" i="0" u="none" strike="noStrike" kern="0" cap="none" spc="0" normalizeH="0" baseline="0">
                  <a:ln>
                    <a:noFill/>
                  </a:ln>
                  <a:solidFill>
                    <a:srgbClr val="0B1412"/>
                  </a:solidFill>
                  <a:effectLst/>
                  <a:uLnTx/>
                  <a:uFillTx/>
                  <a:latin typeface="Montserrat" charset="0"/>
                  <a:ea typeface="Montserrat" charset="0"/>
                  <a:cs typeface="Montserrat" charset="0"/>
                </a:rPr>
                <a:t>%</a:t>
              </a:r>
              <a:endParaRPr kumimoji="0" lang="fr-FR" sz="2500" b="1" i="0" u="none" strike="noStrike" kern="0" cap="none" spc="0" normalizeH="0" baseline="0" noProof="0" dirty="0">
                <a:ln>
                  <a:noFill/>
                </a:ln>
                <a:solidFill>
                  <a:srgbClr val="0B1412"/>
                </a:solidFill>
                <a:effectLst/>
                <a:uLnTx/>
                <a:uFillTx/>
                <a:latin typeface="Montserrat" charset="0"/>
                <a:ea typeface="Montserrat" charset="0"/>
                <a:cs typeface="Montserrat" charset="0"/>
              </a:endParaRPr>
            </a:p>
          </p:txBody>
        </p:sp>
      </p:grpSp>
      <p:sp>
        <p:nvSpPr>
          <p:cNvPr id="87" name="文本框 86">
            <a:extLst>
              <a:ext uri="{FF2B5EF4-FFF2-40B4-BE49-F238E27FC236}">
                <a16:creationId xmlns:a16="http://schemas.microsoft.com/office/drawing/2014/main" id="{55A75F95-2C36-4AB8-BD61-BD6351AE999D}"/>
              </a:ext>
            </a:extLst>
          </p:cNvPr>
          <p:cNvSpPr txBox="1"/>
          <p:nvPr/>
        </p:nvSpPr>
        <p:spPr>
          <a:xfrm>
            <a:off x="1411118" y="485745"/>
            <a:ext cx="6564482" cy="400110"/>
          </a:xfrm>
          <a:prstGeom prst="rect">
            <a:avLst/>
          </a:prstGeom>
          <a:noFill/>
        </p:spPr>
        <p:txBody>
          <a:bodyPr wrap="square" rtlCol="0">
            <a:spAutoFit/>
            <a:scene3d>
              <a:camera prst="orthographicFront"/>
              <a:lightRig rig="threePt" dir="t"/>
            </a:scene3d>
            <a:sp3d contourW="12700"/>
          </a:bodyPr>
          <a:lstStyle/>
          <a:p>
            <a:pPr lvl="0" algn="l" rtl="0">
              <a:defRPr/>
            </a:pPr>
            <a:endParaRPr lang="fr-FR" altLang="en-US" sz="2000" b="1" dirty="0">
              <a:solidFill>
                <a:prstClr val="black">
                  <a:lumMod val="75000"/>
                  <a:lumOff val="25000"/>
                </a:prstClr>
              </a:solidFill>
            </a:endParaRPr>
          </a:p>
        </p:txBody>
      </p:sp>
    </p:spTree>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0.7|3.5|0.9"/>
</p:tagLst>
</file>

<file path=ppt/tags/tag11.xml><?xml version="1.0" encoding="utf-8"?>
<p:tagLst xmlns:a="http://schemas.openxmlformats.org/drawingml/2006/main" xmlns:r="http://schemas.openxmlformats.org/officeDocument/2006/relationships" xmlns:p="http://schemas.openxmlformats.org/presentationml/2006/main">
  <p:tag name="TIMING" val="|1.1|1.1|0.9|1|1|1.4|1.2|0.9|1.3|1.7|2.5"/>
</p:tagLst>
</file>

<file path=ppt/tags/tag12.xml><?xml version="1.0" encoding="utf-8"?>
<p:tagLst xmlns:a="http://schemas.openxmlformats.org/drawingml/2006/main" xmlns:r="http://schemas.openxmlformats.org/officeDocument/2006/relationships" xmlns:p="http://schemas.openxmlformats.org/presentationml/2006/main">
  <p:tag name="TIMING" val="|1.1|1.1|0.9|1|1|1.4|1.2|0.9|1.3|1.7|2.5"/>
</p:tagLst>
</file>

<file path=ppt/tags/tag13.xml><?xml version="1.0" encoding="utf-8"?>
<p:tagLst xmlns:a="http://schemas.openxmlformats.org/drawingml/2006/main" xmlns:r="http://schemas.openxmlformats.org/officeDocument/2006/relationships" xmlns:p="http://schemas.openxmlformats.org/presentationml/2006/main">
  <p:tag name="TIMING" val="|0.3|2.9|1"/>
</p:tagLst>
</file>

<file path=ppt/tags/tag14.xml><?xml version="1.0" encoding="utf-8"?>
<p:tagLst xmlns:a="http://schemas.openxmlformats.org/drawingml/2006/main" xmlns:r="http://schemas.openxmlformats.org/officeDocument/2006/relationships" xmlns:p="http://schemas.openxmlformats.org/presentationml/2006/main">
  <p:tag name="TIMING" val="|2.3|1.9|1.5|1.6|4.5|1|1.8"/>
</p:tagLst>
</file>

<file path=ppt/tags/tag15.xml><?xml version="1.0" encoding="utf-8"?>
<p:tagLst xmlns:a="http://schemas.openxmlformats.org/drawingml/2006/main" xmlns:r="http://schemas.openxmlformats.org/officeDocument/2006/relationships" xmlns:p="http://schemas.openxmlformats.org/presentationml/2006/main">
  <p:tag name="TIMING" val="|0.7|3.3|1.8|1.4|4|1"/>
</p:tagLst>
</file>

<file path=ppt/tags/tag2.xml><?xml version="1.0" encoding="utf-8"?>
<p:tagLst xmlns:a="http://schemas.openxmlformats.org/drawingml/2006/main" xmlns:r="http://schemas.openxmlformats.org/officeDocument/2006/relationships" xmlns:p="http://schemas.openxmlformats.org/presentationml/2006/main">
  <p:tag name="TIMING" val="|1.2|3.8|6.3|3.5|6.9"/>
</p:tagLst>
</file>

<file path=ppt/tags/tag3.xml><?xml version="1.0" encoding="utf-8"?>
<p:tagLst xmlns:a="http://schemas.openxmlformats.org/drawingml/2006/main" xmlns:r="http://schemas.openxmlformats.org/officeDocument/2006/relationships" xmlns:p="http://schemas.openxmlformats.org/presentationml/2006/main">
  <p:tag name="TIMING" val="|1.2|2.9|1.1"/>
</p:tagLst>
</file>

<file path=ppt/tags/tag4.xml><?xml version="1.0" encoding="utf-8"?>
<p:tagLst xmlns:a="http://schemas.openxmlformats.org/drawingml/2006/main" xmlns:r="http://schemas.openxmlformats.org/officeDocument/2006/relationships" xmlns:p="http://schemas.openxmlformats.org/presentationml/2006/main">
  <p:tag name="TIMING" val="|2|1.4|3.4|1.5|1.2|1.7|1.3"/>
</p:tagLst>
</file>

<file path=ppt/tags/tag5.xml><?xml version="1.0" encoding="utf-8"?>
<p:tagLst xmlns:a="http://schemas.openxmlformats.org/drawingml/2006/main" xmlns:r="http://schemas.openxmlformats.org/officeDocument/2006/relationships" xmlns:p="http://schemas.openxmlformats.org/presentationml/2006/main">
  <p:tag name="TIMING" val="|2|1.4|3.4|1.5|1.2|1.7|1.3"/>
</p:tagLst>
</file>

<file path=ppt/tags/tag6.xml><?xml version="1.0" encoding="utf-8"?>
<p:tagLst xmlns:a="http://schemas.openxmlformats.org/drawingml/2006/main" xmlns:r="http://schemas.openxmlformats.org/officeDocument/2006/relationships" xmlns:p="http://schemas.openxmlformats.org/presentationml/2006/main">
  <p:tag name="TIMING" val="|0.5|5.1|0.9"/>
</p:tagLst>
</file>

<file path=ppt/tags/tag7.xml><?xml version="1.0" encoding="utf-8"?>
<p:tagLst xmlns:a="http://schemas.openxmlformats.org/drawingml/2006/main" xmlns:r="http://schemas.openxmlformats.org/officeDocument/2006/relationships" xmlns:p="http://schemas.openxmlformats.org/presentationml/2006/main">
  <p:tag name="TIMING" val="|0.6|1.3|2.6|0.9|3.7|1|2.5|2.1"/>
</p:tagLst>
</file>

<file path=ppt/tags/tag8.xml><?xml version="1.0" encoding="utf-8"?>
<p:tagLst xmlns:a="http://schemas.openxmlformats.org/drawingml/2006/main" xmlns:r="http://schemas.openxmlformats.org/officeDocument/2006/relationships" xmlns:p="http://schemas.openxmlformats.org/presentationml/2006/main">
  <p:tag name="TIMING" val="|0.6|1.3|2.6|0.9|3.7|1|2.5|2.1"/>
</p:tagLst>
</file>

<file path=ppt/tags/tag9.xml><?xml version="1.0" encoding="utf-8"?>
<p:tagLst xmlns:a="http://schemas.openxmlformats.org/drawingml/2006/main" xmlns:r="http://schemas.openxmlformats.org/officeDocument/2006/relationships" xmlns:p="http://schemas.openxmlformats.org/presentationml/2006/main">
  <p:tag name="TIMING" val="|1.6|4.8"/>
</p:tagLst>
</file>

<file path=ppt/theme/theme1.xml><?xml version="1.0" encoding="utf-8"?>
<a:theme xmlns:a="http://schemas.openxmlformats.org/drawingml/2006/main" name="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5-50091_TR24_TR_TV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lstStyle>
        <a:defPPr algn="ctr" defTabSz="932180"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4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_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5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5_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rmwcq3vd">
      <a:majorFont>
        <a:latin typeface="Century Gothic"/>
        <a:ea typeface="Century Gothic"/>
        <a:cs typeface=""/>
      </a:majorFont>
      <a:minorFont>
        <a:latin typeface="Century Gothic"/>
        <a:ea typeface="Century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7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3175">
          <a:solidFill>
            <a:schemeClr val="accent1"/>
          </a:solidFill>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noAutofit/>
      </a:bodyPr>
      <a:lstStyle>
        <a:defPPr algn="ctr" defTabSz="932180" fontAlgn="base">
          <a:spcBef>
            <a:spcPct val="0"/>
          </a:spcBef>
          <a:spcAft>
            <a:spcPct val="0"/>
          </a:spcAft>
          <a:defRPr sz="2400" dirty="0">
            <a:solidFill>
              <a:schemeClr val="tx1"/>
            </a:soli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5-50111_Build 2017_LIGHT GRAY TEMPLATE">
  <a:themeElements>
    <a:clrScheme name="Build 2017 Colors">
      <a:dk1>
        <a:srgbClr val="505050"/>
      </a:dk1>
      <a:lt1>
        <a:srgbClr val="FFFFFF"/>
      </a:lt1>
      <a:dk2>
        <a:srgbClr val="0078D7"/>
      </a:dk2>
      <a:lt2>
        <a:srgbClr val="EAEAEA"/>
      </a:lt2>
      <a:accent1>
        <a:srgbClr val="0078D7"/>
      </a:accent1>
      <a:accent2>
        <a:srgbClr val="00BCF2"/>
      </a:accent2>
      <a:accent3>
        <a:srgbClr val="505050"/>
      </a:accent3>
      <a:accent4>
        <a:srgbClr val="002050"/>
      </a:accent4>
      <a:accent5>
        <a:srgbClr val="FFB900"/>
      </a:accent5>
      <a:accent6>
        <a:srgbClr val="D2D2D2"/>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lstStyle>
        <a:defPPr algn="ctr" defTabSz="932180"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lstStyle>
        <a:defPPr algn="ctr" defTabSz="932180"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5-50111_Build 2017_DARK GRAY TEMPLATE">
  <a:themeElements>
    <a:clrScheme name="Build 2017 Colors (Dark Gray)">
      <a:dk1>
        <a:srgbClr val="505050"/>
      </a:dk1>
      <a:lt1>
        <a:srgbClr val="FFFFFF"/>
      </a:lt1>
      <a:dk2>
        <a:srgbClr val="0078D7"/>
      </a:dk2>
      <a:lt2>
        <a:srgbClr val="EAEAEA"/>
      </a:lt2>
      <a:accent1>
        <a:srgbClr val="0078D7"/>
      </a:accent1>
      <a:accent2>
        <a:srgbClr val="00BCF2"/>
      </a:accent2>
      <a:accent3>
        <a:srgbClr val="EAEAEA"/>
      </a:accent3>
      <a:accent4>
        <a:srgbClr val="002050"/>
      </a:accent4>
      <a:accent5>
        <a:srgbClr val="FFB900"/>
      </a:accent5>
      <a:accent6>
        <a:srgbClr val="737373"/>
      </a:accent6>
      <a:hlink>
        <a:srgbClr val="00BCF2"/>
      </a:hlink>
      <a:folHlink>
        <a:srgbClr val="00BCF2"/>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noAutofit/>
      </a:bodyPr>
      <a:lstStyle>
        <a:defPPr defTabSz="932180"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anose="020B0502040204020203" pitchFamily="34" charset="0"/>
            <a:cs typeface="Segoe UI" panose="020B0502040204020203"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lstStyle>
        <a:defPPr algn="ctr" defTabSz="932180"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rmwcq3vd">
      <a:majorFont>
        <a:latin typeface="Century Gothic"/>
        <a:ea typeface="Century Gothic"/>
        <a:cs typeface=""/>
      </a:majorFont>
      <a:minorFont>
        <a:latin typeface="Century Gothic"/>
        <a:ea typeface="Century Gothic"/>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lstStyle>
        <a:defPPr algn="ctr" defTabSz="932180"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55FB6C84E1404A8D6D335961125F0A" ma:contentTypeVersion="22" ma:contentTypeDescription="Create a new document." ma:contentTypeScope="" ma:versionID="17fb2cee3b0e12661d27bb6c7196b5d6">
  <xsd:schema xmlns:xsd="http://www.w3.org/2001/XMLSchema" xmlns:xs="http://www.w3.org/2001/XMLSchema" xmlns:p="http://schemas.microsoft.com/office/2006/metadata/properties" xmlns:ns2="e3698935-78c5-47b3-bf26-e8cc6643d926" xmlns:ns3="2351d98a-d930-49d0-a44b-4fb680c3c6b3" targetNamespace="http://schemas.microsoft.com/office/2006/metadata/properties" ma:root="true" ma:fieldsID="66b674bc0f6ffc4018510cfe610624a3" ns2:_="" ns3:_="">
    <xsd:import namespace="e3698935-78c5-47b3-bf26-e8cc6643d926"/>
    <xsd:import namespace="2351d98a-d930-49d0-a44b-4fb680c3c6b3"/>
    <xsd:element name="properties">
      <xsd:complexType>
        <xsd:sequence>
          <xsd:element name="documentManagement">
            <xsd:complexType>
              <xsd:all>
                <xsd:element ref="ns2:_dlc_DocId" minOccurs="0"/>
                <xsd:element ref="ns2:_dlc_DocIdUrl" minOccurs="0"/>
                <xsd:element ref="ns2:_dlc_DocIdPersistId" minOccurs="0"/>
                <xsd:element ref="ns3:IsRead" minOccurs="0"/>
                <xsd:element ref="ns3:IsPrint" minOccurs="0"/>
                <xsd:element ref="ns3:IsEdit" minOccurs="0"/>
                <xsd:element ref="ns3:IsSave" minOccurs="0"/>
                <xsd:element ref="ns3:IsFullControl" minOccurs="0"/>
                <xsd:element ref="ns3:Users" minOccurs="0"/>
                <xsd:element ref="ns3:FileDescription"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698935-78c5-47b3-bf26-e8cc6643d92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51d98a-d930-49d0-a44b-4fb680c3c6b3" elementFormDefault="qualified">
    <xsd:import namespace="http://schemas.microsoft.com/office/2006/documentManagement/types"/>
    <xsd:import namespace="http://schemas.microsoft.com/office/infopath/2007/PartnerControls"/>
    <xsd:element name="IsRead" ma:index="11" nillable="true" ma:displayName="Read Only" ma:default="0" ma:internalName="IsRead">
      <xsd:simpleType>
        <xsd:restriction base="dms:Boolean"/>
      </xsd:simpleType>
    </xsd:element>
    <xsd:element name="IsPrint" ma:index="12" nillable="true" ma:displayName="Print Only" ma:default="0" ma:internalName="IsPrint">
      <xsd:simpleType>
        <xsd:restriction base="dms:Boolean"/>
      </xsd:simpleType>
    </xsd:element>
    <xsd:element name="IsEdit" ma:index="13" nillable="true" ma:displayName="Edit Only" ma:default="0" ma:internalName="IsEdit">
      <xsd:simpleType>
        <xsd:restriction base="dms:Boolean"/>
      </xsd:simpleType>
    </xsd:element>
    <xsd:element name="IsSave" ma:index="14" nillable="true" ma:displayName="Save Only" ma:default="0" ma:internalName="IsSave">
      <xsd:simpleType>
        <xsd:restriction base="dms:Boolean"/>
      </xsd:simpleType>
    </xsd:element>
    <xsd:element name="IsFullControl" ma:index="15" nillable="true" ma:displayName="FullControl" ma:default="0" ma:internalName="IsFullControl">
      <xsd:simpleType>
        <xsd:restriction base="dms:Boolean"/>
      </xsd:simpleType>
    </xsd:element>
    <xsd:element name="Users" ma:index="16" nillable="true" ma:displayName="Users" ma:list="UserInfo" ma:SharePointGroup="0" ma:internalName="Us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ileDescription" ma:index="17" nillable="true" ma:displayName="FileDescription" ma:internalName="FileDescriptio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IsRead xmlns="2351d98a-d930-49d0-a44b-4fb680c3c6b3">false</IsRead>
    <IsSave xmlns="2351d98a-d930-49d0-a44b-4fb680c3c6b3">false</IsSave>
    <FileDescription xmlns="2351d98a-d930-49d0-a44b-4fb680c3c6b3" xsi:nil="true"/>
    <IsPrint xmlns="2351d98a-d930-49d0-a44b-4fb680c3c6b3">false</IsPrint>
    <IsFullControl xmlns="2351d98a-d930-49d0-a44b-4fb680c3c6b3">false</IsFullControl>
    <Users xmlns="2351d98a-d930-49d0-a44b-4fb680c3c6b3">
      <UserInfo>
        <DisplayName/>
        <AccountId xsi:nil="true"/>
        <AccountType/>
      </UserInfo>
    </Users>
    <IsEdit xmlns="2351d98a-d930-49d0-a44b-4fb680c3c6b3">false</IsEdit>
    <_dlc_DocId xmlns="e3698935-78c5-47b3-bf26-e8cc6643d926">QZ6ZHKZ2Z3KU-1797567311-274700</_dlc_DocId>
    <_dlc_DocIdUrl xmlns="e3698935-78c5-47b3-bf26-e8cc6643d926">
      <Url>https://gks.dahuasecurity.com/_layouts/15/DocIdRedir.aspx?ID=QZ6ZHKZ2Z3KU-1797567311-274700</Url>
      <Description>QZ6ZHKZ2Z3KU-1797567311-274700</Description>
    </_dlc_DocIdUrl>
  </documentManagement>
</p:properties>
</file>

<file path=customXml/itemProps1.xml><?xml version="1.0" encoding="utf-8"?>
<ds:datastoreItem xmlns:ds="http://schemas.openxmlformats.org/officeDocument/2006/customXml" ds:itemID="{340E2919-1CD9-4380-A6A2-18DA49EBA2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698935-78c5-47b3-bf26-e8cc6643d926"/>
    <ds:schemaRef ds:uri="2351d98a-d930-49d0-a44b-4fb680c3c6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2F64AE-C012-430C-8C5E-5D45328B5D3B}">
  <ds:schemaRefs>
    <ds:schemaRef ds:uri="http://schemas.microsoft.com/sharepoint/events"/>
  </ds:schemaRefs>
</ds:datastoreItem>
</file>

<file path=customXml/itemProps3.xml><?xml version="1.0" encoding="utf-8"?>
<ds:datastoreItem xmlns:ds="http://schemas.openxmlformats.org/officeDocument/2006/customXml" ds:itemID="{3DE16DA8-DF81-40B7-8255-A5CAB2183701}">
  <ds:schemaRefs>
    <ds:schemaRef ds:uri="http://schemas.microsoft.com/sharepoint/v3/contenttype/forms"/>
  </ds:schemaRefs>
</ds:datastoreItem>
</file>

<file path=customXml/itemProps4.xml><?xml version="1.0" encoding="utf-8"?>
<ds:datastoreItem xmlns:ds="http://schemas.openxmlformats.org/officeDocument/2006/customXml" ds:itemID="{279F573C-31E2-4BA3-87F8-64DC9D2F80C2}">
  <ds:schemaRefs>
    <ds:schemaRef ds:uri="2351d98a-d930-49d0-a44b-4fb680c3c6b3"/>
    <ds:schemaRef ds:uri="http://purl.org/dc/terms/"/>
    <ds:schemaRef ds:uri="http://purl.org/dc/dcmityp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e3698935-78c5-47b3-bf26-e8cc6643d92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768</TotalTime>
  <Words>3108</Words>
  <Application>Microsoft Office PowerPoint</Application>
  <PresentationFormat>Custom</PresentationFormat>
  <Paragraphs>472</Paragraphs>
  <Slides>41</Slides>
  <Notes>24</Notes>
  <HiddenSlides>0</HiddenSlides>
  <MMClips>2</MMClips>
  <ScaleCrop>false</ScaleCrop>
  <HeadingPairs>
    <vt:vector size="8" baseType="variant">
      <vt:variant>
        <vt:lpstr>Fonts Used</vt:lpstr>
      </vt:variant>
      <vt:variant>
        <vt:i4>18</vt:i4>
      </vt:variant>
      <vt:variant>
        <vt:lpstr>Theme</vt:lpstr>
      </vt:variant>
      <vt:variant>
        <vt:i4>20</vt:i4>
      </vt:variant>
      <vt:variant>
        <vt:lpstr>Embedded OLE Servers</vt:lpstr>
      </vt:variant>
      <vt:variant>
        <vt:i4>1</vt:i4>
      </vt:variant>
      <vt:variant>
        <vt:lpstr>Slide Titles</vt:lpstr>
      </vt:variant>
      <vt:variant>
        <vt:i4>41</vt:i4>
      </vt:variant>
    </vt:vector>
  </HeadingPairs>
  <TitlesOfParts>
    <vt:vector size="80" baseType="lpstr">
      <vt:lpstr>Microsoft YaHei</vt:lpstr>
      <vt:lpstr>Microsoft YaHei</vt:lpstr>
      <vt:lpstr>MS PGothic</vt:lpstr>
      <vt:lpstr>宋体</vt:lpstr>
      <vt:lpstr>Arial</vt:lpstr>
      <vt:lpstr>Calibri</vt:lpstr>
      <vt:lpstr>Century Gothic</vt:lpstr>
      <vt:lpstr>Consolas</vt:lpstr>
      <vt:lpstr>Courier New</vt:lpstr>
      <vt:lpstr>等线 Light</vt:lpstr>
      <vt:lpstr>Gill Sans</vt:lpstr>
      <vt:lpstr>Lato Light</vt:lpstr>
      <vt:lpstr>Montserrat</vt:lpstr>
      <vt:lpstr>Segoe UI</vt:lpstr>
      <vt:lpstr>Segoe UI Light</vt:lpstr>
      <vt:lpstr>Segoe UI Semilight</vt:lpstr>
      <vt:lpstr>Wingdings</vt:lpstr>
      <vt:lpstr>思源黑体 CN Bold</vt:lpstr>
      <vt:lpstr>5-50111_Build 2017_LIGHT GRAY TEMPLATE</vt:lpstr>
      <vt:lpstr>5-50111_Build 2017_DARK GRAY TEMPLATE</vt:lpstr>
      <vt:lpstr>1_5-50111_Build 2017_DARK GRAY TEMPLATE</vt:lpstr>
      <vt:lpstr>1_5-50111_Build 2017_LIGHT GRAY TEMPLATE</vt:lpstr>
      <vt:lpstr>2_5-50002_Ignite_Breakout_Template</vt:lpstr>
      <vt:lpstr>5-50091_TR24_BO_CT_Template</vt:lpstr>
      <vt:lpstr>2_5-50111_Build 2017_DARK GRAY TEMPLATE</vt:lpstr>
      <vt:lpstr>5-50002_Ignite_Breakout_Template</vt:lpstr>
      <vt:lpstr>3_5-50002_Ignite_Breakout_Template</vt:lpstr>
      <vt:lpstr>WHITE TEMPLATE</vt:lpstr>
      <vt:lpstr>5-50091_TR24_TR_TV_Template</vt:lpstr>
      <vt:lpstr>4_5-50111_Build 2017_DARK GRAY TEMPLATE</vt:lpstr>
      <vt:lpstr>LIGHT COLOR TEMPLATE</vt:lpstr>
      <vt:lpstr>3_5-50111_Build 2017_LIGHT GRAY TEMPLATE</vt:lpstr>
      <vt:lpstr>4_5-50111_Build 2017_LIGHT GRAY TEMPLATE</vt:lpstr>
      <vt:lpstr>2_BUILD CHARCOAL BACKGROUND</vt:lpstr>
      <vt:lpstr>5_5-50111_Build 2017_LIGHT GRAY TEMPLATE</vt:lpstr>
      <vt:lpstr>5_5-50111_Build 2017_DARK GRAY TEMPLATE</vt:lpstr>
      <vt:lpstr>1_Office 主题​​</vt:lpstr>
      <vt:lpstr>7_5-50111_Build 2017_LIGHT GRAY TEMPLATE</vt:lpstr>
      <vt:lpstr>think-cell Slide</vt:lpstr>
      <vt:lpstr>Solution Dahua Retail v2.2 </vt:lpstr>
      <vt:lpstr>Solution Dahua Retail v2.2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us fournissons</vt:lpstr>
      <vt:lpstr>Vue d'ensemble de la solution</vt:lpstr>
      <vt:lpstr>Entrée  </vt:lpstr>
      <vt:lpstr>PowerPoint Presentation</vt:lpstr>
      <vt:lpstr>Entrée | Comptage des flux clients</vt:lpstr>
      <vt:lpstr>Zone d'achat</vt:lpstr>
      <vt:lpstr>Zone d'achat| Surveillance sans zone morts</vt:lpstr>
      <vt:lpstr>PowerPoint Presentation</vt:lpstr>
      <vt:lpstr>PowerPoint Presentation</vt:lpstr>
      <vt:lpstr>Analyse intérieure | Aperçu des flux de         passages</vt:lpstr>
      <vt:lpstr>Analyse intérieure | Aperçu des marchandises</vt:lpstr>
      <vt:lpstr>Tendance des flux clients</vt:lpstr>
      <vt:lpstr>PowerPoint Presentation</vt:lpstr>
      <vt:lpstr>Système de publication multimédia </vt:lpstr>
      <vt:lpstr>Caisse </vt:lpstr>
      <vt:lpstr>Caisse | L'intégration POS </vt:lpstr>
      <vt:lpstr>POS integration</vt:lpstr>
      <vt:lpstr>Caisse | La gestion des files d'attente :  </vt:lpstr>
      <vt:lpstr>Entrepôt</vt:lpstr>
      <vt:lpstr>Entrepôt| Le contrôle d'accès et Starlight protègent votre propriété</vt:lpstr>
      <vt:lpstr>Bureau</vt:lpstr>
      <vt:lpstr>Rapports sur APP</vt:lpstr>
      <vt:lpstr>Bureau | Gestion du magasin</vt:lpstr>
      <vt:lpstr>Bureau |Intelligence économique  </vt:lpstr>
      <vt:lpstr>PowerPoint Presentation</vt:lpstr>
      <vt:lpstr>Pourquoi Dahua</vt:lpstr>
      <vt:lpstr>PowerPoint Presentation</vt:lpstr>
      <vt:lpstr>PowerPoint Presentation</vt:lpstr>
      <vt:lpstr>CONSTRUIRE UN MONDE PLUS SÛR ET PLUS INTELLIGENT</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Presentation title here&gt;</dc:title>
  <dc:subject>Microsoft Build 2017</dc:subject>
  <dc:creator>&lt;Speaker name here&gt;</dc:creator>
  <cp:keywords>Microsoft Build 2017</cp:keywords>
  <dc:description>Template: Mitchell Derrey, Silver Fox Productions_x000d__x000d_
Formatting: _x000d__x000d_
Audience Type:</dc:description>
  <cp:lastModifiedBy>ASUS</cp:lastModifiedBy>
  <cp:revision>1511</cp:revision>
  <dcterms:created xsi:type="dcterms:W3CDTF">2014-06-10T19:28:00Z</dcterms:created>
  <dcterms:modified xsi:type="dcterms:W3CDTF">2020-04-08T17:0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55FB6C84E1404A8D6D335961125F0A</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53;#Washington State Convention and Trade Center|2ebf141d-f871-4cc9-bf08-f87f112ab464</vt:lpwstr>
  </property>
  <property fmtid="{D5CDD505-2E9C-101B-9397-08002B2CF9AE}" pid="7" name="Track">
    <vt:lpwstr/>
  </property>
  <property fmtid="{D5CDD505-2E9C-101B-9397-08002B2CF9AE}" pid="8" name="Event Location">
    <vt:lpwstr>52;#Seattle|54f46ed2-c77e-4a59-b182-a4171fdb0d11</vt:lpwstr>
  </property>
  <property fmtid="{D5CDD505-2E9C-101B-9397-08002B2CF9AE}" pid="9" name="Campaign">
    <vt:lpwstr/>
  </property>
  <property fmtid="{D5CDD505-2E9C-101B-9397-08002B2CF9AE}" pid="10" name="IsMyDocuments">
    <vt:bool>true</vt:bool>
  </property>
  <property fmtid="{D5CDD505-2E9C-101B-9397-08002B2CF9AE}" pid="11" name="TaxKeyword">
    <vt:lpwstr>315;#Microsoft Build 2017|0407fc0d-d203-4d0a-848e-0398e286e7e2</vt:lpwstr>
  </property>
  <property fmtid="{D5CDD505-2E9C-101B-9397-08002B2CF9AE}" pid="12" name="Audience1">
    <vt:lpwstr>316;#developers|8e4a08dc-5d95-4156-ab65-f22579a1592a</vt:lpwstr>
  </property>
  <property fmtid="{D5CDD505-2E9C-101B-9397-08002B2CF9AE}" pid="13" name="Event Name">
    <vt:lpwstr>47;#Build|58542b36-5bf5-46a6-a53f-a41fb7a73785</vt:lpwstr>
  </property>
  <property fmtid="{D5CDD505-2E9C-101B-9397-08002B2CF9AE}" pid="14" name="GSEDS_HWMT_d46a6755">
    <vt:lpwstr>f245c65f_mFV3wj84ICk3P8pOlHv5qbbay+c=_8QgmryI4P2JgI9IZjHD0syI2QLP5r5rZHC6S+8EiyrOMCDWynEAV7TPkn5vUKg==_2e1d5919</vt:lpwstr>
  </property>
  <property fmtid="{D5CDD505-2E9C-101B-9397-08002B2CF9AE}" pid="15" name="KSOProductBuildVer">
    <vt:lpwstr>2052-11.1.0.9208</vt:lpwstr>
  </property>
  <property fmtid="{D5CDD505-2E9C-101B-9397-08002B2CF9AE}" pid="16" name="_dlc_DocIdItemGuid">
    <vt:lpwstr>6ae58dd1-a701-4dfb-9605-c10d432e4581</vt:lpwstr>
  </property>
  <property fmtid="{D5CDD505-2E9C-101B-9397-08002B2CF9AE}" pid="17" name="ParentFolder">
    <vt:lpwstr>https://gks.dahuasecurity.com/_layouts/15/ReturnFolder.aspx?FID=20200310083100744602, Folder</vt:lpwstr>
  </property>
  <property fmtid="{D5CDD505-2E9C-101B-9397-08002B2CF9AE}" pid="18" name="FID">
    <vt:lpwstr>20200310083100744602</vt:lpwstr>
  </property>
  <property fmtid="{D5CDD505-2E9C-101B-9397-08002B2CF9AE}" pid="19" name="Order">
    <vt:r8>27470000</vt:r8>
  </property>
</Properties>
</file>